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7.xml" ContentType="application/vnd.openxmlformats-officedocument.presentationml.tags+xml"/>
  <Override PartName="/ppt/notesSlides/notesSlide1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177" r:id="rId4"/>
  </p:sldMasterIdLst>
  <p:notesMasterIdLst>
    <p:notesMasterId r:id="rId41"/>
  </p:notesMasterIdLst>
  <p:handoutMasterIdLst>
    <p:handoutMasterId r:id="rId42"/>
  </p:handoutMasterIdLst>
  <p:sldIdLst>
    <p:sldId id="593" r:id="rId5"/>
    <p:sldId id="594" r:id="rId6"/>
    <p:sldId id="599" r:id="rId7"/>
    <p:sldId id="597" r:id="rId8"/>
    <p:sldId id="601" r:id="rId9"/>
    <p:sldId id="598" r:id="rId10"/>
    <p:sldId id="602" r:id="rId11"/>
    <p:sldId id="603" r:id="rId12"/>
    <p:sldId id="600" r:id="rId13"/>
    <p:sldId id="619" r:id="rId14"/>
    <p:sldId id="621" r:id="rId15"/>
    <p:sldId id="623" r:id="rId16"/>
    <p:sldId id="532" r:id="rId17"/>
    <p:sldId id="606" r:id="rId18"/>
    <p:sldId id="622" r:id="rId19"/>
    <p:sldId id="491" r:id="rId20"/>
    <p:sldId id="522" r:id="rId21"/>
    <p:sldId id="570" r:id="rId22"/>
    <p:sldId id="571" r:id="rId23"/>
    <p:sldId id="608" r:id="rId24"/>
    <p:sldId id="610" r:id="rId25"/>
    <p:sldId id="588" r:id="rId26"/>
    <p:sldId id="592" r:id="rId27"/>
    <p:sldId id="611" r:id="rId28"/>
    <p:sldId id="576" r:id="rId29"/>
    <p:sldId id="590" r:id="rId30"/>
    <p:sldId id="591" r:id="rId31"/>
    <p:sldId id="584" r:id="rId32"/>
    <p:sldId id="612" r:id="rId33"/>
    <p:sldId id="613" r:id="rId34"/>
    <p:sldId id="614" r:id="rId35"/>
    <p:sldId id="615" r:id="rId36"/>
    <p:sldId id="616" r:id="rId37"/>
    <p:sldId id="617" r:id="rId38"/>
    <p:sldId id="618" r:id="rId39"/>
    <p:sldId id="595" r:id="rId40"/>
  </p:sldIdLst>
  <p:sldSz cx="12188825" cy="6858000"/>
  <p:notesSz cx="6858000" cy="9144000"/>
  <p:defaultText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44">
          <p15:clr>
            <a:srgbClr val="A4A3A4"/>
          </p15:clr>
        </p15:guide>
        <p15:guide id="2" orient="horz" pos="1200">
          <p15:clr>
            <a:srgbClr val="A4A3A4"/>
          </p15:clr>
        </p15:guide>
        <p15:guide id="3" orient="horz" pos="2393">
          <p15:clr>
            <a:srgbClr val="A4A3A4"/>
          </p15:clr>
        </p15:guide>
        <p15:guide id="4" orient="horz" pos="3927">
          <p15:clr>
            <a:srgbClr val="A4A3A4"/>
          </p15:clr>
        </p15:guide>
        <p15:guide id="5" orient="horz" pos="1455">
          <p15:clr>
            <a:srgbClr val="A4A3A4"/>
          </p15:clr>
        </p15:guide>
        <p15:guide id="6" orient="horz" pos="912">
          <p15:clr>
            <a:srgbClr val="A4A3A4"/>
          </p15:clr>
        </p15:guide>
        <p15:guide id="7" orient="horz" pos="2997">
          <p15:clr>
            <a:srgbClr val="A4A3A4"/>
          </p15:clr>
        </p15:guide>
        <p15:guide id="8" pos="3830">
          <p15:clr>
            <a:srgbClr val="A4A3A4"/>
          </p15:clr>
        </p15:guide>
        <p15:guide id="9" pos="327">
          <p15:clr>
            <a:srgbClr val="A4A3A4"/>
          </p15:clr>
        </p15:guide>
        <p15:guide id="10" pos="1190">
          <p15:clr>
            <a:srgbClr val="A4A3A4"/>
          </p15:clr>
        </p15:guide>
        <p15:guide id="11" pos="7350">
          <p15:clr>
            <a:srgbClr val="A4A3A4"/>
          </p15:clr>
        </p15:guide>
        <p15:guide id="12" pos="7118">
          <p15:clr>
            <a:srgbClr val="A4A3A4"/>
          </p15:clr>
        </p15:guide>
        <p15:guide id="13" pos="611">
          <p15:clr>
            <a:srgbClr val="A4A3A4"/>
          </p15:clr>
        </p15:guide>
        <p15:guide id="14" pos="1994">
          <p15:clr>
            <a:srgbClr val="A4A3A4"/>
          </p15:clr>
        </p15:guide>
        <p15:guide id="15" pos="6408">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03030"/>
    <a:srgbClr val="637283"/>
    <a:srgbClr val="3C454F"/>
    <a:srgbClr val="595959"/>
    <a:srgbClr val="FFE497"/>
    <a:srgbClr val="FFE18B"/>
    <a:srgbClr val="FFDA71"/>
    <a:srgbClr val="FFD253"/>
    <a:srgbClr val="FFBE00"/>
    <a:srgbClr val="FCFCF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4906" autoAdjust="0"/>
    <p:restoredTop sz="87623" autoAdjust="0"/>
  </p:normalViewPr>
  <p:slideViewPr>
    <p:cSldViewPr snapToGrid="0">
      <p:cViewPr varScale="1">
        <p:scale>
          <a:sx n="59" d="100"/>
          <a:sy n="59" d="100"/>
        </p:scale>
        <p:origin x="582" y="78"/>
      </p:cViewPr>
      <p:guideLst>
        <p:guide orient="horz" pos="144"/>
        <p:guide orient="horz" pos="1200"/>
        <p:guide orient="horz" pos="2393"/>
        <p:guide orient="horz" pos="3927"/>
        <p:guide orient="horz" pos="1455"/>
        <p:guide orient="horz" pos="912"/>
        <p:guide orient="horz" pos="2997"/>
        <p:guide pos="3830"/>
        <p:guide pos="327"/>
        <p:guide pos="1190"/>
        <p:guide pos="7350"/>
        <p:guide pos="7118"/>
        <p:guide pos="611"/>
        <p:guide pos="1994"/>
        <p:guide pos="6408"/>
      </p:guideLst>
    </p:cSldViewPr>
  </p:slideViewPr>
  <p:outlineViewPr>
    <p:cViewPr>
      <p:scale>
        <a:sx n="33" d="100"/>
        <a:sy n="33" d="100"/>
      </p:scale>
      <p:origin x="0" y="0"/>
    </p:cViewPr>
  </p:outlineViewPr>
  <p:notesTextViewPr>
    <p:cViewPr>
      <p:scale>
        <a:sx n="200" d="100"/>
        <a:sy n="200" d="100"/>
      </p:scale>
      <p:origin x="0" y="0"/>
    </p:cViewPr>
  </p:notesTextViewPr>
  <p:sorterViewPr>
    <p:cViewPr>
      <p:scale>
        <a:sx n="100" d="100"/>
        <a:sy n="100" d="100"/>
      </p:scale>
      <p:origin x="0" y="0"/>
    </p:cViewPr>
  </p:sorterViewPr>
  <p:notesViewPr>
    <p:cSldViewPr snapToGrid="0" showGuides="1">
      <p:cViewPr varScale="1">
        <p:scale>
          <a:sx n="70" d="100"/>
          <a:sy n="70" d="100"/>
        </p:scale>
        <p:origin x="-3246" y="-9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handoutMaster" Target="handoutMasters/handoutMaster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E0EC45B-28AD-45E9-961E-08C8EE11F6FA}" type="doc">
      <dgm:prSet loTypeId="urn:microsoft.com/office/officeart/2005/8/layout/hList1" loCatId="list" qsTypeId="urn:microsoft.com/office/officeart/2005/8/quickstyle/simple1" qsCatId="simple" csTypeId="urn:microsoft.com/office/officeart/2005/8/colors/accent0_3" csCatId="mainScheme" phldr="1"/>
      <dgm:spPr/>
      <dgm:t>
        <a:bodyPr/>
        <a:lstStyle/>
        <a:p>
          <a:endParaRPr lang="en-US"/>
        </a:p>
      </dgm:t>
    </dgm:pt>
    <dgm:pt modelId="{2A22D486-1D18-4945-B926-BDFF986E40DC}">
      <dgm:prSet/>
      <dgm:spPr/>
      <dgm:t>
        <a:bodyPr/>
        <a:lstStyle/>
        <a:p>
          <a:pPr rtl="0"/>
          <a:r>
            <a:rPr lang="en-US" baseline="0" smtClean="0"/>
            <a:t>Lift &amp; Shift</a:t>
          </a:r>
          <a:endParaRPr lang="en-US"/>
        </a:p>
      </dgm:t>
    </dgm:pt>
    <dgm:pt modelId="{A64ACE4C-DFEA-4DE5-AACA-9C35A8265D03}" type="parTrans" cxnId="{DF43CEAC-CBC3-4B15-B44B-2EA13D267360}">
      <dgm:prSet/>
      <dgm:spPr/>
      <dgm:t>
        <a:bodyPr/>
        <a:lstStyle/>
        <a:p>
          <a:endParaRPr lang="en-US"/>
        </a:p>
      </dgm:t>
    </dgm:pt>
    <dgm:pt modelId="{DF873A22-09CF-43A8-AF88-37B94FAF5E1A}" type="sibTrans" cxnId="{DF43CEAC-CBC3-4B15-B44B-2EA13D267360}">
      <dgm:prSet/>
      <dgm:spPr/>
      <dgm:t>
        <a:bodyPr/>
        <a:lstStyle/>
        <a:p>
          <a:endParaRPr lang="en-US"/>
        </a:p>
      </dgm:t>
    </dgm:pt>
    <dgm:pt modelId="{D17025E9-5070-4AC1-9FA1-39F05FBC0037}">
      <dgm:prSet/>
      <dgm:spPr/>
      <dgm:t>
        <a:bodyPr/>
        <a:lstStyle/>
        <a:p>
          <a:pPr rtl="0"/>
          <a:r>
            <a:rPr lang="en-US" baseline="0" smtClean="0"/>
            <a:t>Lift with SQL Database</a:t>
          </a:r>
          <a:endParaRPr lang="en-US"/>
        </a:p>
      </dgm:t>
    </dgm:pt>
    <dgm:pt modelId="{B0AF21EF-F888-435B-963D-ADD713C1A824}" type="parTrans" cxnId="{82EEE1DF-4BED-4333-8878-5C64CFFEC0AD}">
      <dgm:prSet/>
      <dgm:spPr/>
      <dgm:t>
        <a:bodyPr/>
        <a:lstStyle/>
        <a:p>
          <a:endParaRPr lang="en-US"/>
        </a:p>
      </dgm:t>
    </dgm:pt>
    <dgm:pt modelId="{D344391C-B79B-46C8-8FE6-7F27154584DC}" type="sibTrans" cxnId="{82EEE1DF-4BED-4333-8878-5C64CFFEC0AD}">
      <dgm:prSet/>
      <dgm:spPr/>
      <dgm:t>
        <a:bodyPr/>
        <a:lstStyle/>
        <a:p>
          <a:endParaRPr lang="en-US"/>
        </a:p>
      </dgm:t>
    </dgm:pt>
    <dgm:pt modelId="{9B43A4B0-228C-44E1-A7EF-72588A3D5E57}">
      <dgm:prSet/>
      <dgm:spPr/>
      <dgm:t>
        <a:bodyPr/>
        <a:lstStyle/>
        <a:p>
          <a:pPr rtl="0"/>
          <a:r>
            <a:rPr lang="en-US" baseline="0" smtClean="0"/>
            <a:t>Move to Cloud Services</a:t>
          </a:r>
          <a:endParaRPr lang="en-US"/>
        </a:p>
      </dgm:t>
    </dgm:pt>
    <dgm:pt modelId="{610D7AE5-CDF1-45F1-B9C5-BD4FAAD21AFF}" type="parTrans" cxnId="{7B5BA7E3-171E-445D-AF78-427A35B402DA}">
      <dgm:prSet/>
      <dgm:spPr/>
      <dgm:t>
        <a:bodyPr/>
        <a:lstStyle/>
        <a:p>
          <a:endParaRPr lang="en-US"/>
        </a:p>
      </dgm:t>
    </dgm:pt>
    <dgm:pt modelId="{431422A4-80D5-4844-85FF-ABD322087123}" type="sibTrans" cxnId="{7B5BA7E3-171E-445D-AF78-427A35B402DA}">
      <dgm:prSet/>
      <dgm:spPr/>
      <dgm:t>
        <a:bodyPr/>
        <a:lstStyle/>
        <a:p>
          <a:endParaRPr lang="en-US"/>
        </a:p>
      </dgm:t>
    </dgm:pt>
    <dgm:pt modelId="{6E9D8280-79B2-40E4-A4BA-6E4548F89279}">
      <dgm:prSet/>
      <dgm:spPr/>
      <dgm:t>
        <a:bodyPr/>
        <a:lstStyle/>
        <a:p>
          <a:pPr rtl="0"/>
          <a:r>
            <a:rPr lang="en-US" baseline="0" smtClean="0"/>
            <a:t>Ride the Unicorn with Mobile Services</a:t>
          </a:r>
          <a:endParaRPr lang="en-US"/>
        </a:p>
      </dgm:t>
    </dgm:pt>
    <dgm:pt modelId="{263F25B3-2EB0-40D3-9B0D-AF2E130407CC}" type="parTrans" cxnId="{94B7394F-51BA-46BA-B997-E3CF389E58BF}">
      <dgm:prSet/>
      <dgm:spPr/>
      <dgm:t>
        <a:bodyPr/>
        <a:lstStyle/>
        <a:p>
          <a:endParaRPr lang="en-US"/>
        </a:p>
      </dgm:t>
    </dgm:pt>
    <dgm:pt modelId="{952FF839-8602-45FB-AE86-EB7510A74EA8}" type="sibTrans" cxnId="{94B7394F-51BA-46BA-B997-E3CF389E58BF}">
      <dgm:prSet/>
      <dgm:spPr/>
      <dgm:t>
        <a:bodyPr/>
        <a:lstStyle/>
        <a:p>
          <a:endParaRPr lang="en-US"/>
        </a:p>
      </dgm:t>
    </dgm:pt>
    <dgm:pt modelId="{1378012F-D47A-4172-961E-37F571BAD1F4}">
      <dgm:prSet/>
      <dgm:spPr/>
      <dgm:t>
        <a:bodyPr/>
        <a:lstStyle/>
        <a:p>
          <a:r>
            <a:rPr lang="en-US" dirty="0" smtClean="0"/>
            <a:t>Easy to start</a:t>
          </a:r>
          <a:endParaRPr lang="en-US" dirty="0"/>
        </a:p>
      </dgm:t>
    </dgm:pt>
    <dgm:pt modelId="{0F3AEBCB-D24E-4C02-8EF5-CA030B4BD305}" type="parTrans" cxnId="{B595570F-CE8B-4ABB-B760-6656FDF049BE}">
      <dgm:prSet/>
      <dgm:spPr/>
      <dgm:t>
        <a:bodyPr/>
        <a:lstStyle/>
        <a:p>
          <a:endParaRPr lang="en-US"/>
        </a:p>
      </dgm:t>
    </dgm:pt>
    <dgm:pt modelId="{D8D6188E-E3F0-41BC-AA53-408232F0545F}" type="sibTrans" cxnId="{B595570F-CE8B-4ABB-B760-6656FDF049BE}">
      <dgm:prSet/>
      <dgm:spPr/>
      <dgm:t>
        <a:bodyPr/>
        <a:lstStyle/>
        <a:p>
          <a:endParaRPr lang="en-US"/>
        </a:p>
      </dgm:t>
    </dgm:pt>
    <dgm:pt modelId="{25816E63-FEEF-4639-9CBD-27303AAC5F99}">
      <dgm:prSet/>
      <dgm:spPr/>
      <dgm:t>
        <a:bodyPr/>
        <a:lstStyle/>
        <a:p>
          <a:r>
            <a:rPr lang="en-US" dirty="0" smtClean="0"/>
            <a:t>Still easy, bit of work</a:t>
          </a:r>
          <a:endParaRPr lang="en-US" dirty="0"/>
        </a:p>
      </dgm:t>
    </dgm:pt>
    <dgm:pt modelId="{8D34C860-32B4-40E2-9A57-9417F6D587C2}" type="parTrans" cxnId="{EEB98823-AA88-40BD-BF39-0E109953C6EA}">
      <dgm:prSet/>
      <dgm:spPr/>
      <dgm:t>
        <a:bodyPr/>
        <a:lstStyle/>
        <a:p>
          <a:endParaRPr lang="en-US"/>
        </a:p>
      </dgm:t>
    </dgm:pt>
    <dgm:pt modelId="{3B535074-49B3-4031-82F2-BC32D16462D9}" type="sibTrans" cxnId="{EEB98823-AA88-40BD-BF39-0E109953C6EA}">
      <dgm:prSet/>
      <dgm:spPr/>
      <dgm:t>
        <a:bodyPr/>
        <a:lstStyle/>
        <a:p>
          <a:endParaRPr lang="en-US"/>
        </a:p>
      </dgm:t>
    </dgm:pt>
    <dgm:pt modelId="{AD02487E-CD5B-4257-A9D1-34F03B5E52A0}">
      <dgm:prSet/>
      <dgm:spPr/>
      <dgm:t>
        <a:bodyPr/>
        <a:lstStyle/>
        <a:p>
          <a:r>
            <a:rPr lang="en-US" dirty="0" smtClean="0"/>
            <a:t>Need to move code, but less management</a:t>
          </a:r>
          <a:endParaRPr lang="en-US" dirty="0"/>
        </a:p>
      </dgm:t>
    </dgm:pt>
    <dgm:pt modelId="{0999CA9E-8DFA-446A-AB44-B4CA275D590D}" type="parTrans" cxnId="{BB51010A-B853-4D20-9035-B5912C8C924A}">
      <dgm:prSet/>
      <dgm:spPr/>
      <dgm:t>
        <a:bodyPr/>
        <a:lstStyle/>
        <a:p>
          <a:endParaRPr lang="en-US"/>
        </a:p>
      </dgm:t>
    </dgm:pt>
    <dgm:pt modelId="{D6C0DCDC-B788-4EC6-9983-2BAB5B498E69}" type="sibTrans" cxnId="{BB51010A-B853-4D20-9035-B5912C8C924A}">
      <dgm:prSet/>
      <dgm:spPr/>
      <dgm:t>
        <a:bodyPr/>
        <a:lstStyle/>
        <a:p>
          <a:endParaRPr lang="en-US"/>
        </a:p>
      </dgm:t>
    </dgm:pt>
    <dgm:pt modelId="{3C3F328C-2570-4A0E-BD16-EB02267A4B7D}">
      <dgm:prSet/>
      <dgm:spPr/>
      <dgm:t>
        <a:bodyPr/>
        <a:lstStyle/>
        <a:p>
          <a:r>
            <a:rPr lang="en-US" dirty="0" smtClean="0"/>
            <a:t>Significant work</a:t>
          </a:r>
          <a:endParaRPr lang="en-US" dirty="0"/>
        </a:p>
      </dgm:t>
    </dgm:pt>
    <dgm:pt modelId="{069D54FD-1A1D-4F4C-A598-971D3ABA33F3}" type="parTrans" cxnId="{70B8E359-62EC-4726-BEB9-1FFBF527A6C7}">
      <dgm:prSet/>
      <dgm:spPr/>
      <dgm:t>
        <a:bodyPr/>
        <a:lstStyle/>
        <a:p>
          <a:endParaRPr lang="en-US"/>
        </a:p>
      </dgm:t>
    </dgm:pt>
    <dgm:pt modelId="{C5CCA036-E6A5-4440-925B-BEE99BBB9692}" type="sibTrans" cxnId="{70B8E359-62EC-4726-BEB9-1FFBF527A6C7}">
      <dgm:prSet/>
      <dgm:spPr/>
      <dgm:t>
        <a:bodyPr/>
        <a:lstStyle/>
        <a:p>
          <a:endParaRPr lang="en-US"/>
        </a:p>
      </dgm:t>
    </dgm:pt>
    <dgm:pt modelId="{CAA85BE1-B21C-41DB-AD87-C92914534158}">
      <dgm:prSet/>
      <dgm:spPr/>
      <dgm:t>
        <a:bodyPr/>
        <a:lstStyle/>
        <a:p>
          <a:r>
            <a:rPr lang="en-US" dirty="0" smtClean="0"/>
            <a:t>Far less management</a:t>
          </a:r>
          <a:endParaRPr lang="en-US" dirty="0"/>
        </a:p>
      </dgm:t>
    </dgm:pt>
    <dgm:pt modelId="{6CF42EE8-A48C-4593-B3B2-DAC5BB2BC2D9}" type="parTrans" cxnId="{58CEF073-DADA-4A7F-A30A-A1B6F8203683}">
      <dgm:prSet/>
      <dgm:spPr/>
      <dgm:t>
        <a:bodyPr/>
        <a:lstStyle/>
        <a:p>
          <a:endParaRPr lang="en-US"/>
        </a:p>
      </dgm:t>
    </dgm:pt>
    <dgm:pt modelId="{DFA8336E-97DE-4D02-B9A5-68ACA1191D9F}" type="sibTrans" cxnId="{58CEF073-DADA-4A7F-A30A-A1B6F8203683}">
      <dgm:prSet/>
      <dgm:spPr/>
      <dgm:t>
        <a:bodyPr/>
        <a:lstStyle/>
        <a:p>
          <a:endParaRPr lang="en-US"/>
        </a:p>
      </dgm:t>
    </dgm:pt>
    <dgm:pt modelId="{046100EB-A146-40E7-A291-20509038D2E7}" type="pres">
      <dgm:prSet presAssocID="{FE0EC45B-28AD-45E9-961E-08C8EE11F6FA}" presName="Name0" presStyleCnt="0">
        <dgm:presLayoutVars>
          <dgm:dir/>
          <dgm:animLvl val="lvl"/>
          <dgm:resizeHandles val="exact"/>
        </dgm:presLayoutVars>
      </dgm:prSet>
      <dgm:spPr/>
      <dgm:t>
        <a:bodyPr/>
        <a:lstStyle/>
        <a:p>
          <a:endParaRPr lang="en-US"/>
        </a:p>
      </dgm:t>
    </dgm:pt>
    <dgm:pt modelId="{D7217634-E99B-4828-A5D7-5E7ED8F937A1}" type="pres">
      <dgm:prSet presAssocID="{2A22D486-1D18-4945-B926-BDFF986E40DC}" presName="composite" presStyleCnt="0"/>
      <dgm:spPr/>
    </dgm:pt>
    <dgm:pt modelId="{3513F839-B3E6-4627-9F5F-96CC427F5079}" type="pres">
      <dgm:prSet presAssocID="{2A22D486-1D18-4945-B926-BDFF986E40DC}" presName="parTx" presStyleLbl="alignNode1" presStyleIdx="0" presStyleCnt="4">
        <dgm:presLayoutVars>
          <dgm:chMax val="0"/>
          <dgm:chPref val="0"/>
          <dgm:bulletEnabled val="1"/>
        </dgm:presLayoutVars>
      </dgm:prSet>
      <dgm:spPr/>
      <dgm:t>
        <a:bodyPr/>
        <a:lstStyle/>
        <a:p>
          <a:endParaRPr lang="en-US"/>
        </a:p>
      </dgm:t>
    </dgm:pt>
    <dgm:pt modelId="{6F457513-D16D-47DB-8269-993F0FDB7435}" type="pres">
      <dgm:prSet presAssocID="{2A22D486-1D18-4945-B926-BDFF986E40DC}" presName="desTx" presStyleLbl="alignAccFollowNode1" presStyleIdx="0" presStyleCnt="4">
        <dgm:presLayoutVars>
          <dgm:bulletEnabled val="1"/>
        </dgm:presLayoutVars>
      </dgm:prSet>
      <dgm:spPr/>
      <dgm:t>
        <a:bodyPr/>
        <a:lstStyle/>
        <a:p>
          <a:endParaRPr lang="en-US"/>
        </a:p>
      </dgm:t>
    </dgm:pt>
    <dgm:pt modelId="{4690C953-E384-45CC-973B-D3A295E07818}" type="pres">
      <dgm:prSet presAssocID="{DF873A22-09CF-43A8-AF88-37B94FAF5E1A}" presName="space" presStyleCnt="0"/>
      <dgm:spPr/>
    </dgm:pt>
    <dgm:pt modelId="{90D014AB-A413-4CA7-B9F8-40DFFD856A3C}" type="pres">
      <dgm:prSet presAssocID="{D17025E9-5070-4AC1-9FA1-39F05FBC0037}" presName="composite" presStyleCnt="0"/>
      <dgm:spPr/>
    </dgm:pt>
    <dgm:pt modelId="{2103FE4D-771C-4F82-976A-031678FBF4C2}" type="pres">
      <dgm:prSet presAssocID="{D17025E9-5070-4AC1-9FA1-39F05FBC0037}" presName="parTx" presStyleLbl="alignNode1" presStyleIdx="1" presStyleCnt="4">
        <dgm:presLayoutVars>
          <dgm:chMax val="0"/>
          <dgm:chPref val="0"/>
          <dgm:bulletEnabled val="1"/>
        </dgm:presLayoutVars>
      </dgm:prSet>
      <dgm:spPr/>
      <dgm:t>
        <a:bodyPr/>
        <a:lstStyle/>
        <a:p>
          <a:endParaRPr lang="en-US"/>
        </a:p>
      </dgm:t>
    </dgm:pt>
    <dgm:pt modelId="{CE108943-9C0D-4E19-AE85-EC1CA396B4C8}" type="pres">
      <dgm:prSet presAssocID="{D17025E9-5070-4AC1-9FA1-39F05FBC0037}" presName="desTx" presStyleLbl="alignAccFollowNode1" presStyleIdx="1" presStyleCnt="4">
        <dgm:presLayoutVars>
          <dgm:bulletEnabled val="1"/>
        </dgm:presLayoutVars>
      </dgm:prSet>
      <dgm:spPr/>
      <dgm:t>
        <a:bodyPr/>
        <a:lstStyle/>
        <a:p>
          <a:endParaRPr lang="en-US"/>
        </a:p>
      </dgm:t>
    </dgm:pt>
    <dgm:pt modelId="{2559BD1C-DBA7-4121-94E9-FEB30224DF82}" type="pres">
      <dgm:prSet presAssocID="{D344391C-B79B-46C8-8FE6-7F27154584DC}" presName="space" presStyleCnt="0"/>
      <dgm:spPr/>
    </dgm:pt>
    <dgm:pt modelId="{CD780B59-30FB-4A5D-BC5A-20B221EF3C50}" type="pres">
      <dgm:prSet presAssocID="{9B43A4B0-228C-44E1-A7EF-72588A3D5E57}" presName="composite" presStyleCnt="0"/>
      <dgm:spPr/>
    </dgm:pt>
    <dgm:pt modelId="{BDACB0AC-3960-4356-84A7-07EC6F589A8F}" type="pres">
      <dgm:prSet presAssocID="{9B43A4B0-228C-44E1-A7EF-72588A3D5E57}" presName="parTx" presStyleLbl="alignNode1" presStyleIdx="2" presStyleCnt="4">
        <dgm:presLayoutVars>
          <dgm:chMax val="0"/>
          <dgm:chPref val="0"/>
          <dgm:bulletEnabled val="1"/>
        </dgm:presLayoutVars>
      </dgm:prSet>
      <dgm:spPr/>
      <dgm:t>
        <a:bodyPr/>
        <a:lstStyle/>
        <a:p>
          <a:endParaRPr lang="en-US"/>
        </a:p>
      </dgm:t>
    </dgm:pt>
    <dgm:pt modelId="{8BFC79CE-D8FD-4910-A61B-D35A3012B48F}" type="pres">
      <dgm:prSet presAssocID="{9B43A4B0-228C-44E1-A7EF-72588A3D5E57}" presName="desTx" presStyleLbl="alignAccFollowNode1" presStyleIdx="2" presStyleCnt="4">
        <dgm:presLayoutVars>
          <dgm:bulletEnabled val="1"/>
        </dgm:presLayoutVars>
      </dgm:prSet>
      <dgm:spPr/>
      <dgm:t>
        <a:bodyPr/>
        <a:lstStyle/>
        <a:p>
          <a:endParaRPr lang="en-US"/>
        </a:p>
      </dgm:t>
    </dgm:pt>
    <dgm:pt modelId="{1B3AF6FA-E57D-411C-8C03-C9927A0F74FF}" type="pres">
      <dgm:prSet presAssocID="{431422A4-80D5-4844-85FF-ABD322087123}" presName="space" presStyleCnt="0"/>
      <dgm:spPr/>
    </dgm:pt>
    <dgm:pt modelId="{2F6438F3-84D4-4045-B0AC-357ADAB30295}" type="pres">
      <dgm:prSet presAssocID="{6E9D8280-79B2-40E4-A4BA-6E4548F89279}" presName="composite" presStyleCnt="0"/>
      <dgm:spPr/>
    </dgm:pt>
    <dgm:pt modelId="{D30BF241-635A-40BB-B129-C84F396F4249}" type="pres">
      <dgm:prSet presAssocID="{6E9D8280-79B2-40E4-A4BA-6E4548F89279}" presName="parTx" presStyleLbl="alignNode1" presStyleIdx="3" presStyleCnt="4">
        <dgm:presLayoutVars>
          <dgm:chMax val="0"/>
          <dgm:chPref val="0"/>
          <dgm:bulletEnabled val="1"/>
        </dgm:presLayoutVars>
      </dgm:prSet>
      <dgm:spPr/>
      <dgm:t>
        <a:bodyPr/>
        <a:lstStyle/>
        <a:p>
          <a:endParaRPr lang="en-US"/>
        </a:p>
      </dgm:t>
    </dgm:pt>
    <dgm:pt modelId="{B0B7068D-B720-45FE-A953-B0FF39DF0EC0}" type="pres">
      <dgm:prSet presAssocID="{6E9D8280-79B2-40E4-A4BA-6E4548F89279}" presName="desTx" presStyleLbl="alignAccFollowNode1" presStyleIdx="3" presStyleCnt="4">
        <dgm:presLayoutVars>
          <dgm:bulletEnabled val="1"/>
        </dgm:presLayoutVars>
      </dgm:prSet>
      <dgm:spPr/>
      <dgm:t>
        <a:bodyPr/>
        <a:lstStyle/>
        <a:p>
          <a:endParaRPr lang="en-US"/>
        </a:p>
      </dgm:t>
    </dgm:pt>
  </dgm:ptLst>
  <dgm:cxnLst>
    <dgm:cxn modelId="{8193B6FA-D149-4CA7-A61E-8564899D3FB7}" type="presOf" srcId="{25816E63-FEEF-4639-9CBD-27303AAC5F99}" destId="{CE108943-9C0D-4E19-AE85-EC1CA396B4C8}" srcOrd="0" destOrd="0" presId="urn:microsoft.com/office/officeart/2005/8/layout/hList1"/>
    <dgm:cxn modelId="{7B5BA7E3-171E-445D-AF78-427A35B402DA}" srcId="{FE0EC45B-28AD-45E9-961E-08C8EE11F6FA}" destId="{9B43A4B0-228C-44E1-A7EF-72588A3D5E57}" srcOrd="2" destOrd="0" parTransId="{610D7AE5-CDF1-45F1-B9C5-BD4FAAD21AFF}" sibTransId="{431422A4-80D5-4844-85FF-ABD322087123}"/>
    <dgm:cxn modelId="{14F61F92-3737-4E91-987F-B739581A1C42}" type="presOf" srcId="{AD02487E-CD5B-4257-A9D1-34F03B5E52A0}" destId="{8BFC79CE-D8FD-4910-A61B-D35A3012B48F}" srcOrd="0" destOrd="0" presId="urn:microsoft.com/office/officeart/2005/8/layout/hList1"/>
    <dgm:cxn modelId="{DF43CEAC-CBC3-4B15-B44B-2EA13D267360}" srcId="{FE0EC45B-28AD-45E9-961E-08C8EE11F6FA}" destId="{2A22D486-1D18-4945-B926-BDFF986E40DC}" srcOrd="0" destOrd="0" parTransId="{A64ACE4C-DFEA-4DE5-AACA-9C35A8265D03}" sibTransId="{DF873A22-09CF-43A8-AF88-37B94FAF5E1A}"/>
    <dgm:cxn modelId="{31704C13-D96E-4EF2-AF74-E134F384572B}" type="presOf" srcId="{1378012F-D47A-4172-961E-37F571BAD1F4}" destId="{6F457513-D16D-47DB-8269-993F0FDB7435}" srcOrd="0" destOrd="0" presId="urn:microsoft.com/office/officeart/2005/8/layout/hList1"/>
    <dgm:cxn modelId="{58CEF073-DADA-4A7F-A30A-A1B6F8203683}" srcId="{6E9D8280-79B2-40E4-A4BA-6E4548F89279}" destId="{CAA85BE1-B21C-41DB-AD87-C92914534158}" srcOrd="1" destOrd="0" parTransId="{6CF42EE8-A48C-4593-B3B2-DAC5BB2BC2D9}" sibTransId="{DFA8336E-97DE-4D02-B9A5-68ACA1191D9F}"/>
    <dgm:cxn modelId="{79F1392E-9797-47C9-979B-11A2FBA05DF7}" type="presOf" srcId="{FE0EC45B-28AD-45E9-961E-08C8EE11F6FA}" destId="{046100EB-A146-40E7-A291-20509038D2E7}" srcOrd="0" destOrd="0" presId="urn:microsoft.com/office/officeart/2005/8/layout/hList1"/>
    <dgm:cxn modelId="{FD6D66D9-612D-48B1-930A-734D5BDCF004}" type="presOf" srcId="{D17025E9-5070-4AC1-9FA1-39F05FBC0037}" destId="{2103FE4D-771C-4F82-976A-031678FBF4C2}" srcOrd="0" destOrd="0" presId="urn:microsoft.com/office/officeart/2005/8/layout/hList1"/>
    <dgm:cxn modelId="{FD789968-7901-44D4-B614-BB62B2A61656}" type="presOf" srcId="{CAA85BE1-B21C-41DB-AD87-C92914534158}" destId="{B0B7068D-B720-45FE-A953-B0FF39DF0EC0}" srcOrd="0" destOrd="1" presId="urn:microsoft.com/office/officeart/2005/8/layout/hList1"/>
    <dgm:cxn modelId="{EEB98823-AA88-40BD-BF39-0E109953C6EA}" srcId="{D17025E9-5070-4AC1-9FA1-39F05FBC0037}" destId="{25816E63-FEEF-4639-9CBD-27303AAC5F99}" srcOrd="0" destOrd="0" parTransId="{8D34C860-32B4-40E2-9A57-9417F6D587C2}" sibTransId="{3B535074-49B3-4031-82F2-BC32D16462D9}"/>
    <dgm:cxn modelId="{0802017A-3A6C-41FA-BBBB-BB814E994B44}" type="presOf" srcId="{9B43A4B0-228C-44E1-A7EF-72588A3D5E57}" destId="{BDACB0AC-3960-4356-84A7-07EC6F589A8F}" srcOrd="0" destOrd="0" presId="urn:microsoft.com/office/officeart/2005/8/layout/hList1"/>
    <dgm:cxn modelId="{B595570F-CE8B-4ABB-B760-6656FDF049BE}" srcId="{2A22D486-1D18-4945-B926-BDFF986E40DC}" destId="{1378012F-D47A-4172-961E-37F571BAD1F4}" srcOrd="0" destOrd="0" parTransId="{0F3AEBCB-D24E-4C02-8EF5-CA030B4BD305}" sibTransId="{D8D6188E-E3F0-41BC-AA53-408232F0545F}"/>
    <dgm:cxn modelId="{B7F5A238-D8F1-4D3F-AE99-CA1F79475F29}" type="presOf" srcId="{6E9D8280-79B2-40E4-A4BA-6E4548F89279}" destId="{D30BF241-635A-40BB-B129-C84F396F4249}" srcOrd="0" destOrd="0" presId="urn:microsoft.com/office/officeart/2005/8/layout/hList1"/>
    <dgm:cxn modelId="{69460CB1-AF70-45DE-B71D-05CC6E110F44}" type="presOf" srcId="{2A22D486-1D18-4945-B926-BDFF986E40DC}" destId="{3513F839-B3E6-4627-9F5F-96CC427F5079}" srcOrd="0" destOrd="0" presId="urn:microsoft.com/office/officeart/2005/8/layout/hList1"/>
    <dgm:cxn modelId="{94B7394F-51BA-46BA-B997-E3CF389E58BF}" srcId="{FE0EC45B-28AD-45E9-961E-08C8EE11F6FA}" destId="{6E9D8280-79B2-40E4-A4BA-6E4548F89279}" srcOrd="3" destOrd="0" parTransId="{263F25B3-2EB0-40D3-9B0D-AF2E130407CC}" sibTransId="{952FF839-8602-45FB-AE86-EB7510A74EA8}"/>
    <dgm:cxn modelId="{82EEE1DF-4BED-4333-8878-5C64CFFEC0AD}" srcId="{FE0EC45B-28AD-45E9-961E-08C8EE11F6FA}" destId="{D17025E9-5070-4AC1-9FA1-39F05FBC0037}" srcOrd="1" destOrd="0" parTransId="{B0AF21EF-F888-435B-963D-ADD713C1A824}" sibTransId="{D344391C-B79B-46C8-8FE6-7F27154584DC}"/>
    <dgm:cxn modelId="{70B8E359-62EC-4726-BEB9-1FFBF527A6C7}" srcId="{6E9D8280-79B2-40E4-A4BA-6E4548F89279}" destId="{3C3F328C-2570-4A0E-BD16-EB02267A4B7D}" srcOrd="0" destOrd="0" parTransId="{069D54FD-1A1D-4F4C-A598-971D3ABA33F3}" sibTransId="{C5CCA036-E6A5-4440-925B-BEE99BBB9692}"/>
    <dgm:cxn modelId="{74ED4ED7-22AB-4FBE-8F84-692A5BDB912A}" type="presOf" srcId="{3C3F328C-2570-4A0E-BD16-EB02267A4B7D}" destId="{B0B7068D-B720-45FE-A953-B0FF39DF0EC0}" srcOrd="0" destOrd="0" presId="urn:microsoft.com/office/officeart/2005/8/layout/hList1"/>
    <dgm:cxn modelId="{BB51010A-B853-4D20-9035-B5912C8C924A}" srcId="{9B43A4B0-228C-44E1-A7EF-72588A3D5E57}" destId="{AD02487E-CD5B-4257-A9D1-34F03B5E52A0}" srcOrd="0" destOrd="0" parTransId="{0999CA9E-8DFA-446A-AB44-B4CA275D590D}" sibTransId="{D6C0DCDC-B788-4EC6-9983-2BAB5B498E69}"/>
    <dgm:cxn modelId="{08BA6428-7BBA-4D4C-8087-AA8C8767CF8C}" type="presParOf" srcId="{046100EB-A146-40E7-A291-20509038D2E7}" destId="{D7217634-E99B-4828-A5D7-5E7ED8F937A1}" srcOrd="0" destOrd="0" presId="urn:microsoft.com/office/officeart/2005/8/layout/hList1"/>
    <dgm:cxn modelId="{8FDAD062-2B59-4094-A968-292A838B78AA}" type="presParOf" srcId="{D7217634-E99B-4828-A5D7-5E7ED8F937A1}" destId="{3513F839-B3E6-4627-9F5F-96CC427F5079}" srcOrd="0" destOrd="0" presId="urn:microsoft.com/office/officeart/2005/8/layout/hList1"/>
    <dgm:cxn modelId="{86758048-54DE-4AB9-9320-53769CE6FA0B}" type="presParOf" srcId="{D7217634-E99B-4828-A5D7-5E7ED8F937A1}" destId="{6F457513-D16D-47DB-8269-993F0FDB7435}" srcOrd="1" destOrd="0" presId="urn:microsoft.com/office/officeart/2005/8/layout/hList1"/>
    <dgm:cxn modelId="{1ACC6D13-5A67-4A54-8421-219238D3F552}" type="presParOf" srcId="{046100EB-A146-40E7-A291-20509038D2E7}" destId="{4690C953-E384-45CC-973B-D3A295E07818}" srcOrd="1" destOrd="0" presId="urn:microsoft.com/office/officeart/2005/8/layout/hList1"/>
    <dgm:cxn modelId="{651D9FFC-3233-4DA0-9E00-9125F4B864F2}" type="presParOf" srcId="{046100EB-A146-40E7-A291-20509038D2E7}" destId="{90D014AB-A413-4CA7-B9F8-40DFFD856A3C}" srcOrd="2" destOrd="0" presId="urn:microsoft.com/office/officeart/2005/8/layout/hList1"/>
    <dgm:cxn modelId="{2CE8C320-2C4B-4ACD-893C-4C148B725AFD}" type="presParOf" srcId="{90D014AB-A413-4CA7-B9F8-40DFFD856A3C}" destId="{2103FE4D-771C-4F82-976A-031678FBF4C2}" srcOrd="0" destOrd="0" presId="urn:microsoft.com/office/officeart/2005/8/layout/hList1"/>
    <dgm:cxn modelId="{B9CC1EDE-BD3F-4283-8FF4-EE32F05C2CE2}" type="presParOf" srcId="{90D014AB-A413-4CA7-B9F8-40DFFD856A3C}" destId="{CE108943-9C0D-4E19-AE85-EC1CA396B4C8}" srcOrd="1" destOrd="0" presId="urn:microsoft.com/office/officeart/2005/8/layout/hList1"/>
    <dgm:cxn modelId="{415C7AE5-666F-4906-B26B-D54704A2351A}" type="presParOf" srcId="{046100EB-A146-40E7-A291-20509038D2E7}" destId="{2559BD1C-DBA7-4121-94E9-FEB30224DF82}" srcOrd="3" destOrd="0" presId="urn:microsoft.com/office/officeart/2005/8/layout/hList1"/>
    <dgm:cxn modelId="{BD3CCCB9-FB12-4B12-A39B-720B05D48CDF}" type="presParOf" srcId="{046100EB-A146-40E7-A291-20509038D2E7}" destId="{CD780B59-30FB-4A5D-BC5A-20B221EF3C50}" srcOrd="4" destOrd="0" presId="urn:microsoft.com/office/officeart/2005/8/layout/hList1"/>
    <dgm:cxn modelId="{05D0AC54-B00A-4B2F-AEFF-58CB236430C4}" type="presParOf" srcId="{CD780B59-30FB-4A5D-BC5A-20B221EF3C50}" destId="{BDACB0AC-3960-4356-84A7-07EC6F589A8F}" srcOrd="0" destOrd="0" presId="urn:microsoft.com/office/officeart/2005/8/layout/hList1"/>
    <dgm:cxn modelId="{6BDCA618-3255-47BA-865E-506320657DC1}" type="presParOf" srcId="{CD780B59-30FB-4A5D-BC5A-20B221EF3C50}" destId="{8BFC79CE-D8FD-4910-A61B-D35A3012B48F}" srcOrd="1" destOrd="0" presId="urn:microsoft.com/office/officeart/2005/8/layout/hList1"/>
    <dgm:cxn modelId="{D688D360-A237-4554-A92F-5C0B0C0D0115}" type="presParOf" srcId="{046100EB-A146-40E7-A291-20509038D2E7}" destId="{1B3AF6FA-E57D-411C-8C03-C9927A0F74FF}" srcOrd="5" destOrd="0" presId="urn:microsoft.com/office/officeart/2005/8/layout/hList1"/>
    <dgm:cxn modelId="{C2DFC032-B1B5-403F-B604-2A73B7FB9007}" type="presParOf" srcId="{046100EB-A146-40E7-A291-20509038D2E7}" destId="{2F6438F3-84D4-4045-B0AC-357ADAB30295}" srcOrd="6" destOrd="0" presId="urn:microsoft.com/office/officeart/2005/8/layout/hList1"/>
    <dgm:cxn modelId="{F31EAF74-3904-4FE0-8B8E-48BDCEBF0334}" type="presParOf" srcId="{2F6438F3-84D4-4045-B0AC-357ADAB30295}" destId="{D30BF241-635A-40BB-B129-C84F396F4249}" srcOrd="0" destOrd="0" presId="urn:microsoft.com/office/officeart/2005/8/layout/hList1"/>
    <dgm:cxn modelId="{9429ABF9-BFE4-4F52-A6BA-4606B21BFE6B}" type="presParOf" srcId="{2F6438F3-84D4-4045-B0AC-357ADAB30295}" destId="{B0B7068D-B720-45FE-A953-B0FF39DF0EC0}"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11/21/2013</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28290163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11/21/2013</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3124071592"/>
      </p:ext>
    </p:extLst>
  </p:cSld>
  <p:clrMap bg1="lt1" tx1="dk1" bg2="lt2" tx2="dk2" accent1="accent1" accent2="accent2" accent3="accent3" accent4="accent4" accent5="accent5" accent6="accent6" hlink="hlink" folHlink="folHlink"/>
  <p:notesStyle>
    <a:lvl1pPr marL="0" algn="l" defTabSz="913641"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827" indent="-105752" algn="l" defTabSz="913641"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7816" indent="-115012" algn="l" defTabSz="913641"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466" indent="-146724" algn="l" defTabSz="913641"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4642" indent="-115012" algn="l" defTabSz="913641"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4088" algn="l" defTabSz="913641" rtl="0" eaLnBrk="1" latinLnBrk="0" hangingPunct="1">
      <a:defRPr sz="1200" kern="1200">
        <a:solidFill>
          <a:schemeClr val="tx1"/>
        </a:solidFill>
        <a:latin typeface="+mn-lt"/>
        <a:ea typeface="+mn-ea"/>
        <a:cs typeface="+mn-cs"/>
      </a:defRPr>
    </a:lvl6pPr>
    <a:lvl7pPr marL="2740918" algn="l" defTabSz="913641" rtl="0" eaLnBrk="1" latinLnBrk="0" hangingPunct="1">
      <a:defRPr sz="1200" kern="1200">
        <a:solidFill>
          <a:schemeClr val="tx1"/>
        </a:solidFill>
        <a:latin typeface="+mn-lt"/>
        <a:ea typeface="+mn-ea"/>
        <a:cs typeface="+mn-cs"/>
      </a:defRPr>
    </a:lvl7pPr>
    <a:lvl8pPr marL="3197739" algn="l" defTabSz="913641" rtl="0" eaLnBrk="1" latinLnBrk="0" hangingPunct="1">
      <a:defRPr sz="1200" kern="1200">
        <a:solidFill>
          <a:schemeClr val="tx1"/>
        </a:solidFill>
        <a:latin typeface="+mn-lt"/>
        <a:ea typeface="+mn-ea"/>
        <a:cs typeface="+mn-cs"/>
      </a:defRPr>
    </a:lvl8pPr>
    <a:lvl9pPr marL="3654563" algn="l" defTabSz="913641"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a:t>
            </a:fld>
            <a:endParaRPr lang="en-US" dirty="0"/>
          </a:p>
        </p:txBody>
      </p:sp>
    </p:spTree>
    <p:extLst>
      <p:ext uri="{BB962C8B-B14F-4D97-AF65-F5344CB8AC3E}">
        <p14:creationId xmlns:p14="http://schemas.microsoft.com/office/powerpoint/2010/main" val="10152358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3641" rtl="0" eaLnBrk="1" fontAlgn="auto" latinLnBrk="0" hangingPunct="1">
              <a:lnSpc>
                <a:spcPct val="90000"/>
              </a:lnSpc>
              <a:spcBef>
                <a:spcPts val="0"/>
              </a:spcBef>
              <a:spcAft>
                <a:spcPts val="333"/>
              </a:spcAft>
              <a:buClrTx/>
              <a:buSzTx/>
              <a:buFontTx/>
              <a:buNone/>
              <a:tabLst/>
              <a:defRPr/>
            </a:pPr>
            <a:r>
              <a:rPr lang="en-US" b="1" dirty="0" smtClean="0"/>
              <a:t>Slide</a:t>
            </a:r>
            <a:r>
              <a:rPr lang="en-US" b="1" baseline="0" dirty="0" smtClean="0"/>
              <a:t> Objective:</a:t>
            </a:r>
            <a:endParaRPr lang="en-US" b="1" dirty="0" smtClean="0"/>
          </a:p>
          <a:p>
            <a:r>
              <a:rPr lang="en-US" dirty="0" smtClean="0"/>
              <a:t>This animation</a:t>
            </a:r>
            <a:r>
              <a:rPr lang="en-US" baseline="0" dirty="0" smtClean="0"/>
              <a:t> is a simple example of the steps needed to migrate a VM running in Hyper-V on premises to Windows Azure.</a:t>
            </a:r>
          </a:p>
          <a:p>
            <a:endParaRPr lang="en-US" baseline="0" dirty="0" smtClean="0"/>
          </a:p>
          <a:p>
            <a:r>
              <a:rPr lang="en-US" b="1" baseline="0" dirty="0" smtClean="0"/>
              <a:t>Notes:</a:t>
            </a:r>
          </a:p>
          <a:p>
            <a:r>
              <a:rPr lang="en-US" baseline="0" dirty="0" smtClean="0"/>
              <a:t>The reason for the adjustment in drive letters is the Windows Azure VM exposes the local server physical storage as the D: drive on Windows. This location should be considered temporary because it is not backed by Windows Azure storage. Since the D: is taken VMs that are currently using the D: drive will need to be adjusted on upload.</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9</a:t>
            </a:fld>
            <a:endParaRPr lang="en-US" dirty="0"/>
          </a:p>
        </p:txBody>
      </p:sp>
    </p:spTree>
    <p:extLst>
      <p:ext uri="{BB962C8B-B14F-4D97-AF65-F5344CB8AC3E}">
        <p14:creationId xmlns:p14="http://schemas.microsoft.com/office/powerpoint/2010/main" val="35759843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1</a:t>
            </a:fld>
            <a:endParaRPr lang="en-US" dirty="0"/>
          </a:p>
        </p:txBody>
      </p:sp>
    </p:spTree>
    <p:extLst>
      <p:ext uri="{BB962C8B-B14F-4D97-AF65-F5344CB8AC3E}">
        <p14:creationId xmlns:p14="http://schemas.microsoft.com/office/powerpoint/2010/main" val="6065698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r>
              <a:rPr lang="en-US" dirty="0" smtClean="0"/>
              <a:t>Explain benefits of a PaaS Model</a:t>
            </a:r>
          </a:p>
          <a:p>
            <a:endParaRPr lang="en-US" dirty="0" smtClean="0"/>
          </a:p>
          <a:p>
            <a:endParaRPr lang="en-US" dirty="0" smtClean="0"/>
          </a:p>
          <a:p>
            <a:endParaRPr lang="en-US" dirty="0"/>
          </a:p>
        </p:txBody>
      </p:sp>
      <p:sp>
        <p:nvSpPr>
          <p:cNvPr id="7" name="Slide Number Placeholder 6"/>
          <p:cNvSpPr>
            <a:spLocks noGrp="1"/>
          </p:cNvSpPr>
          <p:nvPr>
            <p:ph type="sldNum" sz="quarter" idx="13"/>
          </p:nvPr>
        </p:nvSpPr>
        <p:spPr/>
        <p:txBody>
          <a:bodyPr/>
          <a:lstStyle/>
          <a:p>
            <a:fld id="{8B263312-38AA-4E1E-B2B5-0F8F122B24FE}"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24954536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r>
              <a:rPr lang="en-US" b="1" dirty="0" smtClean="0"/>
              <a:t>Slide Objective:</a:t>
            </a:r>
          </a:p>
          <a:p>
            <a:r>
              <a:rPr lang="en-US" b="0" dirty="0" smtClean="0"/>
              <a:t>Quick</a:t>
            </a:r>
            <a:r>
              <a:rPr lang="en-US" b="0" baseline="0" dirty="0" smtClean="0"/>
              <a:t> reference of use cases for VNET</a:t>
            </a:r>
          </a:p>
          <a:p>
            <a:endParaRPr lang="en-US" b="0" baseline="0" dirty="0" smtClean="0"/>
          </a:p>
          <a:p>
            <a:r>
              <a:rPr lang="en-US" b="1" dirty="0" smtClean="0"/>
              <a:t>Notes:</a:t>
            </a:r>
          </a:p>
          <a:p>
            <a:r>
              <a:rPr lang="en-US" dirty="0" smtClean="0"/>
              <a:t>Windows</a:t>
            </a:r>
            <a:r>
              <a:rPr lang="en-US" baseline="0" dirty="0" smtClean="0"/>
              <a:t> Azure Virtual Networks provide functionality above and beyond site to site networking. </a:t>
            </a:r>
          </a:p>
          <a:p>
            <a:endParaRPr lang="en-US" baseline="0" dirty="0" smtClean="0"/>
          </a:p>
          <a:p>
            <a:r>
              <a:rPr lang="en-US" baseline="0" dirty="0" smtClean="0"/>
              <a:t>VNETs also provide persistent IP addresses through an infinite DHCP lease (not static but effectively the same thing).</a:t>
            </a:r>
          </a:p>
          <a:p>
            <a:endParaRPr lang="en-US" baseline="0" dirty="0" smtClean="0"/>
          </a:p>
          <a:p>
            <a:r>
              <a:rPr lang="en-US" baseline="0" dirty="0" smtClean="0"/>
              <a:t>VNETs also provide the capability of connecting cloud services in the same affinity group directly. This allows for scenarios like web and worker roles to virtual machines running services like SQL Server 2012 or SharePoint.</a:t>
            </a: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5</a:t>
            </a:fld>
            <a:endParaRPr lang="en-US" dirty="0"/>
          </a:p>
        </p:txBody>
      </p:sp>
    </p:spTree>
    <p:extLst>
      <p:ext uri="{BB962C8B-B14F-4D97-AF65-F5344CB8AC3E}">
        <p14:creationId xmlns:p14="http://schemas.microsoft.com/office/powerpoint/2010/main" val="12287762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r>
              <a:rPr lang="en-US" dirty="0" smtClean="0"/>
              <a:t>Connecting cloud</a:t>
            </a:r>
            <a:r>
              <a:rPr lang="en-US" baseline="0" dirty="0" smtClean="0"/>
              <a:t> services without a VNet</a:t>
            </a:r>
          </a:p>
          <a:p>
            <a:endParaRPr lang="en-US" baseline="0" dirty="0" smtClean="0"/>
          </a:p>
          <a:p>
            <a:r>
              <a:rPr lang="en-US" b="1" baseline="0" dirty="0" smtClean="0"/>
              <a:t>Notes:</a:t>
            </a:r>
            <a:endParaRPr lang="en-US" b="1" dirty="0" smtClean="0"/>
          </a:p>
          <a:p>
            <a:r>
              <a:rPr lang="en-US" dirty="0" smtClean="0"/>
              <a:t>This diagram</a:t>
            </a:r>
            <a:r>
              <a:rPr lang="en-US" baseline="0" dirty="0" smtClean="0"/>
              <a:t> illustrates how you can configure applications such as Windows Azure Web Sites or Cloud Services to connect to applications running on virtual machines without directly putting them on the same virtual network. Note currently Windows Azure Web Sites do not support virtual networks. </a:t>
            </a:r>
          </a:p>
          <a:p>
            <a:endParaRPr lang="en-US" baseline="0" dirty="0" smtClean="0"/>
          </a:p>
          <a:p>
            <a:r>
              <a:rPr lang="en-US" baseline="0" dirty="0" smtClean="0"/>
              <a:t>The application on the VM will need to have an endpoint opened on it to allow inbound traffic from the other service. </a:t>
            </a:r>
          </a:p>
          <a:p>
            <a:r>
              <a:rPr lang="en-US" baseline="0" dirty="0" smtClean="0"/>
              <a:t>To secure connections it is recommended the firewall on the VM be configured to restrict traffic only from the service.</a:t>
            </a: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6</a:t>
            </a:fld>
            <a:endParaRPr lang="en-US" dirty="0"/>
          </a:p>
        </p:txBody>
      </p:sp>
    </p:spTree>
    <p:extLst>
      <p:ext uri="{BB962C8B-B14F-4D97-AF65-F5344CB8AC3E}">
        <p14:creationId xmlns:p14="http://schemas.microsoft.com/office/powerpoint/2010/main" val="12393350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r>
              <a:rPr lang="en-US" dirty="0" smtClean="0"/>
              <a:t>Connecting</a:t>
            </a:r>
            <a:r>
              <a:rPr lang="en-US" baseline="0" dirty="0" smtClean="0"/>
              <a:t> cloud services with a VNET</a:t>
            </a:r>
          </a:p>
          <a:p>
            <a:endParaRPr lang="en-US" baseline="0" dirty="0" smtClean="0"/>
          </a:p>
          <a:p>
            <a:r>
              <a:rPr lang="en-US" b="1" baseline="0" dirty="0" smtClean="0"/>
              <a:t>Notes:</a:t>
            </a:r>
            <a:endParaRPr lang="en-US" b="1" dirty="0" smtClean="0"/>
          </a:p>
          <a:p>
            <a:r>
              <a:rPr lang="en-US" dirty="0" smtClean="0"/>
              <a:t>In this scenario</a:t>
            </a:r>
            <a:r>
              <a:rPr lang="en-US" baseline="0" dirty="0" smtClean="0"/>
              <a:t> a web/worker role is deployed on the same virtual network as the virtual machines.</a:t>
            </a:r>
          </a:p>
          <a:p>
            <a:endParaRPr lang="en-US" baseline="0" dirty="0" smtClean="0"/>
          </a:p>
          <a:p>
            <a:r>
              <a:rPr lang="en-US" baseline="0" dirty="0" smtClean="0"/>
              <a:t>The benefit is direct connectivity without the need for configuring endpoints on the load balancer. </a:t>
            </a:r>
          </a:p>
          <a:p>
            <a:endParaRPr lang="en-US" baseline="0" dirty="0" smtClean="0"/>
          </a:p>
          <a:p>
            <a:r>
              <a:rPr lang="en-US" baseline="0" dirty="0" smtClean="0"/>
              <a:t>This is a requirement for scenarios like AD that require persistent IP addresses or lots of ports (RPC/COM+).</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7</a:t>
            </a:fld>
            <a:endParaRPr lang="en-US" dirty="0"/>
          </a:p>
        </p:txBody>
      </p:sp>
    </p:spTree>
    <p:extLst>
      <p:ext uri="{BB962C8B-B14F-4D97-AF65-F5344CB8AC3E}">
        <p14:creationId xmlns:p14="http://schemas.microsoft.com/office/powerpoint/2010/main" val="9639852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3641" rtl="0" eaLnBrk="1" fontAlgn="auto" latinLnBrk="0" hangingPunct="1">
              <a:lnSpc>
                <a:spcPct val="90000"/>
              </a:lnSpc>
              <a:spcBef>
                <a:spcPts val="0"/>
              </a:spcBef>
              <a:spcAft>
                <a:spcPts val="333"/>
              </a:spcAft>
              <a:buClrTx/>
              <a:buSzTx/>
              <a:buFontTx/>
              <a:buNone/>
              <a:tabLst/>
              <a:defRPr/>
            </a:pPr>
            <a:r>
              <a:rPr lang="en-US" b="1" dirty="0" smtClean="0"/>
              <a:t>Slide Objective:</a:t>
            </a:r>
          </a:p>
          <a:p>
            <a:pPr marL="0" marR="0" indent="0" algn="l" defTabSz="913641" rtl="0" eaLnBrk="1" fontAlgn="auto" latinLnBrk="0" hangingPunct="1">
              <a:lnSpc>
                <a:spcPct val="90000"/>
              </a:lnSpc>
              <a:spcBef>
                <a:spcPts val="0"/>
              </a:spcBef>
              <a:spcAft>
                <a:spcPts val="333"/>
              </a:spcAft>
              <a:buClrTx/>
              <a:buSzTx/>
              <a:buFontTx/>
              <a:buNone/>
              <a:tabLst/>
              <a:defRPr/>
            </a:pPr>
            <a:r>
              <a:rPr lang="en-US" b="0" dirty="0" smtClean="0"/>
              <a:t>DEMO</a:t>
            </a:r>
          </a:p>
          <a:p>
            <a:pPr marL="0" marR="0" indent="0" algn="l" defTabSz="913641" rtl="0" eaLnBrk="1" fontAlgn="auto" latinLnBrk="0" hangingPunct="1">
              <a:lnSpc>
                <a:spcPct val="90000"/>
              </a:lnSpc>
              <a:spcBef>
                <a:spcPts val="0"/>
              </a:spcBef>
              <a:spcAft>
                <a:spcPts val="333"/>
              </a:spcAft>
              <a:buClrTx/>
              <a:buSzTx/>
              <a:buFontTx/>
              <a:buNone/>
              <a:tabLst/>
              <a:defRPr/>
            </a:pPr>
            <a:r>
              <a:rPr lang="en-US" b="1" dirty="0" smtClean="0"/>
              <a:t>Notes:</a:t>
            </a:r>
          </a:p>
          <a:p>
            <a:r>
              <a:rPr lang="en-US" dirty="0" smtClean="0"/>
              <a:t>See DEMO-</a:t>
            </a:r>
            <a:r>
              <a:rPr lang="en-US" smtClean="0"/>
              <a:t>ConnectingCloudServices</a:t>
            </a: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8</a:t>
            </a:fld>
            <a:endParaRPr lang="en-US" dirty="0"/>
          </a:p>
        </p:txBody>
      </p:sp>
    </p:spTree>
    <p:extLst>
      <p:ext uri="{BB962C8B-B14F-4D97-AF65-F5344CB8AC3E}">
        <p14:creationId xmlns:p14="http://schemas.microsoft.com/office/powerpoint/2010/main" val="14086968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Go over details, and workload, talk</a:t>
            </a:r>
            <a:r>
              <a:rPr lang="en-US" baseline="0" dirty="0" smtClean="0"/>
              <a:t> about flaws. They worried about system going down and stopping their customers from working</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0</a:t>
            </a:fld>
            <a:endParaRPr lang="en-US" dirty="0"/>
          </a:p>
        </p:txBody>
      </p:sp>
    </p:spTree>
    <p:extLst>
      <p:ext uri="{BB962C8B-B14F-4D97-AF65-F5344CB8AC3E}">
        <p14:creationId xmlns:p14="http://schemas.microsoft.com/office/powerpoint/2010/main" val="36053118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1</a:t>
            </a:fld>
            <a:endParaRPr lang="en-US" dirty="0"/>
          </a:p>
        </p:txBody>
      </p:sp>
    </p:spTree>
    <p:extLst>
      <p:ext uri="{BB962C8B-B14F-4D97-AF65-F5344CB8AC3E}">
        <p14:creationId xmlns:p14="http://schemas.microsoft.com/office/powerpoint/2010/main" val="252077828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ile a lot of money can be saved by scaling down at low times, our</a:t>
            </a:r>
            <a:r>
              <a:rPr lang="en-US" baseline="0" dirty="0" smtClean="0"/>
              <a:t> estimates are fixed to four full time units/cores to make comparison easy</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36800052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3641" rtl="0" eaLnBrk="1" fontAlgn="auto" latinLnBrk="0" hangingPunct="1">
              <a:lnSpc>
                <a:spcPct val="90000"/>
              </a:lnSpc>
              <a:spcBef>
                <a:spcPts val="0"/>
              </a:spcBef>
              <a:spcAft>
                <a:spcPts val="333"/>
              </a:spcAft>
              <a:buClrTx/>
              <a:buSzTx/>
              <a:buFontTx/>
              <a:buNone/>
              <a:tabLst/>
              <a:defRPr/>
            </a:pPr>
            <a:r>
              <a:rPr lang="en-US" sz="900" dirty="0" smtClean="0">
                <a:effectLst/>
              </a:rPr>
              <a:t>This session will focus on what the modern principles are, and the steps needed to evolve a common on-premises system architecture to something that is more modern. We will discuss the tenants of modern architecture, and why they are important. For the whole discussion we will use a sample scenario. This session will walk through the current state of the system</a:t>
            </a:r>
            <a:r>
              <a:rPr lang="en-US" sz="900" baseline="0" dirty="0" smtClean="0">
                <a:effectLst/>
              </a:rPr>
              <a:t> including </a:t>
            </a:r>
            <a:r>
              <a:rPr lang="en-US" sz="900" dirty="0" smtClean="0">
                <a:effectLst/>
              </a:rPr>
              <a:t>an overview of the possible changes that can be made to update to a more modern style. Cost will be discussed as a factor in the decisions. One element to be discussed is the manual work needed, testing, risks of change, and how to get the most bang for the buck.</a:t>
            </a:r>
          </a:p>
          <a:p>
            <a:pPr marL="0" marR="0" indent="0" algn="l" defTabSz="913641" rtl="0" eaLnBrk="1" fontAlgn="auto" latinLnBrk="0" hangingPunct="1">
              <a:lnSpc>
                <a:spcPct val="90000"/>
              </a:lnSpc>
              <a:spcBef>
                <a:spcPts val="0"/>
              </a:spcBef>
              <a:spcAft>
                <a:spcPts val="333"/>
              </a:spcAft>
              <a:buClrTx/>
              <a:buSzTx/>
              <a:buFontTx/>
              <a:buNone/>
              <a:tabLst/>
              <a:defRPr/>
            </a:pPr>
            <a:endParaRPr lang="en-US" sz="900" dirty="0" smtClean="0">
              <a:effectLst/>
            </a:endParaRPr>
          </a:p>
          <a:p>
            <a:pPr marL="0" marR="0" indent="0" algn="l" defTabSz="913641" rtl="0" eaLnBrk="1" fontAlgn="auto" latinLnBrk="0" hangingPunct="1">
              <a:lnSpc>
                <a:spcPct val="90000"/>
              </a:lnSpc>
              <a:spcBef>
                <a:spcPts val="0"/>
              </a:spcBef>
              <a:spcAft>
                <a:spcPts val="333"/>
              </a:spcAft>
              <a:buClrTx/>
              <a:buSzTx/>
              <a:buFontTx/>
              <a:buNone/>
              <a:tabLst/>
              <a:defRPr/>
            </a:pPr>
            <a:r>
              <a:rPr lang="en-US" sz="900" dirty="0" smtClean="0">
                <a:effectLst/>
              </a:rPr>
              <a:t>Photo credit: Brian</a:t>
            </a:r>
            <a:r>
              <a:rPr lang="en-US" sz="900" baseline="0" dirty="0" smtClean="0">
                <a:effectLst/>
              </a:rPr>
              <a:t> H. Prince – The Windmills of Mykonos, Greece</a:t>
            </a:r>
            <a:endParaRPr lang="en-US" sz="1050"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167558069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y chose #3</a:t>
            </a:r>
            <a:r>
              <a:rPr lang="en-US" baseline="0" dirty="0" smtClean="0"/>
              <a:t>. Cost savings, easy scaling. Were willing to invest up front, </a:t>
            </a:r>
            <a:r>
              <a:rPr lang="en-US" baseline="0" dirty="0" err="1" smtClean="0"/>
              <a:t>vs</a:t>
            </a:r>
            <a:r>
              <a:rPr lang="en-US" baseline="0" dirty="0" smtClean="0"/>
              <a:t> a little to lift and shift, and re-invest months later to move again. Wanted to move once. Their data model was too complex for the unicorns, and their </a:t>
            </a:r>
            <a:r>
              <a:rPr lang="en-US" baseline="0" dirty="0" err="1" smtClean="0"/>
              <a:t>api</a:t>
            </a:r>
            <a:r>
              <a:rPr lang="en-US" baseline="0" dirty="0" smtClean="0"/>
              <a:t> was more than just a data façade.</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5</a:t>
            </a:fld>
            <a:endParaRPr lang="en-US" dirty="0"/>
          </a:p>
        </p:txBody>
      </p:sp>
    </p:spTree>
    <p:extLst>
      <p:ext uri="{BB962C8B-B14F-4D97-AF65-F5344CB8AC3E}">
        <p14:creationId xmlns:p14="http://schemas.microsoft.com/office/powerpoint/2010/main" val="166207879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462">
              <a:lnSpc>
                <a:spcPct val="90000"/>
              </a:lnSpc>
              <a:spcAft>
                <a:spcPts val="340"/>
              </a:spcAft>
              <a:defRPr/>
            </a:pPr>
            <a:r>
              <a:rPr lang="en-US" b="1" dirty="0" smtClean="0"/>
              <a:t>Slide Objective:</a:t>
            </a:r>
          </a:p>
          <a:p>
            <a:pPr defTabSz="932462">
              <a:lnSpc>
                <a:spcPct val="90000"/>
              </a:lnSpc>
              <a:spcAft>
                <a:spcPts val="340"/>
              </a:spcAft>
              <a:defRPr/>
            </a:pPr>
            <a:r>
              <a:rPr lang="en-US" b="0" dirty="0" smtClean="0"/>
              <a:t>DEMO</a:t>
            </a:r>
          </a:p>
          <a:p>
            <a:pPr defTabSz="932462">
              <a:lnSpc>
                <a:spcPct val="90000"/>
              </a:lnSpc>
              <a:spcAft>
                <a:spcPts val="340"/>
              </a:spcAft>
              <a:defRPr/>
            </a:pPr>
            <a:r>
              <a:rPr lang="en-US" b="1" dirty="0" smtClean="0"/>
              <a:t>Notes:</a:t>
            </a:r>
          </a:p>
          <a:p>
            <a:pPr defTabSz="932462">
              <a:lnSpc>
                <a:spcPct val="90000"/>
              </a:lnSpc>
              <a:spcAft>
                <a:spcPts val="340"/>
              </a:spcAft>
              <a:defRPr/>
            </a:pPr>
            <a:r>
              <a:rPr lang="en-US" b="0" dirty="0" smtClean="0"/>
              <a:t>Essentially</a:t>
            </a:r>
            <a:r>
              <a:rPr lang="en-US" b="0" baseline="0" dirty="0" smtClean="0"/>
              <a:t> this is quick run through of the hands on lab, minus unit testing and load testing</a:t>
            </a:r>
            <a:endParaRPr lang="en-US" b="0" dirty="0" smtClean="0"/>
          </a:p>
          <a:p>
            <a:pPr marL="342900" indent="-342900">
              <a:buAutoNum type="arabicPeriod"/>
            </a:pPr>
            <a:r>
              <a:rPr lang="en-US" dirty="0" smtClean="0"/>
              <a:t>Create a TFS project</a:t>
            </a:r>
          </a:p>
          <a:p>
            <a:pPr marL="342900" indent="-342900">
              <a:buAutoNum type="arabicPeriod"/>
            </a:pPr>
            <a:r>
              <a:rPr lang="en-US" dirty="0" smtClean="0"/>
              <a:t>Create a Windows Azure Web Site</a:t>
            </a:r>
          </a:p>
          <a:p>
            <a:pPr marL="342900" indent="-342900">
              <a:buAutoNum type="arabicPeriod"/>
            </a:pPr>
            <a:r>
              <a:rPr lang="en-US" dirty="0" smtClean="0"/>
              <a:t>Link the Web Site to the TFS Project</a:t>
            </a:r>
          </a:p>
          <a:p>
            <a:pPr marL="342900" indent="-342900">
              <a:buAutoNum type="arabicPeriod"/>
            </a:pPr>
            <a:r>
              <a:rPr lang="en-US" dirty="0" smtClean="0"/>
              <a:t>Use VS to update the Web Site</a:t>
            </a:r>
            <a:r>
              <a:rPr lang="en-US" baseline="0" dirty="0" smtClean="0"/>
              <a:t> and check in</a:t>
            </a:r>
          </a:p>
          <a:p>
            <a:pPr marL="342900" indent="-342900">
              <a:buAutoNum type="arabicPeriod"/>
            </a:pPr>
            <a:r>
              <a:rPr lang="en-US" baseline="0" dirty="0" smtClean="0"/>
              <a:t>Show continuous deployment in TFS and Windows Azure </a:t>
            </a:r>
            <a:r>
              <a:rPr lang="en-US" baseline="0" smtClean="0"/>
              <a:t>management portals</a:t>
            </a:r>
            <a:endParaRPr lang="en-US" baseline="0" dirty="0" smtClean="0"/>
          </a:p>
          <a:p>
            <a:pPr marL="342900" indent="-342900">
              <a:buAutoNum type="arabicPeriod"/>
            </a:pP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6</a:t>
            </a:fld>
            <a:endParaRPr lang="en-US" dirty="0"/>
          </a:p>
        </p:txBody>
      </p:sp>
    </p:spTree>
    <p:extLst>
      <p:ext uri="{BB962C8B-B14F-4D97-AF65-F5344CB8AC3E}">
        <p14:creationId xmlns:p14="http://schemas.microsoft.com/office/powerpoint/2010/main" val="2775609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mmonly see REST at the edge of a enterprise connecting clients, and SOAP at the core connecting systems</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dirty="0"/>
          </a:p>
        </p:txBody>
      </p:sp>
    </p:spTree>
    <p:extLst>
      <p:ext uri="{BB962C8B-B14F-4D97-AF65-F5344CB8AC3E}">
        <p14:creationId xmlns:p14="http://schemas.microsoft.com/office/powerpoint/2010/main" val="369032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1</a:t>
            </a:fld>
            <a:endParaRPr lang="en-US" dirty="0"/>
          </a:p>
        </p:txBody>
      </p:sp>
    </p:spTree>
    <p:extLst>
      <p:ext uri="{BB962C8B-B14F-4D97-AF65-F5344CB8AC3E}">
        <p14:creationId xmlns:p14="http://schemas.microsoft.com/office/powerpoint/2010/main" val="40721963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dirty="0" smtClean="0"/>
              <a:t>Access to BIG IT, democratization, services </a:t>
            </a:r>
            <a:r>
              <a:rPr lang="en-US" dirty="0" err="1" smtClean="0"/>
              <a:t>services</a:t>
            </a:r>
            <a:r>
              <a:rPr lang="en-US" dirty="0" smtClean="0"/>
              <a:t> </a:t>
            </a:r>
            <a:r>
              <a:rPr lang="en-US" dirty="0" err="1" smtClean="0"/>
              <a:t>services</a:t>
            </a:r>
            <a:endParaRPr lang="en-US" dirty="0" smtClean="0"/>
          </a:p>
          <a:p>
            <a:pPr marL="0" marR="0" indent="0" algn="l" defTabSz="1218987" rtl="0" eaLnBrk="1" fontAlgn="auto" latinLnBrk="0" hangingPunct="1">
              <a:lnSpc>
                <a:spcPct val="100000"/>
              </a:lnSpc>
              <a:spcBef>
                <a:spcPts val="0"/>
              </a:spcBef>
              <a:spcAft>
                <a:spcPts val="0"/>
              </a:spcAft>
              <a:buClrTx/>
              <a:buSzTx/>
              <a:buFontTx/>
              <a:buNone/>
              <a:tabLst/>
              <a:defRPr/>
            </a:pPr>
            <a:r>
              <a:rPr lang="en-US" dirty="0" smtClean="0"/>
              <a:t>Bring in authentication from </a:t>
            </a:r>
            <a:r>
              <a:rPr lang="en-US" dirty="0" err="1" smtClean="0"/>
              <a:t>facebook</a:t>
            </a:r>
            <a:r>
              <a:rPr lang="en-US" dirty="0" smtClean="0"/>
              <a:t>, use something for global caching, global load balance, </a:t>
            </a:r>
            <a:r>
              <a:rPr lang="en-US" dirty="0" err="1" smtClean="0"/>
              <a:t>hadoop</a:t>
            </a:r>
            <a:r>
              <a:rPr lang="en-US" baseline="0" dirty="0" smtClean="0"/>
              <a:t> </a:t>
            </a:r>
            <a:r>
              <a:rPr lang="en-US" baseline="0" smtClean="0"/>
              <a:t>big data, etc.</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29747681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ybrid, enrichment, etc.</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13476764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Best when moving an existing app, brownfield.</a:t>
            </a:r>
          </a:p>
          <a:p>
            <a:endParaRPr lang="en-US" b="1" dirty="0" smtClean="0"/>
          </a:p>
          <a:p>
            <a:r>
              <a:rPr lang="en-US" b="1" dirty="0" smtClean="0"/>
              <a:t>Slide Objective:</a:t>
            </a:r>
          </a:p>
          <a:p>
            <a:r>
              <a:rPr lang="en-US" dirty="0" smtClean="0"/>
              <a:t>There</a:t>
            </a:r>
            <a:r>
              <a:rPr lang="en-US" baseline="0" dirty="0" smtClean="0"/>
              <a:t> are essentially two ways of migrating an application to the cloud.</a:t>
            </a:r>
          </a:p>
          <a:p>
            <a:endParaRPr lang="en-US" baseline="0" dirty="0" smtClean="0"/>
          </a:p>
          <a:p>
            <a:r>
              <a:rPr lang="en-US" b="1" baseline="0" dirty="0" smtClean="0"/>
              <a:t>Notes:</a:t>
            </a:r>
          </a:p>
          <a:p>
            <a:r>
              <a:rPr lang="en-US" baseline="0" dirty="0" smtClean="0"/>
              <a:t>The first is to attempt to migrate an entire existing virtual machine. For Hyper-V users this involves uploading the VHD(s) and then configuring a virtual machine to use the disks. </a:t>
            </a:r>
          </a:p>
          <a:p>
            <a:r>
              <a:rPr lang="en-US" baseline="0" dirty="0" smtClean="0"/>
              <a:t>For non-Hyper-V users this means finding a method of converting either their running machine to a VHD OR their current virtualization format to VHD. Many solutions exist to both.</a:t>
            </a:r>
          </a:p>
          <a:p>
            <a:endParaRPr lang="en-US" baseline="0" dirty="0" smtClean="0"/>
          </a:p>
          <a:p>
            <a:r>
              <a:rPr lang="en-US" baseline="0" dirty="0" smtClean="0"/>
              <a:t>The second option comes down to configuring and booting the VM in the cloud directly. Uploading the application and data via Windows Azure storage and configuring the VMs. </a:t>
            </a:r>
          </a:p>
          <a:p>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25170821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endParaRPr lang="en-US" b="1" dirty="0" smtClean="0"/>
          </a:p>
          <a:p>
            <a:r>
              <a:rPr lang="en-US" dirty="0" smtClean="0"/>
              <a:t>In the Windows</a:t>
            </a:r>
            <a:r>
              <a:rPr lang="en-US" baseline="0" dirty="0" smtClean="0"/>
              <a:t> Azure management portal there are two methods of creating a VM.</a:t>
            </a:r>
          </a:p>
          <a:p>
            <a:endParaRPr lang="en-US" baseline="0" dirty="0" smtClean="0"/>
          </a:p>
          <a:p>
            <a:r>
              <a:rPr lang="en-US" b="1" baseline="0" dirty="0" smtClean="0"/>
              <a:t>Notes:</a:t>
            </a:r>
          </a:p>
          <a:p>
            <a:pPr marL="228600" indent="-228600">
              <a:buAutoNum type="arabicParenR"/>
            </a:pPr>
            <a:r>
              <a:rPr lang="en-US" baseline="0" dirty="0" smtClean="0"/>
              <a:t>Quick create always creates a new cloud service but it does not display the cloud service. Each time this wizard is used a cloud service with a single VM will be created.</a:t>
            </a:r>
          </a:p>
          <a:p>
            <a:pPr marL="228600" indent="-228600">
              <a:buAutoNum type="arabicParenR"/>
            </a:pPr>
            <a:endParaRPr lang="en-US" baseline="0" dirty="0" smtClean="0"/>
          </a:p>
          <a:p>
            <a:pPr marL="228600" indent="-228600">
              <a:buAutoNum type="arabicParenR"/>
            </a:pPr>
            <a:r>
              <a:rPr lang="en-US" baseline="0" dirty="0" smtClean="0"/>
              <a:t>Gallery method gives the option of creating a </a:t>
            </a:r>
            <a:r>
              <a:rPr lang="en-US" b="1" baseline="0" dirty="0" smtClean="0"/>
              <a:t>Stand Alone </a:t>
            </a:r>
            <a:r>
              <a:rPr lang="en-US" baseline="0" dirty="0" smtClean="0"/>
              <a:t>VM or the option to </a:t>
            </a:r>
            <a:r>
              <a:rPr lang="en-US" b="1" baseline="0" dirty="0" smtClean="0"/>
              <a:t>Connect to an existing VM</a:t>
            </a:r>
            <a:r>
              <a:rPr lang="en-US" baseline="0" dirty="0" smtClean="0"/>
              <a:t>.</a:t>
            </a:r>
          </a:p>
          <a:p>
            <a:pPr marL="441427" lvl="1" indent="-228600">
              <a:buAutoNum type="arabicParenR"/>
            </a:pPr>
            <a:r>
              <a:rPr lang="en-US" baseline="0" dirty="0" smtClean="0"/>
              <a:t>Stand alone VM gives similar behavior to Quick Create. A new cloud service will be created with the new VM being the sole occupant.</a:t>
            </a:r>
          </a:p>
          <a:p>
            <a:pPr marL="441427" lvl="1" indent="-228600">
              <a:buAutoNum type="arabicParenR"/>
            </a:pPr>
            <a:r>
              <a:rPr lang="en-US" baseline="0" dirty="0" smtClean="0"/>
              <a:t>Connect to an existing VM allows you to add a single VM to an existing cloud service.</a:t>
            </a:r>
          </a:p>
          <a:p>
            <a:pPr marL="212827" lvl="1" indent="0">
              <a:buFontTx/>
              <a:buNone/>
            </a:pPr>
            <a:endParaRPr lang="en-US" baseline="0" dirty="0" smtClean="0"/>
          </a:p>
          <a:p>
            <a:pPr marL="0" lvl="0" indent="0">
              <a:buFontTx/>
              <a:buNone/>
            </a:pPr>
            <a:r>
              <a:rPr lang="en-US" baseline="0" dirty="0" smtClean="0"/>
              <a:t>All VMs within the same cloud service can directly communicate with each other over the network. If they are not deployed inside of a virtual network they will also have name resolution by default with Windows Azure provided DNS. If deployed into a VNET the requirement is shifted to the user to provide name resolution. </a:t>
            </a:r>
          </a:p>
        </p:txBody>
      </p:sp>
      <p:sp>
        <p:nvSpPr>
          <p:cNvPr id="4" name="Slide Number Placeholder 3"/>
          <p:cNvSpPr>
            <a:spLocks noGrp="1"/>
          </p:cNvSpPr>
          <p:nvPr>
            <p:ph type="sldNum" sz="quarter" idx="10"/>
          </p:nvPr>
        </p:nvSpPr>
        <p:spPr/>
        <p:txBody>
          <a:bodyPr/>
          <a:lstStyle/>
          <a:p>
            <a:fld id="{8B263312-38AA-4E1E-B2B5-0F8F122B24FE}" type="slidenum">
              <a:rPr lang="en-US" smtClean="0"/>
              <a:pPr/>
              <a:t>17</a:t>
            </a:fld>
            <a:endParaRPr lang="en-US" dirty="0"/>
          </a:p>
        </p:txBody>
      </p:sp>
    </p:spTree>
    <p:extLst>
      <p:ext uri="{BB962C8B-B14F-4D97-AF65-F5344CB8AC3E}">
        <p14:creationId xmlns:p14="http://schemas.microsoft.com/office/powerpoint/2010/main" val="14256922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3641" rtl="0" eaLnBrk="1" fontAlgn="auto" latinLnBrk="0" hangingPunct="1">
              <a:lnSpc>
                <a:spcPct val="90000"/>
              </a:lnSpc>
              <a:spcBef>
                <a:spcPts val="0"/>
              </a:spcBef>
              <a:spcAft>
                <a:spcPts val="333"/>
              </a:spcAft>
              <a:buClrTx/>
              <a:buSzTx/>
              <a:buFontTx/>
              <a:buNone/>
              <a:tabLst/>
              <a:defRPr/>
            </a:pPr>
            <a:r>
              <a:rPr lang="en-US" b="1" dirty="0" smtClean="0"/>
              <a:t>Slide</a:t>
            </a:r>
            <a:r>
              <a:rPr lang="en-US" b="1" baseline="0" dirty="0" smtClean="0"/>
              <a:t> Objective:</a:t>
            </a:r>
            <a:endParaRPr lang="en-US" b="1" dirty="0" smtClean="0"/>
          </a:p>
          <a:p>
            <a:r>
              <a:rPr lang="en-US" dirty="0" smtClean="0"/>
              <a:t>Explain nuances of migrating VMs</a:t>
            </a:r>
          </a:p>
          <a:p>
            <a:endParaRPr lang="en-US" dirty="0" smtClean="0"/>
          </a:p>
          <a:p>
            <a:r>
              <a:rPr lang="en-US" b="1" dirty="0" smtClean="0"/>
              <a:t>Notes:</a:t>
            </a:r>
          </a:p>
          <a:p>
            <a:r>
              <a:rPr lang="en-US" dirty="0" smtClean="0"/>
              <a:t>Dynamic Disks are not supported directly</a:t>
            </a:r>
            <a:r>
              <a:rPr lang="en-US" baseline="0" dirty="0" smtClean="0"/>
              <a:t> in the cloud. Before uploading a dynamic disk it will have to be converted into a fixed disk.</a:t>
            </a:r>
          </a:p>
          <a:p>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dirty="0"/>
          </a:p>
        </p:txBody>
      </p:sp>
    </p:spTree>
    <p:extLst>
      <p:ext uri="{BB962C8B-B14F-4D97-AF65-F5344CB8AC3E}">
        <p14:creationId xmlns:p14="http://schemas.microsoft.com/office/powerpoint/2010/main" val="31337974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1"/>
            <a:ext cx="6271783"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754546" y="6196318"/>
            <a:ext cx="985810" cy="191269"/>
          </a:xfrm>
          <a:prstGeom prst="rect">
            <a:avLst/>
          </a:prstGeom>
        </p:spPr>
      </p:pic>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48468" y="560065"/>
            <a:ext cx="2598927" cy="383814"/>
          </a:xfrm>
          <a:prstGeom prst="rect">
            <a:avLst/>
          </a:prstGeom>
        </p:spPr>
      </p:pic>
    </p:spTree>
    <p:extLst>
      <p:ext uri="{BB962C8B-B14F-4D97-AF65-F5344CB8AC3E}">
        <p14:creationId xmlns:p14="http://schemas.microsoft.com/office/powerpoint/2010/main" val="34627860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232" y="1187644"/>
            <a:ext cx="9858042"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170" y="1186357"/>
            <a:ext cx="9856549"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1" y="3877278"/>
            <a:ext cx="9858105"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5831323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232" y="1187644"/>
            <a:ext cx="9858042"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7"/>
            <a:ext cx="9856549" cy="2697988"/>
          </a:xfrm>
          <a:noFill/>
        </p:spPr>
        <p:txBody>
          <a:bodyPr tIns="91429" bIns="91429" anchor="t" anchorCtr="0"/>
          <a:lstStyle>
            <a:lvl1pPr>
              <a:defRPr sz="7057"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1" y="3877278"/>
            <a:ext cx="9858105"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05739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232" y="1187644"/>
            <a:ext cx="9858042"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7"/>
            <a:ext cx="9856549" cy="2697988"/>
          </a:xfrm>
          <a:noFill/>
        </p:spPr>
        <p:txBody>
          <a:bodyPr tIns="91429" bIns="91429" anchor="t" anchorCtr="0"/>
          <a:lstStyle>
            <a:lvl1pPr>
              <a:defRPr sz="7057"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3283887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232" y="1187644"/>
            <a:ext cx="9858042"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7"/>
            <a:ext cx="9856549"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7564154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169" y="1187620"/>
            <a:ext cx="8065697"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201430159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169" y="1187620"/>
            <a:ext cx="8065697"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361961632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29" bIns="91429" anchor="t" anchorCtr="0"/>
          <a:lstStyle>
            <a:lvl1pPr>
              <a:defRPr sz="8625"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65209368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29" bIns="91429" anchor="t" anchorCtr="0"/>
          <a:lstStyle>
            <a:lvl1pPr>
              <a:defRPr sz="8625"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144440427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527860" y="0"/>
            <a:ext cx="6660966" cy="6858001"/>
          </a:xfrm>
          <a:prstGeom prst="rect">
            <a:avLst/>
          </a:prstGeom>
        </p:spPr>
      </p:pic>
      <p:sp>
        <p:nvSpPr>
          <p:cNvPr id="3" name="Title 1"/>
          <p:cNvSpPr>
            <a:spLocks noGrp="1"/>
          </p:cNvSpPr>
          <p:nvPr>
            <p:ph type="title" hasCustomPrompt="1"/>
          </p:nvPr>
        </p:nvSpPr>
        <p:spPr>
          <a:xfrm>
            <a:off x="269169" y="2084173"/>
            <a:ext cx="11650488" cy="1796217"/>
          </a:xfrm>
          <a:noFill/>
        </p:spPr>
        <p:txBody>
          <a:bodyPr tIns="91429" bIns="91429" anchor="t" anchorCtr="0"/>
          <a:lstStyle>
            <a:lvl1pPr>
              <a:defRPr sz="8625"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10298629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11" y="1456608"/>
            <a:ext cx="4485615"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8" tIns="143373" rIns="182818" bIns="143373" numCol="1" spcCol="0" rtlCol="0" fromWordArt="0" anchor="t" anchorCtr="0" forceAA="0" compatLnSpc="1">
            <a:prstTxWarp prst="textNoShape">
              <a:avLst/>
            </a:prstTxWarp>
            <a:noAutofit/>
          </a:bodyPr>
          <a:lstStyle/>
          <a:p>
            <a:pPr defTabSz="913798"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8620" y="1456606"/>
            <a:ext cx="6722109" cy="1975006"/>
          </a:xfrm>
        </p:spPr>
        <p:txBody>
          <a:bodyPr/>
          <a:lstStyle>
            <a:lvl1pPr marL="0" indent="0">
              <a:buNone/>
              <a:defRPr>
                <a:solidFill>
                  <a:srgbClr val="FFFFFF"/>
                </a:solidFill>
              </a:defRPr>
            </a:lvl1pPr>
            <a:lvl2pPr marL="0" indent="0">
              <a:buFontTx/>
              <a:buNone/>
              <a:defRPr sz="1960">
                <a:solidFill>
                  <a:srgbClr val="FFFFFF"/>
                </a:solidFill>
              </a:defRPr>
            </a:lvl2pPr>
            <a:lvl3pPr marL="224022" indent="0">
              <a:buNone/>
              <a:defRPr>
                <a:solidFill>
                  <a:srgbClr val="FFFFFF"/>
                </a:solidFill>
              </a:defRPr>
            </a:lvl3pPr>
            <a:lvl4pPr marL="448044" indent="0">
              <a:buNone/>
              <a:defRPr>
                <a:solidFill>
                  <a:srgbClr val="FFFFFF"/>
                </a:solidFill>
              </a:defRPr>
            </a:lvl4pPr>
            <a:lvl5pPr marL="672066"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9353061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gray">
          <a:xfrm>
            <a:off x="10650675" y="6164664"/>
            <a:ext cx="985810" cy="191269"/>
          </a:xfrm>
          <a:prstGeom prst="rect">
            <a:avLst/>
          </a:prstGeom>
        </p:spPr>
      </p:pic>
      <p:sp>
        <p:nvSpPr>
          <p:cNvPr id="4" name="Text Placeholder 4"/>
          <p:cNvSpPr>
            <a:spLocks noGrp="1"/>
          </p:cNvSpPr>
          <p:nvPr>
            <p:ph type="body" sz="quarter" idx="12" hasCustomPrompt="1"/>
          </p:nvPr>
        </p:nvSpPr>
        <p:spPr>
          <a:xfrm>
            <a:off x="271034" y="3877271"/>
            <a:ext cx="6271783"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233" y="2075840"/>
            <a:ext cx="9858042"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48468" y="560065"/>
            <a:ext cx="2598927" cy="383815"/>
          </a:xfrm>
          <a:prstGeom prst="rect">
            <a:avLst/>
          </a:prstGeom>
        </p:spPr>
      </p:pic>
    </p:spTree>
    <p:extLst>
      <p:ext uri="{BB962C8B-B14F-4D97-AF65-F5344CB8AC3E}">
        <p14:creationId xmlns:p14="http://schemas.microsoft.com/office/powerpoint/2010/main" val="3164587942"/>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2">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2"/>
            <a:ext cx="3853935"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3958" y="1187622"/>
            <a:ext cx="3853935"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7539" y="1187622"/>
            <a:ext cx="3853935"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169" y="5132430"/>
            <a:ext cx="340555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3958" y="5132430"/>
            <a:ext cx="3584789"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7539" y="5132430"/>
            <a:ext cx="3584789"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Tree>
    <p:extLst>
      <p:ext uri="{BB962C8B-B14F-4D97-AF65-F5344CB8AC3E}">
        <p14:creationId xmlns:p14="http://schemas.microsoft.com/office/powerpoint/2010/main" val="38177163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solidFill>
                  <a:srgbClr val="00188F"/>
                </a:soli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08238180"/>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01659428"/>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52647"/>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75285030"/>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52647"/>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29519117"/>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2" y="1189177"/>
            <a:ext cx="5377147"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1099054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2" y="1189177"/>
            <a:ext cx="5377147"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7117121"/>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2" y="1189177"/>
            <a:ext cx="5377147"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1483185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2" y="1189177"/>
            <a:ext cx="5377147"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9931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023703386"/>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168" y="2084172"/>
            <a:ext cx="8961914"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2" y="2084187"/>
            <a:ext cx="8961851" cy="1793090"/>
          </a:xfrm>
          <a:noFill/>
        </p:spPr>
        <p:txBody>
          <a:bodyPr lIns="146286" tIns="91429" rIns="146286" bIns="91429" anchor="t" anchorCtr="0"/>
          <a:lstStyle>
            <a:lvl1pPr>
              <a:defRPr sz="5881"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232" y="3878576"/>
            <a:ext cx="8961852" cy="1792326"/>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754546" y="6196798"/>
            <a:ext cx="985810" cy="190310"/>
          </a:xfrm>
          <a:prstGeom prst="rect">
            <a:avLst/>
          </a:prstGeom>
        </p:spPr>
      </p:pic>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48470" y="560065"/>
            <a:ext cx="2598922" cy="383814"/>
          </a:xfrm>
          <a:prstGeom prst="rect">
            <a:avLst/>
          </a:prstGeom>
        </p:spPr>
      </p:pic>
    </p:spTree>
    <p:extLst>
      <p:ext uri="{BB962C8B-B14F-4D97-AF65-F5344CB8AC3E}">
        <p14:creationId xmlns:p14="http://schemas.microsoft.com/office/powerpoint/2010/main" val="27513183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8428976"/>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795599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550531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137161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98"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70" y="1197321"/>
            <a:ext cx="11650487" cy="195697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13"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0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95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0200697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426765"/>
          </a:xfrm>
          <a:prstGeom prst="rect">
            <a:avLst/>
          </a:prstGeom>
        </p:spPr>
        <p:txBody>
          <a:bodyPr/>
          <a:lstStyle>
            <a:lvl1pPr marL="284696" indent="-284696">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56" indent="-275361">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51" indent="-284696">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74" indent="-22402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95" indent="-22402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88826" cy="619126"/>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66432800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3_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402776"/>
            <a:ext cx="11149013" cy="761747"/>
          </a:xfrm>
        </p:spPr>
        <p:txBody>
          <a:bodyPr/>
          <a:lstStyle>
            <a:lvl1pPr>
              <a:defRPr sz="5400">
                <a:solidFill>
                  <a:srgbClr val="292929"/>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2" y="1370525"/>
            <a:ext cx="11149013" cy="946413"/>
          </a:xfrm>
        </p:spPr>
        <p:txBody>
          <a:bodyPr/>
          <a:lstStyle>
            <a:lvl1pPr marL="3175" indent="0">
              <a:spcBef>
                <a:spcPts val="0"/>
              </a:spcBef>
              <a:spcAft>
                <a:spcPts val="900"/>
              </a:spcAft>
              <a:buSzPct val="80000"/>
              <a:buFont typeface="Arial" pitchFamily="34" charset="0"/>
              <a:buNone/>
              <a:defRPr sz="4000" spc="-100" baseline="0">
                <a:solidFill>
                  <a:srgbClr val="292929"/>
                </a:solidFill>
                <a:latin typeface="Segoe UI Light" pitchFamily="34" charset="0"/>
              </a:defRPr>
            </a:lvl1pPr>
            <a:lvl2pPr marL="3175" indent="0">
              <a:spcBef>
                <a:spcPts val="0"/>
              </a:spcBef>
              <a:buSzPct val="80000"/>
              <a:buFont typeface="Arial" pitchFamily="34" charset="0"/>
              <a:buNone/>
              <a:defRPr sz="2000" spc="-50" baseline="0">
                <a:solidFill>
                  <a:srgbClr val="292929"/>
                </a:soli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7" name="Picture 6"/>
          <p:cNvPicPr>
            <a:picLocks noChangeAspect="1"/>
          </p:cNvPicPr>
          <p:nvPr userDrawn="1"/>
        </p:nvPicPr>
        <p:blipFill>
          <a:blip r:embed="rId3" cstate="email">
            <a:duotone>
              <a:prstClr val="black"/>
              <a:srgbClr val="3399FF">
                <a:tint val="45000"/>
                <a:satMod val="400000"/>
              </a:srgbClr>
            </a:duotone>
            <a:extLst>
              <a:ext uri="{28A0092B-C50C-407E-A947-70E740481C1C}">
                <a14:useLocalDpi xmlns:a14="http://schemas.microsoft.com/office/drawing/2010/main"/>
              </a:ext>
            </a:extLst>
          </a:blip>
          <a:stretch>
            <a:fillRect/>
          </a:stretch>
        </p:blipFill>
        <p:spPr>
          <a:xfrm>
            <a:off x="10476299" y="6433851"/>
            <a:ext cx="1196373" cy="138112"/>
          </a:xfrm>
          <a:prstGeom prst="rect">
            <a:avLst/>
          </a:prstGeom>
        </p:spPr>
      </p:pic>
    </p:spTree>
    <p:extLst>
      <p:ext uri="{BB962C8B-B14F-4D97-AF65-F5344CB8AC3E}">
        <p14:creationId xmlns:p14="http://schemas.microsoft.com/office/powerpoint/2010/main" val="283833311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793745956"/>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1"/>
            <a:ext cx="6271783"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286" tIns="91429" rIns="146286" bIns="91429" anchor="t" anchorCtr="0"/>
          <a:lstStyle>
            <a:lvl1pPr>
              <a:defRPr sz="5881"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754546" y="6196318"/>
            <a:ext cx="985810" cy="191269"/>
          </a:xfrm>
          <a:prstGeom prst="rect">
            <a:avLst/>
          </a:prstGeom>
        </p:spPr>
      </p:pic>
      <p:pic>
        <p:nvPicPr>
          <p:cNvPr id="4" name="Picture 3" descr="Azure_logo_wht-03.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48468" y="560065"/>
            <a:ext cx="2598927" cy="383815"/>
          </a:xfrm>
          <a:prstGeom prst="rect">
            <a:avLst/>
          </a:prstGeom>
        </p:spPr>
      </p:pic>
    </p:spTree>
    <p:extLst>
      <p:ext uri="{BB962C8B-B14F-4D97-AF65-F5344CB8AC3E}">
        <p14:creationId xmlns:p14="http://schemas.microsoft.com/office/powerpoint/2010/main" val="33323213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0" y="2"/>
            <a:ext cx="12189059" cy="6857999"/>
          </a:xfrm>
          <a:prstGeom prst="rect">
            <a:avLst/>
          </a:prstGeom>
          <a:noFill/>
          <a:extLst>
            <a:ext uri="{909E8E84-426E-40dd-AFC4-6F175D3DCCD1}">
              <a14:hiddenFill xmlns:a14="http://schemas.microsoft.com/office/drawing/2010/main" xmlns="">
                <a:solidFill>
                  <a:srgbClr val="FFFFFF"/>
                </a:solidFill>
              </a14:hiddenFill>
            </a:ext>
          </a:extLst>
        </p:spPr>
      </p:pic>
      <p:sp>
        <p:nvSpPr>
          <p:cNvPr id="17" name="Rectangle 16"/>
          <p:cNvSpPr/>
          <p:nvPr userDrawn="1"/>
        </p:nvSpPr>
        <p:spPr bwMode="gray">
          <a:xfrm>
            <a:off x="269232" y="2084147"/>
            <a:ext cx="7169531"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32" y="2082443"/>
            <a:ext cx="7171086" cy="1794808"/>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233" y="3877257"/>
            <a:ext cx="7171086"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gray">
          <a:xfrm>
            <a:off x="448097" y="6182035"/>
            <a:ext cx="985810" cy="191269"/>
          </a:xfrm>
          <a:prstGeom prst="rect">
            <a:avLst/>
          </a:prstGeom>
        </p:spPr>
      </p:pic>
      <p:pic>
        <p:nvPicPr>
          <p:cNvPr id="12" name="Picture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48468" y="560065"/>
            <a:ext cx="2598927" cy="383814"/>
          </a:xfrm>
          <a:prstGeom prst="rect">
            <a:avLst/>
          </a:prstGeom>
        </p:spPr>
      </p:pic>
    </p:spTree>
    <p:extLst>
      <p:ext uri="{BB962C8B-B14F-4D97-AF65-F5344CB8AC3E}">
        <p14:creationId xmlns:p14="http://schemas.microsoft.com/office/powerpoint/2010/main" val="13310900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0" y="1"/>
            <a:ext cx="12178321" cy="6857999"/>
          </a:xfrm>
          <a:prstGeom prst="rect">
            <a:avLst/>
          </a:prstGeom>
          <a:noFill/>
          <a:extLst>
            <a:ext uri="{909E8E84-426E-40dd-AFC4-6F175D3DCCD1}">
              <a14:hiddenFill xmlns:a14="http://schemas.microsoft.com/office/drawing/2010/main" xmlns="">
                <a:solidFill>
                  <a:srgbClr val="FFFFFF"/>
                </a:solidFill>
              </a14:hiddenFill>
            </a:ext>
          </a:extLst>
        </p:spPr>
      </p:pic>
      <p:sp>
        <p:nvSpPr>
          <p:cNvPr id="19" name="Rectangle 18"/>
          <p:cNvSpPr/>
          <p:nvPr userDrawn="1"/>
        </p:nvSpPr>
        <p:spPr bwMode="gray">
          <a:xfrm>
            <a:off x="269232" y="1187644"/>
            <a:ext cx="7169531"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32" y="1187645"/>
            <a:ext cx="7169531"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232" y="2971410"/>
            <a:ext cx="7169531"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gray">
          <a:xfrm>
            <a:off x="10650675" y="6164664"/>
            <a:ext cx="985810" cy="191269"/>
          </a:xfrm>
          <a:prstGeom prst="rect">
            <a:avLst/>
          </a:prstGeom>
        </p:spPr>
      </p:pic>
      <p:pic>
        <p:nvPicPr>
          <p:cNvPr id="11" name="Picture 10" descr="Azure_logo_wht-03.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48468" y="560065"/>
            <a:ext cx="2598927" cy="383815"/>
          </a:xfrm>
          <a:prstGeom prst="rect">
            <a:avLst/>
          </a:prstGeom>
        </p:spPr>
      </p:pic>
    </p:spTree>
    <p:extLst>
      <p:ext uri="{BB962C8B-B14F-4D97-AF65-F5344CB8AC3E}">
        <p14:creationId xmlns:p14="http://schemas.microsoft.com/office/powerpoint/2010/main" val="15483673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8" y="0"/>
            <a:ext cx="12188389" cy="6860760"/>
          </a:xfrm>
          <a:prstGeom prst="rect">
            <a:avLst/>
          </a:prstGeom>
        </p:spPr>
      </p:pic>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gray">
          <a:xfrm>
            <a:off x="10754546" y="6196665"/>
            <a:ext cx="985810" cy="191269"/>
          </a:xfrm>
          <a:prstGeom prst="rect">
            <a:avLst/>
          </a:prstGeom>
        </p:spPr>
      </p:pic>
      <p:sp>
        <p:nvSpPr>
          <p:cNvPr id="12" name="Rectangle 11"/>
          <p:cNvSpPr/>
          <p:nvPr userDrawn="1"/>
        </p:nvSpPr>
        <p:spPr bwMode="gray">
          <a:xfrm>
            <a:off x="269232" y="1187620"/>
            <a:ext cx="7169531"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169" y="1187620"/>
            <a:ext cx="7169531"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232" y="2971385"/>
            <a:ext cx="7169531"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48468" y="4953121"/>
            <a:ext cx="2598927" cy="383815"/>
          </a:xfrm>
          <a:prstGeom prst="rect">
            <a:avLst/>
          </a:prstGeom>
        </p:spPr>
      </p:pic>
    </p:spTree>
    <p:extLst>
      <p:ext uri="{BB962C8B-B14F-4D97-AF65-F5344CB8AC3E}">
        <p14:creationId xmlns:p14="http://schemas.microsoft.com/office/powerpoint/2010/main" val="1284049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732" y="1"/>
            <a:ext cx="12179361" cy="6857999"/>
          </a:xfrm>
          <a:prstGeom prst="rect">
            <a:avLst/>
          </a:prstGeom>
        </p:spPr>
      </p:pic>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gray">
          <a:xfrm>
            <a:off x="10650675" y="6164664"/>
            <a:ext cx="985810" cy="191269"/>
          </a:xfrm>
          <a:prstGeom prst="rect">
            <a:avLst/>
          </a:prstGeom>
        </p:spPr>
      </p:pic>
      <p:sp>
        <p:nvSpPr>
          <p:cNvPr id="13" name="Rectangle 12"/>
          <p:cNvSpPr/>
          <p:nvPr userDrawn="1"/>
        </p:nvSpPr>
        <p:spPr bwMode="gray">
          <a:xfrm>
            <a:off x="269232" y="2084147"/>
            <a:ext cx="7169531"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2" y="2082443"/>
            <a:ext cx="7169531" cy="1794808"/>
          </a:xfrm>
          <a:noFill/>
        </p:spPr>
        <p:txBody>
          <a:bodyPr lIns="146286" tIns="91429" rIns="146286" bIns="91429" anchor="t" anchorCtr="0"/>
          <a:lstStyle>
            <a:lvl1pPr>
              <a:defRPr sz="5293"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232" y="3877257"/>
            <a:ext cx="7169531"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48468" y="560065"/>
            <a:ext cx="2598927" cy="383814"/>
          </a:xfrm>
          <a:prstGeom prst="rect">
            <a:avLst/>
          </a:prstGeom>
        </p:spPr>
      </p:pic>
    </p:spTree>
    <p:extLst>
      <p:ext uri="{BB962C8B-B14F-4D97-AF65-F5344CB8AC3E}">
        <p14:creationId xmlns:p14="http://schemas.microsoft.com/office/powerpoint/2010/main" val="32240582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149"/>
            <a:ext cx="12188825" cy="6855702"/>
          </a:xfrm>
          <a:prstGeom prst="rect">
            <a:avLst/>
          </a:prstGeom>
        </p:spPr>
      </p:pic>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gray">
          <a:xfrm>
            <a:off x="440052" y="6164664"/>
            <a:ext cx="985810" cy="191269"/>
          </a:xfrm>
          <a:prstGeom prst="rect">
            <a:avLst/>
          </a:prstGeom>
        </p:spPr>
      </p:pic>
      <p:sp>
        <p:nvSpPr>
          <p:cNvPr id="10" name="Rectangle 9"/>
          <p:cNvSpPr/>
          <p:nvPr userDrawn="1"/>
        </p:nvSpPr>
        <p:spPr bwMode="gray">
          <a:xfrm>
            <a:off x="269232" y="1187620"/>
            <a:ext cx="7169531"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169" y="1187620"/>
            <a:ext cx="7169531" cy="1793108"/>
          </a:xfrm>
          <a:noFill/>
        </p:spPr>
        <p:txBody>
          <a:bodyPr lIns="146286" tIns="91429" rIns="146286" bIns="91429" anchor="t" anchorCtr="0"/>
          <a:lstStyle>
            <a:lvl1pPr>
              <a:defRPr sz="5881"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232" y="2971385"/>
            <a:ext cx="7169531"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48468" y="560065"/>
            <a:ext cx="2598927" cy="383815"/>
          </a:xfrm>
          <a:prstGeom prst="rect">
            <a:avLst/>
          </a:prstGeom>
        </p:spPr>
      </p:pic>
    </p:spTree>
    <p:extLst>
      <p:ext uri="{BB962C8B-B14F-4D97-AF65-F5344CB8AC3E}">
        <p14:creationId xmlns:p14="http://schemas.microsoft.com/office/powerpoint/2010/main" val="32121944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9"/>
            <a:ext cx="11650485" cy="2052030"/>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62260867"/>
      </p:ext>
    </p:extLst>
  </p:cSld>
  <p:clrMap bg1="lt1" tx1="dk1" bg2="lt2" tx2="dk2" accent1="accent1" accent2="accent2" accent3="accent3" accent4="accent4" accent5="accent5" accent6="accent6" hlink="hlink" folHlink="folHlink"/>
  <p:sldLayoutIdLst>
    <p:sldLayoutId id="2147484178" r:id="rId1"/>
    <p:sldLayoutId id="2147484179" r:id="rId2"/>
    <p:sldLayoutId id="2147484180" r:id="rId3"/>
    <p:sldLayoutId id="2147484181" r:id="rId4"/>
    <p:sldLayoutId id="2147484182" r:id="rId5"/>
    <p:sldLayoutId id="2147484183" r:id="rId6"/>
    <p:sldLayoutId id="2147484184" r:id="rId7"/>
    <p:sldLayoutId id="2147484185" r:id="rId8"/>
    <p:sldLayoutId id="2147484186" r:id="rId9"/>
    <p:sldLayoutId id="2147484187" r:id="rId10"/>
    <p:sldLayoutId id="2147484188" r:id="rId11"/>
    <p:sldLayoutId id="2147484189" r:id="rId12"/>
    <p:sldLayoutId id="2147484190" r:id="rId13"/>
    <p:sldLayoutId id="2147484191" r:id="rId14"/>
    <p:sldLayoutId id="2147484192" r:id="rId15"/>
    <p:sldLayoutId id="2147484193" r:id="rId16"/>
    <p:sldLayoutId id="2147484194" r:id="rId17"/>
    <p:sldLayoutId id="2147484195" r:id="rId18"/>
    <p:sldLayoutId id="2147484196" r:id="rId19"/>
    <p:sldLayoutId id="2147484197" r:id="rId20"/>
    <p:sldLayoutId id="2147484198" r:id="rId21"/>
    <p:sldLayoutId id="2147484199" r:id="rId22"/>
    <p:sldLayoutId id="2147484200" r:id="rId23"/>
    <p:sldLayoutId id="2147484201" r:id="rId24"/>
    <p:sldLayoutId id="2147484202" r:id="rId25"/>
    <p:sldLayoutId id="2147484203" r:id="rId26"/>
    <p:sldLayoutId id="2147484204" r:id="rId27"/>
    <p:sldLayoutId id="2147484205" r:id="rId28"/>
    <p:sldLayoutId id="2147484206" r:id="rId29"/>
    <p:sldLayoutId id="2147484207" r:id="rId30"/>
    <p:sldLayoutId id="2147484208" r:id="rId31"/>
    <p:sldLayoutId id="2147484209" r:id="rId32"/>
    <p:sldLayoutId id="2147484210" r:id="rId33"/>
    <p:sldLayoutId id="2147484211" r:id="rId34"/>
    <p:sldLayoutId id="2147484212" r:id="rId35"/>
    <p:sldLayoutId id="2147484213" r:id="rId36"/>
    <p:sldLayoutId id="2147484214" r:id="rId37"/>
  </p:sldLayoutIdLst>
  <p:transition>
    <p:fade/>
  </p:transition>
  <p:timing>
    <p:tnLst>
      <p:par>
        <p:cTn id="1" dur="indefinite" restart="never" nodeType="tmRoot"/>
      </p:par>
    </p:tnLst>
  </p:timing>
  <p:txStyles>
    <p:titleStyle>
      <a:lvl1pPr algn="l" defTabSz="914064"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3" marR="0" indent="-336033" algn="l" defTabSz="914064"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501" marR="0" indent="-236468" algn="l" defTabSz="91406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8"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9"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22"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673"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707"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38"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71"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4" rtl="0" eaLnBrk="1" latinLnBrk="0" hangingPunct="1">
        <a:defRPr sz="1764" kern="1200">
          <a:solidFill>
            <a:schemeClr val="tx1"/>
          </a:solidFill>
          <a:latin typeface="+mn-lt"/>
          <a:ea typeface="+mn-ea"/>
          <a:cs typeface="+mn-cs"/>
        </a:defRPr>
      </a:lvl1pPr>
      <a:lvl2pPr marL="457031" algn="l" defTabSz="914064" rtl="0" eaLnBrk="1" latinLnBrk="0" hangingPunct="1">
        <a:defRPr sz="1764" kern="1200">
          <a:solidFill>
            <a:schemeClr val="tx1"/>
          </a:solidFill>
          <a:latin typeface="+mn-lt"/>
          <a:ea typeface="+mn-ea"/>
          <a:cs typeface="+mn-cs"/>
        </a:defRPr>
      </a:lvl2pPr>
      <a:lvl3pPr marL="914064" algn="l" defTabSz="914064" rtl="0" eaLnBrk="1" latinLnBrk="0" hangingPunct="1">
        <a:defRPr sz="1764" kern="1200">
          <a:solidFill>
            <a:schemeClr val="tx1"/>
          </a:solidFill>
          <a:latin typeface="+mn-lt"/>
          <a:ea typeface="+mn-ea"/>
          <a:cs typeface="+mn-cs"/>
        </a:defRPr>
      </a:lvl3pPr>
      <a:lvl4pPr marL="1371095" algn="l" defTabSz="914064" rtl="0" eaLnBrk="1" latinLnBrk="0" hangingPunct="1">
        <a:defRPr sz="1764" kern="1200">
          <a:solidFill>
            <a:schemeClr val="tx1"/>
          </a:solidFill>
          <a:latin typeface="+mn-lt"/>
          <a:ea typeface="+mn-ea"/>
          <a:cs typeface="+mn-cs"/>
        </a:defRPr>
      </a:lvl4pPr>
      <a:lvl5pPr marL="1828127" algn="l" defTabSz="914064" rtl="0" eaLnBrk="1" latinLnBrk="0" hangingPunct="1">
        <a:defRPr sz="1764" kern="1200">
          <a:solidFill>
            <a:schemeClr val="tx1"/>
          </a:solidFill>
          <a:latin typeface="+mn-lt"/>
          <a:ea typeface="+mn-ea"/>
          <a:cs typeface="+mn-cs"/>
        </a:defRPr>
      </a:lvl5pPr>
      <a:lvl6pPr marL="2285160" algn="l" defTabSz="914064" rtl="0" eaLnBrk="1" latinLnBrk="0" hangingPunct="1">
        <a:defRPr sz="1764" kern="1200">
          <a:solidFill>
            <a:schemeClr val="tx1"/>
          </a:solidFill>
          <a:latin typeface="+mn-lt"/>
          <a:ea typeface="+mn-ea"/>
          <a:cs typeface="+mn-cs"/>
        </a:defRPr>
      </a:lvl6pPr>
      <a:lvl7pPr marL="2742190" algn="l" defTabSz="914064" rtl="0" eaLnBrk="1" latinLnBrk="0" hangingPunct="1">
        <a:defRPr sz="1764" kern="1200">
          <a:solidFill>
            <a:schemeClr val="tx1"/>
          </a:solidFill>
          <a:latin typeface="+mn-lt"/>
          <a:ea typeface="+mn-ea"/>
          <a:cs typeface="+mn-cs"/>
        </a:defRPr>
      </a:lvl7pPr>
      <a:lvl8pPr marL="3199223" algn="l" defTabSz="914064" rtl="0" eaLnBrk="1" latinLnBrk="0" hangingPunct="1">
        <a:defRPr sz="1764" kern="1200">
          <a:solidFill>
            <a:schemeClr val="tx1"/>
          </a:solidFill>
          <a:latin typeface="+mn-lt"/>
          <a:ea typeface="+mn-ea"/>
          <a:cs typeface="+mn-cs"/>
        </a:defRPr>
      </a:lvl8pPr>
      <a:lvl9pPr marL="3656254" algn="l" defTabSz="914064" rtl="0" eaLnBrk="1" latinLnBrk="0" hangingPunct="1">
        <a:defRPr sz="1764"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xml"/><Relationship Id="rId1" Type="http://schemas.openxmlformats.org/officeDocument/2006/relationships/slideLayout" Target="../slideLayouts/slideLayout24.xml"/><Relationship Id="rId4" Type="http://schemas.openxmlformats.org/officeDocument/2006/relationships/hyperlink" Target="http://commons.wikimedia.org/wiki/File:Main_stage_crowd_shot.jpg"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9.xml"/></Relationships>
</file>

<file path=ppt/slides/_rels/slide17.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8.xml"/><Relationship Id="rId1" Type="http://schemas.openxmlformats.org/officeDocument/2006/relationships/slideLayout" Target="../slideLayouts/slideLayout2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9.xml"/></Relationships>
</file>

<file path=ppt/slides/_rels/slide19.xml.rels><?xml version="1.0" encoding="UTF-8" standalone="yes"?>
<Relationships xmlns="http://schemas.openxmlformats.org/package/2006/relationships"><Relationship Id="rId8" Type="http://schemas.openxmlformats.org/officeDocument/2006/relationships/notesSlide" Target="../notesSlides/notesSlide10.xml"/><Relationship Id="rId3" Type="http://schemas.openxmlformats.org/officeDocument/2006/relationships/tags" Target="../tags/tag3.xml"/><Relationship Id="rId7" Type="http://schemas.openxmlformats.org/officeDocument/2006/relationships/slideLayout" Target="../slideLayouts/slideLayout29.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25.emf"/></Relationships>
</file>

<file path=ppt/slides/_rels/slide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26.png"/><Relationship Id="rId7" Type="http://schemas.openxmlformats.org/officeDocument/2006/relationships/image" Target="../media/image28.png"/><Relationship Id="rId2" Type="http://schemas.openxmlformats.org/officeDocument/2006/relationships/notesSlide" Target="../notesSlides/notesSlide11.xml"/><Relationship Id="rId1" Type="http://schemas.openxmlformats.org/officeDocument/2006/relationships/slideLayout" Target="../slideLayouts/slideLayout29.xml"/><Relationship Id="rId6" Type="http://schemas.microsoft.com/office/2007/relationships/hdphoto" Target="../media/hdphoto2.wdp"/><Relationship Id="rId5" Type="http://schemas.openxmlformats.org/officeDocument/2006/relationships/image" Target="../media/image27.png"/><Relationship Id="rId4" Type="http://schemas.microsoft.com/office/2007/relationships/hdphoto" Target="../media/hdphoto1.wdp"/></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9.xml"/><Relationship Id="rId1" Type="http://schemas.openxmlformats.org/officeDocument/2006/relationships/tags" Target="../tags/tag7.xml"/><Relationship Id="rId4" Type="http://schemas.openxmlformats.org/officeDocument/2006/relationships/image" Target="../media/image14.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5.xml.rels><?xml version="1.0" encoding="UTF-8" standalone="yes"?>
<Relationships xmlns="http://schemas.openxmlformats.org/package/2006/relationships"><Relationship Id="rId8" Type="http://schemas.openxmlformats.org/officeDocument/2006/relationships/tags" Target="../tags/tag15.xml"/><Relationship Id="rId3" Type="http://schemas.openxmlformats.org/officeDocument/2006/relationships/tags" Target="../tags/tag10.xml"/><Relationship Id="rId7" Type="http://schemas.openxmlformats.org/officeDocument/2006/relationships/tags" Target="../tags/tag14.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5" Type="http://schemas.openxmlformats.org/officeDocument/2006/relationships/tags" Target="../tags/tag12.xml"/><Relationship Id="rId10" Type="http://schemas.openxmlformats.org/officeDocument/2006/relationships/notesSlide" Target="../notesSlides/notesSlide13.xml"/><Relationship Id="rId4" Type="http://schemas.openxmlformats.org/officeDocument/2006/relationships/tags" Target="../tags/tag11.xml"/><Relationship Id="rId9" Type="http://schemas.openxmlformats.org/officeDocument/2006/relationships/slideLayout" Target="../slideLayouts/slideLayout29.xml"/></Relationships>
</file>

<file path=ppt/slides/_rels/slide2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4.xml"/><Relationship Id="rId1" Type="http://schemas.openxmlformats.org/officeDocument/2006/relationships/slideLayout" Target="../slideLayouts/slideLayout29.xml"/><Relationship Id="rId6" Type="http://schemas.openxmlformats.org/officeDocument/2006/relationships/image" Target="../media/image31.emf"/><Relationship Id="rId5" Type="http://schemas.openxmlformats.org/officeDocument/2006/relationships/image" Target="../media/image30.emf"/><Relationship Id="rId4" Type="http://schemas.openxmlformats.org/officeDocument/2006/relationships/image" Target="../media/image25.emf"/></Relationships>
</file>

<file path=ppt/slides/_rels/slide2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5.xml"/><Relationship Id="rId1" Type="http://schemas.openxmlformats.org/officeDocument/2006/relationships/slideLayout" Target="../slideLayouts/slideLayout29.xml"/><Relationship Id="rId5" Type="http://schemas.openxmlformats.org/officeDocument/2006/relationships/image" Target="../media/image25.emf"/><Relationship Id="rId4" Type="http://schemas.openxmlformats.org/officeDocument/2006/relationships/image" Target="../media/image31.emf"/></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2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0.xml"/><Relationship Id="rId1" Type="http://schemas.openxmlformats.org/officeDocument/2006/relationships/slideLayout" Target="../slideLayouts/slideLayout2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p:txBody>
          <a:bodyPr/>
          <a:lstStyle/>
          <a:p>
            <a:r>
              <a:rPr lang="en-US" dirty="0" smtClean="0"/>
              <a:t>Bret Stateham</a:t>
            </a:r>
          </a:p>
          <a:p>
            <a:r>
              <a:rPr lang="en-US" dirty="0" smtClean="0"/>
              <a:t>Technical Evangelist</a:t>
            </a:r>
          </a:p>
          <a:p>
            <a:r>
              <a:rPr lang="en-US" dirty="0" smtClean="0"/>
              <a:t>Bret.Stateham@microsoft.com</a:t>
            </a:r>
          </a:p>
          <a:p>
            <a:r>
              <a:rPr lang="en-US" dirty="0" smtClean="0"/>
              <a:t>BretStateham.com</a:t>
            </a:r>
            <a:br>
              <a:rPr lang="en-US" dirty="0" smtClean="0"/>
            </a:br>
            <a:r>
              <a:rPr lang="en-US" dirty="0" smtClean="0"/>
              <a:t>@</a:t>
            </a:r>
            <a:r>
              <a:rPr lang="en-US" dirty="0" err="1" smtClean="0"/>
              <a:t>BretStateham</a:t>
            </a:r>
            <a:r>
              <a:rPr lang="en-US" dirty="0" smtClean="0"/>
              <a:t/>
            </a:r>
            <a:br>
              <a:rPr lang="en-US" dirty="0" smtClean="0"/>
            </a:br>
            <a:endParaRPr lang="en-US" dirty="0" smtClean="0"/>
          </a:p>
          <a:p>
            <a:endParaRPr lang="en-US" dirty="0"/>
          </a:p>
        </p:txBody>
      </p:sp>
      <p:sp>
        <p:nvSpPr>
          <p:cNvPr id="4" name="Title 3"/>
          <p:cNvSpPr>
            <a:spLocks noGrp="1"/>
          </p:cNvSpPr>
          <p:nvPr>
            <p:ph type="title"/>
          </p:nvPr>
        </p:nvSpPr>
        <p:spPr/>
        <p:txBody>
          <a:bodyPr/>
          <a:lstStyle/>
          <a:p>
            <a:r>
              <a:rPr lang="en-US" dirty="0"/>
              <a:t>A look at the Modern Principles</a:t>
            </a:r>
          </a:p>
        </p:txBody>
      </p:sp>
    </p:spTree>
    <p:extLst>
      <p:ext uri="{BB962C8B-B14F-4D97-AF65-F5344CB8AC3E}">
        <p14:creationId xmlns:p14="http://schemas.microsoft.com/office/powerpoint/2010/main" val="1374873538"/>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Multi-Client Architecture</a:t>
            </a:r>
            <a:endParaRPr lang="en-US" dirty="0"/>
          </a:p>
        </p:txBody>
      </p:sp>
      <p:grpSp>
        <p:nvGrpSpPr>
          <p:cNvPr id="4" name="Group 3"/>
          <p:cNvGrpSpPr/>
          <p:nvPr/>
        </p:nvGrpSpPr>
        <p:grpSpPr>
          <a:xfrm>
            <a:off x="774066" y="4905376"/>
            <a:ext cx="10643869" cy="1706154"/>
            <a:chOff x="379514" y="2791121"/>
            <a:chExt cx="10701438" cy="1715383"/>
          </a:xfrm>
          <a:solidFill>
            <a:schemeClr val="tx1">
              <a:lumMod val="75000"/>
            </a:schemeClr>
          </a:solidFill>
        </p:grpSpPr>
        <p:grpSp>
          <p:nvGrpSpPr>
            <p:cNvPr id="5" name="Group 4"/>
            <p:cNvGrpSpPr/>
            <p:nvPr/>
          </p:nvGrpSpPr>
          <p:grpSpPr>
            <a:xfrm>
              <a:off x="379514" y="3075862"/>
              <a:ext cx="2310225" cy="1429631"/>
              <a:chOff x="1728886" y="3075862"/>
              <a:chExt cx="2310225" cy="1429631"/>
            </a:xfrm>
            <a:grpFill/>
          </p:grpSpPr>
          <p:sp>
            <p:nvSpPr>
              <p:cNvPr id="22" name="Freeform 21"/>
              <p:cNvSpPr/>
              <p:nvPr/>
            </p:nvSpPr>
            <p:spPr>
              <a:xfrm>
                <a:off x="1728886" y="3075862"/>
                <a:ext cx="2310225" cy="1429631"/>
              </a:xfrm>
              <a:custGeom>
                <a:avLst/>
                <a:gdLst>
                  <a:gd name="connsiteX0" fmla="*/ 1719801 w 3447656"/>
                  <a:gd name="connsiteY0" fmla="*/ 2017535 h 2133504"/>
                  <a:gd name="connsiteX1" fmla="*/ 1719801 w 3447656"/>
                  <a:gd name="connsiteY1" fmla="*/ 2057572 h 2133504"/>
                  <a:gd name="connsiteX2" fmla="*/ 1773871 w 3447656"/>
                  <a:gd name="connsiteY2" fmla="*/ 2065038 h 2133504"/>
                  <a:gd name="connsiteX3" fmla="*/ 1773791 w 3447656"/>
                  <a:gd name="connsiteY3" fmla="*/ 2017535 h 2133504"/>
                  <a:gd name="connsiteX4" fmla="*/ 1673812 w 3447656"/>
                  <a:gd name="connsiteY4" fmla="*/ 2017535 h 2133504"/>
                  <a:gd name="connsiteX5" fmla="*/ 1673816 w 3447656"/>
                  <a:gd name="connsiteY5" fmla="*/ 2051226 h 2133504"/>
                  <a:gd name="connsiteX6" fmla="*/ 1714748 w 3447656"/>
                  <a:gd name="connsiteY6" fmla="*/ 2056875 h 2133504"/>
                  <a:gd name="connsiteX7" fmla="*/ 1714748 w 3447656"/>
                  <a:gd name="connsiteY7" fmla="*/ 2017535 h 2133504"/>
                  <a:gd name="connsiteX8" fmla="*/ 1714748 w 3447656"/>
                  <a:gd name="connsiteY8" fmla="*/ 1973064 h 2133504"/>
                  <a:gd name="connsiteX9" fmla="*/ 1673816 w 3447656"/>
                  <a:gd name="connsiteY9" fmla="*/ 1978793 h 2133504"/>
                  <a:gd name="connsiteX10" fmla="*/ 1673820 w 3447656"/>
                  <a:gd name="connsiteY10" fmla="*/ 2012482 h 2133504"/>
                  <a:gd name="connsiteX11" fmla="*/ 1714748 w 3447656"/>
                  <a:gd name="connsiteY11" fmla="*/ 2012482 h 2133504"/>
                  <a:gd name="connsiteX12" fmla="*/ 1773703 w 3447656"/>
                  <a:gd name="connsiteY12" fmla="*/ 1964813 h 2133504"/>
                  <a:gd name="connsiteX13" fmla="*/ 1719801 w 3447656"/>
                  <a:gd name="connsiteY13" fmla="*/ 1972357 h 2133504"/>
                  <a:gd name="connsiteX14" fmla="*/ 1719801 w 3447656"/>
                  <a:gd name="connsiteY14" fmla="*/ 2012482 h 2133504"/>
                  <a:gd name="connsiteX15" fmla="*/ 1773783 w 3447656"/>
                  <a:gd name="connsiteY15" fmla="*/ 2012482 h 2133504"/>
                  <a:gd name="connsiteX16" fmla="*/ 212818 w 3447656"/>
                  <a:gd name="connsiteY16" fmla="*/ 225560 h 2133504"/>
                  <a:gd name="connsiteX17" fmla="*/ 212818 w 3447656"/>
                  <a:gd name="connsiteY17" fmla="*/ 1910045 h 2133504"/>
                  <a:gd name="connsiteX18" fmla="*/ 3234839 w 3447656"/>
                  <a:gd name="connsiteY18" fmla="*/ 1910045 h 2133504"/>
                  <a:gd name="connsiteX19" fmla="*/ 3234839 w 3447656"/>
                  <a:gd name="connsiteY19" fmla="*/ 225560 h 2133504"/>
                  <a:gd name="connsiteX20" fmla="*/ 47002 w 3447656"/>
                  <a:gd name="connsiteY20" fmla="*/ 0 h 2133504"/>
                  <a:gd name="connsiteX21" fmla="*/ 3400656 w 3447656"/>
                  <a:gd name="connsiteY21" fmla="*/ 0 h 2133504"/>
                  <a:gd name="connsiteX22" fmla="*/ 3447656 w 3447656"/>
                  <a:gd name="connsiteY22" fmla="*/ 47000 h 2133504"/>
                  <a:gd name="connsiteX23" fmla="*/ 3447656 w 3447656"/>
                  <a:gd name="connsiteY23" fmla="*/ 2086504 h 2133504"/>
                  <a:gd name="connsiteX24" fmla="*/ 3400656 w 3447656"/>
                  <a:gd name="connsiteY24" fmla="*/ 2133504 h 2133504"/>
                  <a:gd name="connsiteX25" fmla="*/ 47002 w 3447656"/>
                  <a:gd name="connsiteY25" fmla="*/ 2133504 h 2133504"/>
                  <a:gd name="connsiteX26" fmla="*/ 0 w 3447656"/>
                  <a:gd name="connsiteY26" fmla="*/ 2086504 h 2133504"/>
                  <a:gd name="connsiteX27" fmla="*/ 0 w 3447656"/>
                  <a:gd name="connsiteY27" fmla="*/ 47000 h 2133504"/>
                  <a:gd name="connsiteX28" fmla="*/ 47002 w 3447656"/>
                  <a:gd name="connsiteY28" fmla="*/ 0 h 2133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447656" h="2133504">
                    <a:moveTo>
                      <a:pt x="1719801" y="2017535"/>
                    </a:moveTo>
                    <a:lnTo>
                      <a:pt x="1719801" y="2057572"/>
                    </a:lnTo>
                    <a:lnTo>
                      <a:pt x="1773871" y="2065038"/>
                    </a:lnTo>
                    <a:cubicBezTo>
                      <a:pt x="1773846" y="2049203"/>
                      <a:pt x="1773819" y="2033369"/>
                      <a:pt x="1773791" y="2017535"/>
                    </a:cubicBezTo>
                    <a:close/>
                    <a:moveTo>
                      <a:pt x="1673812" y="2017535"/>
                    </a:moveTo>
                    <a:cubicBezTo>
                      <a:pt x="1673785" y="2031952"/>
                      <a:pt x="1673764" y="2045893"/>
                      <a:pt x="1673816" y="2051226"/>
                    </a:cubicBezTo>
                    <a:lnTo>
                      <a:pt x="1714748" y="2056875"/>
                    </a:lnTo>
                    <a:lnTo>
                      <a:pt x="1714748" y="2017535"/>
                    </a:lnTo>
                    <a:close/>
                    <a:moveTo>
                      <a:pt x="1714748" y="1973064"/>
                    </a:moveTo>
                    <a:lnTo>
                      <a:pt x="1673816" y="1978793"/>
                    </a:lnTo>
                    <a:cubicBezTo>
                      <a:pt x="1673869" y="1984125"/>
                      <a:pt x="1673848" y="1998067"/>
                      <a:pt x="1673820" y="2012482"/>
                    </a:cubicBezTo>
                    <a:lnTo>
                      <a:pt x="1714748" y="2012482"/>
                    </a:lnTo>
                    <a:close/>
                    <a:moveTo>
                      <a:pt x="1773703" y="1964813"/>
                    </a:moveTo>
                    <a:lnTo>
                      <a:pt x="1719801" y="1972357"/>
                    </a:lnTo>
                    <a:lnTo>
                      <a:pt x="1719801" y="2012482"/>
                    </a:lnTo>
                    <a:lnTo>
                      <a:pt x="1773783" y="2012482"/>
                    </a:lnTo>
                    <a:close/>
                    <a:moveTo>
                      <a:pt x="212818" y="225560"/>
                    </a:moveTo>
                    <a:lnTo>
                      <a:pt x="212818" y="1910045"/>
                    </a:lnTo>
                    <a:lnTo>
                      <a:pt x="3234839" y="1910045"/>
                    </a:lnTo>
                    <a:lnTo>
                      <a:pt x="3234839" y="225560"/>
                    </a:lnTo>
                    <a:close/>
                    <a:moveTo>
                      <a:pt x="47002" y="0"/>
                    </a:moveTo>
                    <a:lnTo>
                      <a:pt x="3400656" y="0"/>
                    </a:lnTo>
                    <a:cubicBezTo>
                      <a:pt x="3426613" y="0"/>
                      <a:pt x="3447656" y="21043"/>
                      <a:pt x="3447656" y="47000"/>
                    </a:cubicBezTo>
                    <a:lnTo>
                      <a:pt x="3447656" y="2086504"/>
                    </a:lnTo>
                    <a:cubicBezTo>
                      <a:pt x="3447656" y="2112461"/>
                      <a:pt x="3426613" y="2133504"/>
                      <a:pt x="3400656" y="2133504"/>
                    </a:cubicBezTo>
                    <a:lnTo>
                      <a:pt x="47002" y="2133504"/>
                    </a:lnTo>
                    <a:cubicBezTo>
                      <a:pt x="21043" y="2133504"/>
                      <a:pt x="0" y="2112461"/>
                      <a:pt x="0" y="2086504"/>
                    </a:cubicBezTo>
                    <a:lnTo>
                      <a:pt x="0" y="47000"/>
                    </a:lnTo>
                    <a:cubicBezTo>
                      <a:pt x="0" y="21043"/>
                      <a:pt x="21043" y="0"/>
                      <a:pt x="4700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Windows 8 Icon"/>
              <p:cNvSpPr>
                <a:spLocks noChangeAspect="1"/>
              </p:cNvSpPr>
              <p:nvPr/>
            </p:nvSpPr>
            <p:spPr>
              <a:xfrm>
                <a:off x="2542376" y="3448590"/>
                <a:ext cx="683246" cy="684175"/>
              </a:xfrm>
              <a:custGeom>
                <a:avLst/>
                <a:gdLst/>
                <a:ahLst/>
                <a:cxnLst/>
                <a:rect l="l" t="t" r="r" b="b"/>
                <a:pathLst>
                  <a:path w="1414921" h="1416843">
                    <a:moveTo>
                      <a:pt x="650540" y="745330"/>
                    </a:moveTo>
                    <a:lnTo>
                      <a:pt x="1413792" y="745330"/>
                    </a:lnTo>
                    <a:cubicBezTo>
                      <a:pt x="1414168" y="969168"/>
                      <a:pt x="1414545" y="1193006"/>
                      <a:pt x="1414921" y="1416843"/>
                    </a:cubicBezTo>
                    <a:lnTo>
                      <a:pt x="650540" y="1311323"/>
                    </a:lnTo>
                    <a:close/>
                    <a:moveTo>
                      <a:pt x="395" y="745330"/>
                    </a:moveTo>
                    <a:lnTo>
                      <a:pt x="579102" y="745330"/>
                    </a:lnTo>
                    <a:lnTo>
                      <a:pt x="579102" y="1301461"/>
                    </a:lnTo>
                    <a:lnTo>
                      <a:pt x="458" y="1221581"/>
                    </a:lnTo>
                    <a:cubicBezTo>
                      <a:pt x="-292" y="1146207"/>
                      <a:pt x="21" y="949124"/>
                      <a:pt x="395" y="745330"/>
                    </a:cubicBezTo>
                    <a:close/>
                    <a:moveTo>
                      <a:pt x="579102" y="116652"/>
                    </a:moveTo>
                    <a:lnTo>
                      <a:pt x="579102" y="673892"/>
                    </a:lnTo>
                    <a:lnTo>
                      <a:pt x="520" y="673892"/>
                    </a:lnTo>
                    <a:cubicBezTo>
                      <a:pt x="894" y="470099"/>
                      <a:pt x="1207" y="273016"/>
                      <a:pt x="457" y="197642"/>
                    </a:cubicBezTo>
                    <a:close/>
                    <a:moveTo>
                      <a:pt x="1412538" y="0"/>
                    </a:moveTo>
                    <a:lnTo>
                      <a:pt x="1413672" y="673892"/>
                    </a:lnTo>
                    <a:lnTo>
                      <a:pt x="650540" y="673892"/>
                    </a:lnTo>
                    <a:lnTo>
                      <a:pt x="650540" y="10665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accent1"/>
                  </a:solidFill>
                </a:endParaRPr>
              </a:p>
            </p:txBody>
          </p:sp>
        </p:grpSp>
        <p:grpSp>
          <p:nvGrpSpPr>
            <p:cNvPr id="6" name="Group 5"/>
            <p:cNvGrpSpPr/>
            <p:nvPr/>
          </p:nvGrpSpPr>
          <p:grpSpPr>
            <a:xfrm>
              <a:off x="5734082" y="2791121"/>
              <a:ext cx="1338711" cy="1714372"/>
              <a:chOff x="5087252" y="2791121"/>
              <a:chExt cx="1338711" cy="1714372"/>
            </a:xfrm>
            <a:grpFill/>
          </p:grpSpPr>
          <p:sp>
            <p:nvSpPr>
              <p:cNvPr id="20" name="Freeform 19"/>
              <p:cNvSpPr>
                <a:spLocks noChangeAspect="1"/>
              </p:cNvSpPr>
              <p:nvPr/>
            </p:nvSpPr>
            <p:spPr bwMode="auto">
              <a:xfrm>
                <a:off x="5439366" y="3254761"/>
                <a:ext cx="634484" cy="787091"/>
              </a:xfrm>
              <a:custGeom>
                <a:avLst/>
                <a:gdLst>
                  <a:gd name="connsiteX0" fmla="*/ 2890560 w 3978276"/>
                  <a:gd name="connsiteY0" fmla="*/ 1233488 h 5138738"/>
                  <a:gd name="connsiteX1" fmla="*/ 3846068 w 3978276"/>
                  <a:gd name="connsiteY1" fmla="*/ 1746171 h 5138738"/>
                  <a:gd name="connsiteX2" fmla="*/ 3317233 w 3978276"/>
                  <a:gd name="connsiteY2" fmla="*/ 2720901 h 5138738"/>
                  <a:gd name="connsiteX3" fmla="*/ 3978276 w 3978276"/>
                  <a:gd name="connsiteY3" fmla="*/ 3765255 h 5138738"/>
                  <a:gd name="connsiteX4" fmla="*/ 2896570 w 3978276"/>
                  <a:gd name="connsiteY4" fmla="*/ 5126079 h 5138738"/>
                  <a:gd name="connsiteX5" fmla="*/ 2091299 w 3978276"/>
                  <a:gd name="connsiteY5" fmla="*/ 4923538 h 5138738"/>
                  <a:gd name="connsiteX6" fmla="*/ 1280019 w 3978276"/>
                  <a:gd name="connsiteY6" fmla="*/ 5138738 h 5138738"/>
                  <a:gd name="connsiteX7" fmla="*/ 0 w 3978276"/>
                  <a:gd name="connsiteY7" fmla="*/ 2809513 h 5138738"/>
                  <a:gd name="connsiteX8" fmla="*/ 1171849 w 3978276"/>
                  <a:gd name="connsiteY8" fmla="*/ 1246147 h 5138738"/>
                  <a:gd name="connsiteX9" fmla="*/ 2025195 w 3978276"/>
                  <a:gd name="connsiteY9" fmla="*/ 1474006 h 5138738"/>
                  <a:gd name="connsiteX10" fmla="*/ 2890560 w 3978276"/>
                  <a:gd name="connsiteY10" fmla="*/ 1233488 h 5138738"/>
                  <a:gd name="connsiteX11" fmla="*/ 2962856 w 3978276"/>
                  <a:gd name="connsiteY11" fmla="*/ 0 h 5138738"/>
                  <a:gd name="connsiteX12" fmla="*/ 2710494 w 3978276"/>
                  <a:gd name="connsiteY12" fmla="*/ 822374 h 5138738"/>
                  <a:gd name="connsiteX13" fmla="*/ 1983453 w 3978276"/>
                  <a:gd name="connsiteY13" fmla="*/ 1182953 h 5138738"/>
                  <a:gd name="connsiteX14" fmla="*/ 2193754 w 3978276"/>
                  <a:gd name="connsiteY14" fmla="*/ 449143 h 5138738"/>
                  <a:gd name="connsiteX15" fmla="*/ 2962856 w 3978276"/>
                  <a:gd name="connsiteY15" fmla="*/ 0 h 513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78276" h="5138738">
                    <a:moveTo>
                      <a:pt x="2890560" y="1233488"/>
                    </a:moveTo>
                    <a:cubicBezTo>
                      <a:pt x="3575641" y="1233488"/>
                      <a:pt x="3846068" y="1746171"/>
                      <a:pt x="3846068" y="1746171"/>
                    </a:cubicBezTo>
                    <a:cubicBezTo>
                      <a:pt x="3846068" y="1746171"/>
                      <a:pt x="3317233" y="2030995"/>
                      <a:pt x="3317233" y="2720901"/>
                    </a:cubicBezTo>
                    <a:cubicBezTo>
                      <a:pt x="3317233" y="3499419"/>
                      <a:pt x="3978276" y="3765255"/>
                      <a:pt x="3978276" y="3765255"/>
                    </a:cubicBezTo>
                    <a:cubicBezTo>
                      <a:pt x="3978276" y="3765255"/>
                      <a:pt x="3515546" y="5126079"/>
                      <a:pt x="2896570" y="5126079"/>
                    </a:cubicBezTo>
                    <a:cubicBezTo>
                      <a:pt x="2614124" y="5126079"/>
                      <a:pt x="2391773" y="4923538"/>
                      <a:pt x="2091299" y="4923538"/>
                    </a:cubicBezTo>
                    <a:cubicBezTo>
                      <a:pt x="1784816" y="4923538"/>
                      <a:pt x="1478332" y="5138738"/>
                      <a:pt x="1280019" y="5138738"/>
                    </a:cubicBezTo>
                    <a:cubicBezTo>
                      <a:pt x="715128" y="5138738"/>
                      <a:pt x="0" y="3847537"/>
                      <a:pt x="0" y="2809513"/>
                    </a:cubicBezTo>
                    <a:cubicBezTo>
                      <a:pt x="0" y="1784147"/>
                      <a:pt x="606957" y="1246147"/>
                      <a:pt x="1171849" y="1246147"/>
                    </a:cubicBezTo>
                    <a:cubicBezTo>
                      <a:pt x="1544436" y="1246147"/>
                      <a:pt x="1832891" y="1474006"/>
                      <a:pt x="2025195" y="1474006"/>
                    </a:cubicBezTo>
                    <a:cubicBezTo>
                      <a:pt x="2187451" y="1474006"/>
                      <a:pt x="2493934" y="1233488"/>
                      <a:pt x="2890560" y="1233488"/>
                    </a:cubicBezTo>
                    <a:close/>
                    <a:moveTo>
                      <a:pt x="2962856" y="0"/>
                    </a:moveTo>
                    <a:cubicBezTo>
                      <a:pt x="2962856" y="0"/>
                      <a:pt x="3028950" y="417513"/>
                      <a:pt x="2710494" y="822374"/>
                    </a:cubicBezTo>
                    <a:cubicBezTo>
                      <a:pt x="2368004" y="1252538"/>
                      <a:pt x="1983453" y="1182953"/>
                      <a:pt x="1983453" y="1182953"/>
                    </a:cubicBezTo>
                    <a:cubicBezTo>
                      <a:pt x="1983453" y="1182953"/>
                      <a:pt x="1911350" y="841351"/>
                      <a:pt x="2193754" y="449143"/>
                    </a:cubicBezTo>
                    <a:cubicBezTo>
                      <a:pt x="2512210" y="0"/>
                      <a:pt x="2962856" y="0"/>
                      <a:pt x="2962856" y="0"/>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US"/>
              </a:p>
            </p:txBody>
          </p:sp>
          <p:sp>
            <p:nvSpPr>
              <p:cNvPr id="21" name="Freeform 20"/>
              <p:cNvSpPr>
                <a:spLocks noChangeAspect="1"/>
              </p:cNvSpPr>
              <p:nvPr/>
            </p:nvSpPr>
            <p:spPr>
              <a:xfrm>
                <a:off x="5087252" y="2791121"/>
                <a:ext cx="1338711" cy="1714372"/>
              </a:xfrm>
              <a:custGeom>
                <a:avLst/>
                <a:gdLst>
                  <a:gd name="connsiteX0" fmla="*/ 1690773 w 3381547"/>
                  <a:gd name="connsiteY0" fmla="*/ 4045210 h 4330457"/>
                  <a:gd name="connsiteX1" fmla="*/ 1588023 w 3381547"/>
                  <a:gd name="connsiteY1" fmla="*/ 4147960 h 4330457"/>
                  <a:gd name="connsiteX2" fmla="*/ 1690773 w 3381547"/>
                  <a:gd name="connsiteY2" fmla="*/ 4250710 h 4330457"/>
                  <a:gd name="connsiteX3" fmla="*/ 1793523 w 3381547"/>
                  <a:gd name="connsiteY3" fmla="*/ 4147960 h 4330457"/>
                  <a:gd name="connsiteX4" fmla="*/ 1690773 w 3381547"/>
                  <a:gd name="connsiteY4" fmla="*/ 4045210 h 4330457"/>
                  <a:gd name="connsiteX5" fmla="*/ 375245 w 3381547"/>
                  <a:gd name="connsiteY5" fmla="*/ 388185 h 4330457"/>
                  <a:gd name="connsiteX6" fmla="*/ 375245 w 3381547"/>
                  <a:gd name="connsiteY6" fmla="*/ 3916389 h 4330457"/>
                  <a:gd name="connsiteX7" fmla="*/ 3006302 w 3381547"/>
                  <a:gd name="connsiteY7" fmla="*/ 3916389 h 4330457"/>
                  <a:gd name="connsiteX8" fmla="*/ 3006302 w 3381547"/>
                  <a:gd name="connsiteY8" fmla="*/ 388185 h 4330457"/>
                  <a:gd name="connsiteX9" fmla="*/ 221153 w 3381547"/>
                  <a:gd name="connsiteY9" fmla="*/ 0 h 4330457"/>
                  <a:gd name="connsiteX10" fmla="*/ 3160394 w 3381547"/>
                  <a:gd name="connsiteY10" fmla="*/ 0 h 4330457"/>
                  <a:gd name="connsiteX11" fmla="*/ 3381547 w 3381547"/>
                  <a:gd name="connsiteY11" fmla="*/ 221153 h 4330457"/>
                  <a:gd name="connsiteX12" fmla="*/ 3381547 w 3381547"/>
                  <a:gd name="connsiteY12" fmla="*/ 4109304 h 4330457"/>
                  <a:gd name="connsiteX13" fmla="*/ 3160394 w 3381547"/>
                  <a:gd name="connsiteY13" fmla="*/ 4330457 h 4330457"/>
                  <a:gd name="connsiteX14" fmla="*/ 221153 w 3381547"/>
                  <a:gd name="connsiteY14" fmla="*/ 4330457 h 4330457"/>
                  <a:gd name="connsiteX15" fmla="*/ 0 w 3381547"/>
                  <a:gd name="connsiteY15" fmla="*/ 4109304 h 4330457"/>
                  <a:gd name="connsiteX16" fmla="*/ 0 w 3381547"/>
                  <a:gd name="connsiteY16" fmla="*/ 221153 h 4330457"/>
                  <a:gd name="connsiteX17" fmla="*/ 221153 w 3381547"/>
                  <a:gd name="connsiteY17" fmla="*/ 0 h 433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81547" h="4330457">
                    <a:moveTo>
                      <a:pt x="1690773" y="4045210"/>
                    </a:moveTo>
                    <a:cubicBezTo>
                      <a:pt x="1634026" y="4045210"/>
                      <a:pt x="1588023" y="4091213"/>
                      <a:pt x="1588023" y="4147960"/>
                    </a:cubicBezTo>
                    <a:cubicBezTo>
                      <a:pt x="1588023" y="4204707"/>
                      <a:pt x="1634026" y="4250710"/>
                      <a:pt x="1690773" y="4250710"/>
                    </a:cubicBezTo>
                    <a:cubicBezTo>
                      <a:pt x="1747520" y="4250710"/>
                      <a:pt x="1793523" y="4204707"/>
                      <a:pt x="1793523" y="4147960"/>
                    </a:cubicBezTo>
                    <a:cubicBezTo>
                      <a:pt x="1793523" y="4091213"/>
                      <a:pt x="1747520" y="4045210"/>
                      <a:pt x="1690773" y="4045210"/>
                    </a:cubicBezTo>
                    <a:close/>
                    <a:moveTo>
                      <a:pt x="375245" y="388185"/>
                    </a:moveTo>
                    <a:lnTo>
                      <a:pt x="375245" y="3916389"/>
                    </a:lnTo>
                    <a:lnTo>
                      <a:pt x="3006302" y="3916389"/>
                    </a:lnTo>
                    <a:lnTo>
                      <a:pt x="3006302" y="388185"/>
                    </a:lnTo>
                    <a:close/>
                    <a:moveTo>
                      <a:pt x="221153" y="0"/>
                    </a:moveTo>
                    <a:lnTo>
                      <a:pt x="3160394" y="0"/>
                    </a:lnTo>
                    <a:cubicBezTo>
                      <a:pt x="3282533" y="0"/>
                      <a:pt x="3381547" y="99014"/>
                      <a:pt x="3381547" y="221153"/>
                    </a:cubicBezTo>
                    <a:lnTo>
                      <a:pt x="3381547" y="4109304"/>
                    </a:lnTo>
                    <a:cubicBezTo>
                      <a:pt x="3381547" y="4231443"/>
                      <a:pt x="3282533" y="4330457"/>
                      <a:pt x="3160394" y="4330457"/>
                    </a:cubicBezTo>
                    <a:lnTo>
                      <a:pt x="221153" y="4330457"/>
                    </a:lnTo>
                    <a:cubicBezTo>
                      <a:pt x="99014" y="4330457"/>
                      <a:pt x="0" y="4231443"/>
                      <a:pt x="0" y="4109304"/>
                    </a:cubicBezTo>
                    <a:lnTo>
                      <a:pt x="0" y="221153"/>
                    </a:lnTo>
                    <a:cubicBezTo>
                      <a:pt x="0" y="99014"/>
                      <a:pt x="99014" y="0"/>
                      <a:pt x="22115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 name="Group 6"/>
            <p:cNvGrpSpPr/>
            <p:nvPr/>
          </p:nvGrpSpPr>
          <p:grpSpPr>
            <a:xfrm>
              <a:off x="2772628" y="3090756"/>
              <a:ext cx="762573" cy="1414737"/>
              <a:chOff x="4171759" y="3090756"/>
              <a:chExt cx="762573" cy="1414737"/>
            </a:xfrm>
            <a:grpFill/>
          </p:grpSpPr>
          <p:sp>
            <p:nvSpPr>
              <p:cNvPr id="18" name="Freeform 17"/>
              <p:cNvSpPr/>
              <p:nvPr/>
            </p:nvSpPr>
            <p:spPr>
              <a:xfrm>
                <a:off x="4171759" y="3090756"/>
                <a:ext cx="762573" cy="1414737"/>
              </a:xfrm>
              <a:custGeom>
                <a:avLst/>
                <a:gdLst>
                  <a:gd name="connsiteX0" fmla="*/ 561084 w 1138023"/>
                  <a:gd name="connsiteY0" fmla="*/ 1932654 h 2111277"/>
                  <a:gd name="connsiteX1" fmla="*/ 561084 w 1138023"/>
                  <a:gd name="connsiteY1" fmla="*/ 1979086 h 2111277"/>
                  <a:gd name="connsiteX2" fmla="*/ 623789 w 1138023"/>
                  <a:gd name="connsiteY2" fmla="*/ 1987739 h 2111277"/>
                  <a:gd name="connsiteX3" fmla="*/ 623696 w 1138023"/>
                  <a:gd name="connsiteY3" fmla="*/ 1932654 h 2111277"/>
                  <a:gd name="connsiteX4" fmla="*/ 507749 w 1138023"/>
                  <a:gd name="connsiteY4" fmla="*/ 1932654 h 2111277"/>
                  <a:gd name="connsiteX5" fmla="*/ 507753 w 1138023"/>
                  <a:gd name="connsiteY5" fmla="*/ 1971724 h 2111277"/>
                  <a:gd name="connsiteX6" fmla="*/ 555223 w 1138023"/>
                  <a:gd name="connsiteY6" fmla="*/ 1978278 h 2111277"/>
                  <a:gd name="connsiteX7" fmla="*/ 555223 w 1138023"/>
                  <a:gd name="connsiteY7" fmla="*/ 1932654 h 2111277"/>
                  <a:gd name="connsiteX8" fmla="*/ 958702 w 1138023"/>
                  <a:gd name="connsiteY8" fmla="*/ 1893570 h 2111277"/>
                  <a:gd name="connsiteX9" fmla="*/ 984472 w 1138023"/>
                  <a:gd name="connsiteY9" fmla="*/ 1919341 h 2111277"/>
                  <a:gd name="connsiteX10" fmla="*/ 958702 w 1138023"/>
                  <a:gd name="connsiteY10" fmla="*/ 1945114 h 2111277"/>
                  <a:gd name="connsiteX11" fmla="*/ 932928 w 1138023"/>
                  <a:gd name="connsiteY11" fmla="*/ 1919341 h 2111277"/>
                  <a:gd name="connsiteX12" fmla="*/ 958702 w 1138023"/>
                  <a:gd name="connsiteY12" fmla="*/ 1893570 h 2111277"/>
                  <a:gd name="connsiteX13" fmla="*/ 184550 w 1138023"/>
                  <a:gd name="connsiteY13" fmla="*/ 1883618 h 2111277"/>
                  <a:gd name="connsiteX14" fmla="*/ 146907 w 1138023"/>
                  <a:gd name="connsiteY14" fmla="*/ 1926968 h 2111277"/>
                  <a:gd name="connsiteX15" fmla="*/ 184550 w 1138023"/>
                  <a:gd name="connsiteY15" fmla="*/ 1972161 h 2111277"/>
                  <a:gd name="connsiteX16" fmla="*/ 208167 w 1138023"/>
                  <a:gd name="connsiteY16" fmla="*/ 1972161 h 2111277"/>
                  <a:gd name="connsiteX17" fmla="*/ 180121 w 1138023"/>
                  <a:gd name="connsiteY17" fmla="*/ 1938957 h 2111277"/>
                  <a:gd name="connsiteX18" fmla="*/ 243597 w 1138023"/>
                  <a:gd name="connsiteY18" fmla="*/ 1938957 h 2111277"/>
                  <a:gd name="connsiteX19" fmla="*/ 243597 w 1138023"/>
                  <a:gd name="connsiteY19" fmla="*/ 1915901 h 2111277"/>
                  <a:gd name="connsiteX20" fmla="*/ 180121 w 1138023"/>
                  <a:gd name="connsiteY20" fmla="*/ 1915901 h 2111277"/>
                  <a:gd name="connsiteX21" fmla="*/ 208167 w 1138023"/>
                  <a:gd name="connsiteY21" fmla="*/ 1883618 h 2111277"/>
                  <a:gd name="connsiteX22" fmla="*/ 555223 w 1138023"/>
                  <a:gd name="connsiteY22" fmla="*/ 1881082 h 2111277"/>
                  <a:gd name="connsiteX23" fmla="*/ 507753 w 1138023"/>
                  <a:gd name="connsiteY23" fmla="*/ 1887725 h 2111277"/>
                  <a:gd name="connsiteX24" fmla="*/ 507761 w 1138023"/>
                  <a:gd name="connsiteY24" fmla="*/ 1926797 h 2111277"/>
                  <a:gd name="connsiteX25" fmla="*/ 555223 w 1138023"/>
                  <a:gd name="connsiteY25" fmla="*/ 1926797 h 2111277"/>
                  <a:gd name="connsiteX26" fmla="*/ 958566 w 1138023"/>
                  <a:gd name="connsiteY26" fmla="*/ 1880684 h 2111277"/>
                  <a:gd name="connsiteX27" fmla="*/ 919911 w 1138023"/>
                  <a:gd name="connsiteY27" fmla="*/ 1919341 h 2111277"/>
                  <a:gd name="connsiteX28" fmla="*/ 924574 w 1138023"/>
                  <a:gd name="connsiteY28" fmla="*/ 1937385 h 2111277"/>
                  <a:gd name="connsiteX29" fmla="*/ 889199 w 1138023"/>
                  <a:gd name="connsiteY29" fmla="*/ 1972758 h 2111277"/>
                  <a:gd name="connsiteX30" fmla="*/ 889199 w 1138023"/>
                  <a:gd name="connsiteY30" fmla="*/ 1978832 h 2111277"/>
                  <a:gd name="connsiteX31" fmla="*/ 901347 w 1138023"/>
                  <a:gd name="connsiteY31" fmla="*/ 1990981 h 2111277"/>
                  <a:gd name="connsiteX32" fmla="*/ 907425 w 1138023"/>
                  <a:gd name="connsiteY32" fmla="*/ 1990981 h 2111277"/>
                  <a:gd name="connsiteX33" fmla="*/ 943471 w 1138023"/>
                  <a:gd name="connsiteY33" fmla="*/ 1954935 h 2111277"/>
                  <a:gd name="connsiteX34" fmla="*/ 958566 w 1138023"/>
                  <a:gd name="connsiteY34" fmla="*/ 1958000 h 2111277"/>
                  <a:gd name="connsiteX35" fmla="*/ 997226 w 1138023"/>
                  <a:gd name="connsiteY35" fmla="*/ 1919341 h 2111277"/>
                  <a:gd name="connsiteX36" fmla="*/ 958566 w 1138023"/>
                  <a:gd name="connsiteY36" fmla="*/ 1880684 h 2111277"/>
                  <a:gd name="connsiteX37" fmla="*/ 623594 w 1138023"/>
                  <a:gd name="connsiteY37" fmla="*/ 1871513 h 2111277"/>
                  <a:gd name="connsiteX38" fmla="*/ 561084 w 1138023"/>
                  <a:gd name="connsiteY38" fmla="*/ 1880261 h 2111277"/>
                  <a:gd name="connsiteX39" fmla="*/ 561084 w 1138023"/>
                  <a:gd name="connsiteY39" fmla="*/ 1926797 h 2111277"/>
                  <a:gd name="connsiteX40" fmla="*/ 623688 w 1138023"/>
                  <a:gd name="connsiteY40" fmla="*/ 1926797 h 2111277"/>
                  <a:gd name="connsiteX41" fmla="*/ 113008 w 1138023"/>
                  <a:gd name="connsiteY41" fmla="*/ 153172 h 2111277"/>
                  <a:gd name="connsiteX42" fmla="*/ 56991 w 1138023"/>
                  <a:gd name="connsiteY42" fmla="*/ 209189 h 2111277"/>
                  <a:gd name="connsiteX43" fmla="*/ 56991 w 1138023"/>
                  <a:gd name="connsiteY43" fmla="*/ 1742854 h 2111277"/>
                  <a:gd name="connsiteX44" fmla="*/ 113008 w 1138023"/>
                  <a:gd name="connsiteY44" fmla="*/ 1798870 h 2111277"/>
                  <a:gd name="connsiteX45" fmla="*/ 1026548 w 1138023"/>
                  <a:gd name="connsiteY45" fmla="*/ 1798870 h 2111277"/>
                  <a:gd name="connsiteX46" fmla="*/ 1082565 w 1138023"/>
                  <a:gd name="connsiteY46" fmla="*/ 1742854 h 2111277"/>
                  <a:gd name="connsiteX47" fmla="*/ 1082565 w 1138023"/>
                  <a:gd name="connsiteY47" fmla="*/ 209189 h 2111277"/>
                  <a:gd name="connsiteX48" fmla="*/ 1026548 w 1138023"/>
                  <a:gd name="connsiteY48" fmla="*/ 153172 h 2111277"/>
                  <a:gd name="connsiteX49" fmla="*/ 497167 w 1138023"/>
                  <a:gd name="connsiteY49" fmla="*/ 93324 h 2111277"/>
                  <a:gd name="connsiteX50" fmla="*/ 491071 w 1138023"/>
                  <a:gd name="connsiteY50" fmla="*/ 95850 h 2111277"/>
                  <a:gd name="connsiteX51" fmla="*/ 488545 w 1138023"/>
                  <a:gd name="connsiteY51" fmla="*/ 101946 h 2111277"/>
                  <a:gd name="connsiteX52" fmla="*/ 491071 w 1138023"/>
                  <a:gd name="connsiteY52" fmla="*/ 108042 h 2111277"/>
                  <a:gd name="connsiteX53" fmla="*/ 497167 w 1138023"/>
                  <a:gd name="connsiteY53" fmla="*/ 110567 h 2111277"/>
                  <a:gd name="connsiteX54" fmla="*/ 640857 w 1138023"/>
                  <a:gd name="connsiteY54" fmla="*/ 110567 h 2111277"/>
                  <a:gd name="connsiteX55" fmla="*/ 649478 w 1138023"/>
                  <a:gd name="connsiteY55" fmla="*/ 101946 h 2111277"/>
                  <a:gd name="connsiteX56" fmla="*/ 649478 w 1138023"/>
                  <a:gd name="connsiteY56" fmla="*/ 101946 h 2111277"/>
                  <a:gd name="connsiteX57" fmla="*/ 640857 w 1138023"/>
                  <a:gd name="connsiteY57" fmla="*/ 93324 h 2111277"/>
                  <a:gd name="connsiteX58" fmla="*/ 0 w 1138023"/>
                  <a:gd name="connsiteY58" fmla="*/ 0 h 2111277"/>
                  <a:gd name="connsiteX59" fmla="*/ 1138023 w 1138023"/>
                  <a:gd name="connsiteY59" fmla="*/ 0 h 2111277"/>
                  <a:gd name="connsiteX60" fmla="*/ 1138023 w 1138023"/>
                  <a:gd name="connsiteY60" fmla="*/ 2111277 h 2111277"/>
                  <a:gd name="connsiteX61" fmla="*/ 0 w 1138023"/>
                  <a:gd name="connsiteY61" fmla="*/ 2111277 h 211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138023" h="2111277">
                    <a:moveTo>
                      <a:pt x="561084" y="1932654"/>
                    </a:moveTo>
                    <a:lnTo>
                      <a:pt x="561084" y="1979086"/>
                    </a:lnTo>
                    <a:lnTo>
                      <a:pt x="623789" y="1987739"/>
                    </a:lnTo>
                    <a:cubicBezTo>
                      <a:pt x="623759" y="1969379"/>
                      <a:pt x="623728" y="1951020"/>
                      <a:pt x="623696" y="1932654"/>
                    </a:cubicBezTo>
                    <a:close/>
                    <a:moveTo>
                      <a:pt x="507749" y="1932654"/>
                    </a:moveTo>
                    <a:lnTo>
                      <a:pt x="507753" y="1971724"/>
                    </a:lnTo>
                    <a:lnTo>
                      <a:pt x="555223" y="1978278"/>
                    </a:lnTo>
                    <a:lnTo>
                      <a:pt x="555223" y="1932654"/>
                    </a:lnTo>
                    <a:close/>
                    <a:moveTo>
                      <a:pt x="958702" y="1893570"/>
                    </a:moveTo>
                    <a:cubicBezTo>
                      <a:pt x="972934" y="1893570"/>
                      <a:pt x="984472" y="1905109"/>
                      <a:pt x="984472" y="1919341"/>
                    </a:cubicBezTo>
                    <a:cubicBezTo>
                      <a:pt x="984472" y="1933573"/>
                      <a:pt x="972934" y="1945114"/>
                      <a:pt x="958702" y="1945114"/>
                    </a:cubicBezTo>
                    <a:cubicBezTo>
                      <a:pt x="944466" y="1945114"/>
                      <a:pt x="932928" y="1933573"/>
                      <a:pt x="932928" y="1919341"/>
                    </a:cubicBezTo>
                    <a:cubicBezTo>
                      <a:pt x="932928" y="1905109"/>
                      <a:pt x="944466" y="1893570"/>
                      <a:pt x="958702" y="1893570"/>
                    </a:cubicBezTo>
                    <a:close/>
                    <a:moveTo>
                      <a:pt x="184550" y="1883618"/>
                    </a:moveTo>
                    <a:lnTo>
                      <a:pt x="146907" y="1926968"/>
                    </a:lnTo>
                    <a:lnTo>
                      <a:pt x="184550" y="1972161"/>
                    </a:lnTo>
                    <a:lnTo>
                      <a:pt x="208167" y="1972161"/>
                    </a:lnTo>
                    <a:lnTo>
                      <a:pt x="180121" y="1938957"/>
                    </a:lnTo>
                    <a:lnTo>
                      <a:pt x="243597" y="1938957"/>
                    </a:lnTo>
                    <a:lnTo>
                      <a:pt x="243597" y="1915901"/>
                    </a:lnTo>
                    <a:lnTo>
                      <a:pt x="180121" y="1915901"/>
                    </a:lnTo>
                    <a:lnTo>
                      <a:pt x="208167" y="1883618"/>
                    </a:lnTo>
                    <a:close/>
                    <a:moveTo>
                      <a:pt x="555223" y="1881082"/>
                    </a:moveTo>
                    <a:lnTo>
                      <a:pt x="507753" y="1887725"/>
                    </a:lnTo>
                    <a:cubicBezTo>
                      <a:pt x="507816" y="1893912"/>
                      <a:pt x="507791" y="1910078"/>
                      <a:pt x="507761" y="1926797"/>
                    </a:cubicBezTo>
                    <a:lnTo>
                      <a:pt x="555223" y="1926797"/>
                    </a:lnTo>
                    <a:close/>
                    <a:moveTo>
                      <a:pt x="958566" y="1880684"/>
                    </a:moveTo>
                    <a:cubicBezTo>
                      <a:pt x="937219" y="1880684"/>
                      <a:pt x="919911" y="1897991"/>
                      <a:pt x="919911" y="1919341"/>
                    </a:cubicBezTo>
                    <a:cubicBezTo>
                      <a:pt x="919911" y="1925891"/>
                      <a:pt x="921539" y="1932063"/>
                      <a:pt x="924574" y="1937385"/>
                    </a:cubicBezTo>
                    <a:lnTo>
                      <a:pt x="889199" y="1972758"/>
                    </a:lnTo>
                    <a:cubicBezTo>
                      <a:pt x="887522" y="1974434"/>
                      <a:pt x="887522" y="1977153"/>
                      <a:pt x="889199" y="1978832"/>
                    </a:cubicBezTo>
                    <a:lnTo>
                      <a:pt x="901347" y="1990981"/>
                    </a:lnTo>
                    <a:cubicBezTo>
                      <a:pt x="903028" y="1992659"/>
                      <a:pt x="905745" y="1992659"/>
                      <a:pt x="907425" y="1990981"/>
                    </a:cubicBezTo>
                    <a:lnTo>
                      <a:pt x="943471" y="1954935"/>
                    </a:lnTo>
                    <a:cubicBezTo>
                      <a:pt x="948108" y="1956907"/>
                      <a:pt x="953209" y="1958000"/>
                      <a:pt x="958566" y="1958000"/>
                    </a:cubicBezTo>
                    <a:cubicBezTo>
                      <a:pt x="979917" y="1958000"/>
                      <a:pt x="997226" y="1940691"/>
                      <a:pt x="997226" y="1919341"/>
                    </a:cubicBezTo>
                    <a:cubicBezTo>
                      <a:pt x="997226" y="1897991"/>
                      <a:pt x="979917" y="1880684"/>
                      <a:pt x="958566" y="1880684"/>
                    </a:cubicBezTo>
                    <a:close/>
                    <a:moveTo>
                      <a:pt x="623594" y="1871513"/>
                    </a:moveTo>
                    <a:lnTo>
                      <a:pt x="561084" y="1880261"/>
                    </a:lnTo>
                    <a:lnTo>
                      <a:pt x="561084" y="1926797"/>
                    </a:lnTo>
                    <a:lnTo>
                      <a:pt x="623688" y="1926797"/>
                    </a:lnTo>
                    <a:close/>
                    <a:moveTo>
                      <a:pt x="113008" y="153172"/>
                    </a:moveTo>
                    <a:cubicBezTo>
                      <a:pt x="82071" y="153172"/>
                      <a:pt x="56991" y="178252"/>
                      <a:pt x="56991" y="209189"/>
                    </a:cubicBezTo>
                    <a:lnTo>
                      <a:pt x="56991" y="1742854"/>
                    </a:lnTo>
                    <a:cubicBezTo>
                      <a:pt x="56991" y="1773791"/>
                      <a:pt x="82071" y="1798870"/>
                      <a:pt x="113008" y="1798870"/>
                    </a:cubicBezTo>
                    <a:lnTo>
                      <a:pt x="1026548" y="1798870"/>
                    </a:lnTo>
                    <a:cubicBezTo>
                      <a:pt x="1057485" y="1798870"/>
                      <a:pt x="1082565" y="1773791"/>
                      <a:pt x="1082565" y="1742854"/>
                    </a:cubicBezTo>
                    <a:lnTo>
                      <a:pt x="1082565" y="209189"/>
                    </a:lnTo>
                    <a:cubicBezTo>
                      <a:pt x="1082565" y="178252"/>
                      <a:pt x="1057485" y="153172"/>
                      <a:pt x="1026548" y="153172"/>
                    </a:cubicBezTo>
                    <a:close/>
                    <a:moveTo>
                      <a:pt x="497167" y="93324"/>
                    </a:moveTo>
                    <a:cubicBezTo>
                      <a:pt x="494786" y="93324"/>
                      <a:pt x="492631" y="94290"/>
                      <a:pt x="491071" y="95850"/>
                    </a:cubicBezTo>
                    <a:lnTo>
                      <a:pt x="488545" y="101946"/>
                    </a:lnTo>
                    <a:lnTo>
                      <a:pt x="491071" y="108042"/>
                    </a:lnTo>
                    <a:cubicBezTo>
                      <a:pt x="492631" y="109601"/>
                      <a:pt x="494786" y="110567"/>
                      <a:pt x="497167" y="110567"/>
                    </a:cubicBezTo>
                    <a:lnTo>
                      <a:pt x="640857" y="110567"/>
                    </a:lnTo>
                    <a:cubicBezTo>
                      <a:pt x="645618" y="110567"/>
                      <a:pt x="649478" y="106707"/>
                      <a:pt x="649478" y="101946"/>
                    </a:cubicBezTo>
                    <a:lnTo>
                      <a:pt x="649478" y="101946"/>
                    </a:lnTo>
                    <a:cubicBezTo>
                      <a:pt x="649478" y="97184"/>
                      <a:pt x="645618" y="93324"/>
                      <a:pt x="640857" y="93324"/>
                    </a:cubicBezTo>
                    <a:close/>
                    <a:moveTo>
                      <a:pt x="0" y="0"/>
                    </a:moveTo>
                    <a:lnTo>
                      <a:pt x="1138023" y="0"/>
                    </a:lnTo>
                    <a:lnTo>
                      <a:pt x="1138023" y="2111277"/>
                    </a:lnTo>
                    <a:lnTo>
                      <a:pt x="0" y="211127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Windows 8 Icon"/>
              <p:cNvSpPr>
                <a:spLocks noChangeAspect="1"/>
              </p:cNvSpPr>
              <p:nvPr/>
            </p:nvSpPr>
            <p:spPr>
              <a:xfrm>
                <a:off x="4304432" y="3549173"/>
                <a:ext cx="497226" cy="497902"/>
              </a:xfrm>
              <a:custGeom>
                <a:avLst/>
                <a:gdLst/>
                <a:ahLst/>
                <a:cxnLst/>
                <a:rect l="l" t="t" r="r" b="b"/>
                <a:pathLst>
                  <a:path w="1414921" h="1416843">
                    <a:moveTo>
                      <a:pt x="650540" y="745330"/>
                    </a:moveTo>
                    <a:lnTo>
                      <a:pt x="1413792" y="745330"/>
                    </a:lnTo>
                    <a:cubicBezTo>
                      <a:pt x="1414168" y="969168"/>
                      <a:pt x="1414545" y="1193006"/>
                      <a:pt x="1414921" y="1416843"/>
                    </a:cubicBezTo>
                    <a:lnTo>
                      <a:pt x="650540" y="1311323"/>
                    </a:lnTo>
                    <a:close/>
                    <a:moveTo>
                      <a:pt x="395" y="745330"/>
                    </a:moveTo>
                    <a:lnTo>
                      <a:pt x="579102" y="745330"/>
                    </a:lnTo>
                    <a:lnTo>
                      <a:pt x="579102" y="1301461"/>
                    </a:lnTo>
                    <a:lnTo>
                      <a:pt x="458" y="1221581"/>
                    </a:lnTo>
                    <a:cubicBezTo>
                      <a:pt x="-292" y="1146207"/>
                      <a:pt x="21" y="949124"/>
                      <a:pt x="395" y="745330"/>
                    </a:cubicBezTo>
                    <a:close/>
                    <a:moveTo>
                      <a:pt x="579102" y="116652"/>
                    </a:moveTo>
                    <a:lnTo>
                      <a:pt x="579102" y="673892"/>
                    </a:lnTo>
                    <a:lnTo>
                      <a:pt x="520" y="673892"/>
                    </a:lnTo>
                    <a:cubicBezTo>
                      <a:pt x="894" y="470099"/>
                      <a:pt x="1207" y="273016"/>
                      <a:pt x="457" y="197642"/>
                    </a:cubicBezTo>
                    <a:close/>
                    <a:moveTo>
                      <a:pt x="1412538" y="0"/>
                    </a:moveTo>
                    <a:lnTo>
                      <a:pt x="1413672" y="673892"/>
                    </a:lnTo>
                    <a:lnTo>
                      <a:pt x="650540" y="673892"/>
                    </a:lnTo>
                    <a:lnTo>
                      <a:pt x="650540" y="10665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accent1"/>
                  </a:solidFill>
                </a:endParaRPr>
              </a:p>
            </p:txBody>
          </p:sp>
        </p:grpSp>
        <p:grpSp>
          <p:nvGrpSpPr>
            <p:cNvPr id="8" name="Group 7"/>
            <p:cNvGrpSpPr/>
            <p:nvPr/>
          </p:nvGrpSpPr>
          <p:grpSpPr>
            <a:xfrm>
              <a:off x="7155682" y="3091767"/>
              <a:ext cx="712262" cy="1414737"/>
              <a:chOff x="6509297" y="3091767"/>
              <a:chExt cx="712262" cy="1414737"/>
            </a:xfrm>
            <a:grpFill/>
          </p:grpSpPr>
          <p:sp>
            <p:nvSpPr>
              <p:cNvPr id="16" name="Freeform 15"/>
              <p:cNvSpPr>
                <a:spLocks noChangeAspect="1"/>
              </p:cNvSpPr>
              <p:nvPr/>
            </p:nvSpPr>
            <p:spPr>
              <a:xfrm>
                <a:off x="6509297" y="3091767"/>
                <a:ext cx="712262" cy="1414737"/>
              </a:xfrm>
              <a:custGeom>
                <a:avLst/>
                <a:gdLst>
                  <a:gd name="connsiteX0" fmla="*/ 1411783 w 2823566"/>
                  <a:gd name="connsiteY0" fmla="*/ 4836160 h 5608320"/>
                  <a:gd name="connsiteX1" fmla="*/ 1132383 w 2823566"/>
                  <a:gd name="connsiteY1" fmla="*/ 5115560 h 5608320"/>
                  <a:gd name="connsiteX2" fmla="*/ 1411783 w 2823566"/>
                  <a:gd name="connsiteY2" fmla="*/ 5394960 h 5608320"/>
                  <a:gd name="connsiteX3" fmla="*/ 1691183 w 2823566"/>
                  <a:gd name="connsiteY3" fmla="*/ 5115560 h 5608320"/>
                  <a:gd name="connsiteX4" fmla="*/ 1411783 w 2823566"/>
                  <a:gd name="connsiteY4" fmla="*/ 4836160 h 5608320"/>
                  <a:gd name="connsiteX5" fmla="*/ 189515 w 2823566"/>
                  <a:gd name="connsiteY5" fmla="*/ 975360 h 5608320"/>
                  <a:gd name="connsiteX6" fmla="*/ 189515 w 2823566"/>
                  <a:gd name="connsiteY6" fmla="*/ 4643120 h 5608320"/>
                  <a:gd name="connsiteX7" fmla="*/ 2634051 w 2823566"/>
                  <a:gd name="connsiteY7" fmla="*/ 4643120 h 5608320"/>
                  <a:gd name="connsiteX8" fmla="*/ 2634051 w 2823566"/>
                  <a:gd name="connsiteY8" fmla="*/ 975360 h 5608320"/>
                  <a:gd name="connsiteX9" fmla="*/ 1066343 w 2823566"/>
                  <a:gd name="connsiteY9" fmla="*/ 429260 h 5608320"/>
                  <a:gd name="connsiteX10" fmla="*/ 1004113 w 2823566"/>
                  <a:gd name="connsiteY10" fmla="*/ 491490 h 5608320"/>
                  <a:gd name="connsiteX11" fmla="*/ 1066343 w 2823566"/>
                  <a:gd name="connsiteY11" fmla="*/ 553720 h 5608320"/>
                  <a:gd name="connsiteX12" fmla="*/ 1757223 w 2823566"/>
                  <a:gd name="connsiteY12" fmla="*/ 553720 h 5608320"/>
                  <a:gd name="connsiteX13" fmla="*/ 1819453 w 2823566"/>
                  <a:gd name="connsiteY13" fmla="*/ 491490 h 5608320"/>
                  <a:gd name="connsiteX14" fmla="*/ 1757223 w 2823566"/>
                  <a:gd name="connsiteY14" fmla="*/ 429260 h 5608320"/>
                  <a:gd name="connsiteX15" fmla="*/ 390782 w 2823566"/>
                  <a:gd name="connsiteY15" fmla="*/ 0 h 5608320"/>
                  <a:gd name="connsiteX16" fmla="*/ 2432784 w 2823566"/>
                  <a:gd name="connsiteY16" fmla="*/ 0 h 5608320"/>
                  <a:gd name="connsiteX17" fmla="*/ 2823566 w 2823566"/>
                  <a:gd name="connsiteY17" fmla="*/ 390782 h 5608320"/>
                  <a:gd name="connsiteX18" fmla="*/ 2823566 w 2823566"/>
                  <a:gd name="connsiteY18" fmla="*/ 5217538 h 5608320"/>
                  <a:gd name="connsiteX19" fmla="*/ 2432784 w 2823566"/>
                  <a:gd name="connsiteY19" fmla="*/ 5608320 h 5608320"/>
                  <a:gd name="connsiteX20" fmla="*/ 390782 w 2823566"/>
                  <a:gd name="connsiteY20" fmla="*/ 5608320 h 5608320"/>
                  <a:gd name="connsiteX21" fmla="*/ 0 w 2823566"/>
                  <a:gd name="connsiteY21" fmla="*/ 5217538 h 5608320"/>
                  <a:gd name="connsiteX22" fmla="*/ 0 w 2823566"/>
                  <a:gd name="connsiteY22" fmla="*/ 390782 h 5608320"/>
                  <a:gd name="connsiteX23" fmla="*/ 390782 w 2823566"/>
                  <a:gd name="connsiteY23" fmla="*/ 0 h 5608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823566" h="5608320">
                    <a:moveTo>
                      <a:pt x="1411783" y="4836160"/>
                    </a:moveTo>
                    <a:cubicBezTo>
                      <a:pt x="1257475" y="4836160"/>
                      <a:pt x="1132383" y="4961252"/>
                      <a:pt x="1132383" y="5115560"/>
                    </a:cubicBezTo>
                    <a:cubicBezTo>
                      <a:pt x="1132383" y="5269868"/>
                      <a:pt x="1257475" y="5394960"/>
                      <a:pt x="1411783" y="5394960"/>
                    </a:cubicBezTo>
                    <a:cubicBezTo>
                      <a:pt x="1566091" y="5394960"/>
                      <a:pt x="1691183" y="5269868"/>
                      <a:pt x="1691183" y="5115560"/>
                    </a:cubicBezTo>
                    <a:cubicBezTo>
                      <a:pt x="1691183" y="4961252"/>
                      <a:pt x="1566091" y="4836160"/>
                      <a:pt x="1411783" y="4836160"/>
                    </a:cubicBezTo>
                    <a:close/>
                    <a:moveTo>
                      <a:pt x="189515" y="975360"/>
                    </a:moveTo>
                    <a:lnTo>
                      <a:pt x="189515" y="4643120"/>
                    </a:lnTo>
                    <a:lnTo>
                      <a:pt x="2634051" y="4643120"/>
                    </a:lnTo>
                    <a:lnTo>
                      <a:pt x="2634051" y="975360"/>
                    </a:lnTo>
                    <a:close/>
                    <a:moveTo>
                      <a:pt x="1066343" y="429260"/>
                    </a:moveTo>
                    <a:cubicBezTo>
                      <a:pt x="1031974" y="429260"/>
                      <a:pt x="1004113" y="457121"/>
                      <a:pt x="1004113" y="491490"/>
                    </a:cubicBezTo>
                    <a:cubicBezTo>
                      <a:pt x="1004113" y="525859"/>
                      <a:pt x="1031974" y="553720"/>
                      <a:pt x="1066343" y="553720"/>
                    </a:cubicBezTo>
                    <a:lnTo>
                      <a:pt x="1757223" y="553720"/>
                    </a:lnTo>
                    <a:cubicBezTo>
                      <a:pt x="1791592" y="553720"/>
                      <a:pt x="1819453" y="525859"/>
                      <a:pt x="1819453" y="491490"/>
                    </a:cubicBezTo>
                    <a:cubicBezTo>
                      <a:pt x="1819453" y="457121"/>
                      <a:pt x="1791592" y="429260"/>
                      <a:pt x="1757223" y="429260"/>
                    </a:cubicBezTo>
                    <a:close/>
                    <a:moveTo>
                      <a:pt x="390782" y="0"/>
                    </a:moveTo>
                    <a:lnTo>
                      <a:pt x="2432784" y="0"/>
                    </a:lnTo>
                    <a:cubicBezTo>
                      <a:pt x="2648607" y="0"/>
                      <a:pt x="2823566" y="174959"/>
                      <a:pt x="2823566" y="390782"/>
                    </a:cubicBezTo>
                    <a:lnTo>
                      <a:pt x="2823566" y="5217538"/>
                    </a:lnTo>
                    <a:cubicBezTo>
                      <a:pt x="2823566" y="5433361"/>
                      <a:pt x="2648607" y="5608320"/>
                      <a:pt x="2432784" y="5608320"/>
                    </a:cubicBezTo>
                    <a:lnTo>
                      <a:pt x="390782" y="5608320"/>
                    </a:lnTo>
                    <a:cubicBezTo>
                      <a:pt x="174959" y="5608320"/>
                      <a:pt x="0" y="5433361"/>
                      <a:pt x="0" y="5217538"/>
                    </a:cubicBezTo>
                    <a:lnTo>
                      <a:pt x="0" y="390782"/>
                    </a:lnTo>
                    <a:cubicBezTo>
                      <a:pt x="0" y="174959"/>
                      <a:pt x="174959" y="0"/>
                      <a:pt x="39078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reeform 16"/>
              <p:cNvSpPr>
                <a:spLocks noChangeAspect="1"/>
              </p:cNvSpPr>
              <p:nvPr/>
            </p:nvSpPr>
            <p:spPr bwMode="auto">
              <a:xfrm>
                <a:off x="6664745" y="3550184"/>
                <a:ext cx="401365" cy="497902"/>
              </a:xfrm>
              <a:custGeom>
                <a:avLst/>
                <a:gdLst>
                  <a:gd name="connsiteX0" fmla="*/ 2890560 w 3978276"/>
                  <a:gd name="connsiteY0" fmla="*/ 1233488 h 5138738"/>
                  <a:gd name="connsiteX1" fmla="*/ 3846068 w 3978276"/>
                  <a:gd name="connsiteY1" fmla="*/ 1746171 h 5138738"/>
                  <a:gd name="connsiteX2" fmla="*/ 3317233 w 3978276"/>
                  <a:gd name="connsiteY2" fmla="*/ 2720901 h 5138738"/>
                  <a:gd name="connsiteX3" fmla="*/ 3978276 w 3978276"/>
                  <a:gd name="connsiteY3" fmla="*/ 3765255 h 5138738"/>
                  <a:gd name="connsiteX4" fmla="*/ 2896570 w 3978276"/>
                  <a:gd name="connsiteY4" fmla="*/ 5126079 h 5138738"/>
                  <a:gd name="connsiteX5" fmla="*/ 2091299 w 3978276"/>
                  <a:gd name="connsiteY5" fmla="*/ 4923538 h 5138738"/>
                  <a:gd name="connsiteX6" fmla="*/ 1280019 w 3978276"/>
                  <a:gd name="connsiteY6" fmla="*/ 5138738 h 5138738"/>
                  <a:gd name="connsiteX7" fmla="*/ 0 w 3978276"/>
                  <a:gd name="connsiteY7" fmla="*/ 2809513 h 5138738"/>
                  <a:gd name="connsiteX8" fmla="*/ 1171849 w 3978276"/>
                  <a:gd name="connsiteY8" fmla="*/ 1246147 h 5138738"/>
                  <a:gd name="connsiteX9" fmla="*/ 2025195 w 3978276"/>
                  <a:gd name="connsiteY9" fmla="*/ 1474006 h 5138738"/>
                  <a:gd name="connsiteX10" fmla="*/ 2890560 w 3978276"/>
                  <a:gd name="connsiteY10" fmla="*/ 1233488 h 5138738"/>
                  <a:gd name="connsiteX11" fmla="*/ 2962856 w 3978276"/>
                  <a:gd name="connsiteY11" fmla="*/ 0 h 5138738"/>
                  <a:gd name="connsiteX12" fmla="*/ 2710494 w 3978276"/>
                  <a:gd name="connsiteY12" fmla="*/ 822374 h 5138738"/>
                  <a:gd name="connsiteX13" fmla="*/ 1983453 w 3978276"/>
                  <a:gd name="connsiteY13" fmla="*/ 1182953 h 5138738"/>
                  <a:gd name="connsiteX14" fmla="*/ 2193754 w 3978276"/>
                  <a:gd name="connsiteY14" fmla="*/ 449143 h 5138738"/>
                  <a:gd name="connsiteX15" fmla="*/ 2962856 w 3978276"/>
                  <a:gd name="connsiteY15" fmla="*/ 0 h 513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78276" h="5138738">
                    <a:moveTo>
                      <a:pt x="2890560" y="1233488"/>
                    </a:moveTo>
                    <a:cubicBezTo>
                      <a:pt x="3575641" y="1233488"/>
                      <a:pt x="3846068" y="1746171"/>
                      <a:pt x="3846068" y="1746171"/>
                    </a:cubicBezTo>
                    <a:cubicBezTo>
                      <a:pt x="3846068" y="1746171"/>
                      <a:pt x="3317233" y="2030995"/>
                      <a:pt x="3317233" y="2720901"/>
                    </a:cubicBezTo>
                    <a:cubicBezTo>
                      <a:pt x="3317233" y="3499419"/>
                      <a:pt x="3978276" y="3765255"/>
                      <a:pt x="3978276" y="3765255"/>
                    </a:cubicBezTo>
                    <a:cubicBezTo>
                      <a:pt x="3978276" y="3765255"/>
                      <a:pt x="3515546" y="5126079"/>
                      <a:pt x="2896570" y="5126079"/>
                    </a:cubicBezTo>
                    <a:cubicBezTo>
                      <a:pt x="2614124" y="5126079"/>
                      <a:pt x="2391773" y="4923538"/>
                      <a:pt x="2091299" y="4923538"/>
                    </a:cubicBezTo>
                    <a:cubicBezTo>
                      <a:pt x="1784816" y="4923538"/>
                      <a:pt x="1478332" y="5138738"/>
                      <a:pt x="1280019" y="5138738"/>
                    </a:cubicBezTo>
                    <a:cubicBezTo>
                      <a:pt x="715128" y="5138738"/>
                      <a:pt x="0" y="3847537"/>
                      <a:pt x="0" y="2809513"/>
                    </a:cubicBezTo>
                    <a:cubicBezTo>
                      <a:pt x="0" y="1784147"/>
                      <a:pt x="606957" y="1246147"/>
                      <a:pt x="1171849" y="1246147"/>
                    </a:cubicBezTo>
                    <a:cubicBezTo>
                      <a:pt x="1544436" y="1246147"/>
                      <a:pt x="1832891" y="1474006"/>
                      <a:pt x="2025195" y="1474006"/>
                    </a:cubicBezTo>
                    <a:cubicBezTo>
                      <a:pt x="2187451" y="1474006"/>
                      <a:pt x="2493934" y="1233488"/>
                      <a:pt x="2890560" y="1233488"/>
                    </a:cubicBezTo>
                    <a:close/>
                    <a:moveTo>
                      <a:pt x="2962856" y="0"/>
                    </a:moveTo>
                    <a:cubicBezTo>
                      <a:pt x="2962856" y="0"/>
                      <a:pt x="3028950" y="417513"/>
                      <a:pt x="2710494" y="822374"/>
                    </a:cubicBezTo>
                    <a:cubicBezTo>
                      <a:pt x="2368004" y="1252538"/>
                      <a:pt x="1983453" y="1182953"/>
                      <a:pt x="1983453" y="1182953"/>
                    </a:cubicBezTo>
                    <a:cubicBezTo>
                      <a:pt x="1983453" y="1182953"/>
                      <a:pt x="1911350" y="841351"/>
                      <a:pt x="2193754" y="449143"/>
                    </a:cubicBezTo>
                    <a:cubicBezTo>
                      <a:pt x="2512210" y="0"/>
                      <a:pt x="2962856" y="0"/>
                      <a:pt x="2962856" y="0"/>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US"/>
              </a:p>
            </p:txBody>
          </p:sp>
        </p:grpSp>
        <p:grpSp>
          <p:nvGrpSpPr>
            <p:cNvPr id="9" name="Group 8"/>
            <p:cNvGrpSpPr/>
            <p:nvPr/>
          </p:nvGrpSpPr>
          <p:grpSpPr>
            <a:xfrm>
              <a:off x="10343949" y="3083309"/>
              <a:ext cx="737003" cy="1414737"/>
              <a:chOff x="9726111" y="3083309"/>
              <a:chExt cx="737003" cy="1414737"/>
            </a:xfrm>
            <a:grpFill/>
          </p:grpSpPr>
          <p:sp>
            <p:nvSpPr>
              <p:cNvPr id="14" name="Rounded Rectangle 2"/>
              <p:cNvSpPr>
                <a:spLocks noChangeAspect="1"/>
              </p:cNvSpPr>
              <p:nvPr/>
            </p:nvSpPr>
            <p:spPr>
              <a:xfrm>
                <a:off x="9726111" y="3083309"/>
                <a:ext cx="737003" cy="1414737"/>
              </a:xfrm>
              <a:custGeom>
                <a:avLst/>
                <a:gdLst/>
                <a:ahLst/>
                <a:cxnLst/>
                <a:rect l="l" t="t" r="r" b="b"/>
                <a:pathLst>
                  <a:path w="7301457" h="14015733">
                    <a:moveTo>
                      <a:pt x="2691854" y="13044249"/>
                    </a:moveTo>
                    <a:lnTo>
                      <a:pt x="2691854" y="13099495"/>
                    </a:lnTo>
                    <a:lnTo>
                      <a:pt x="3030944" y="13099495"/>
                    </a:lnTo>
                    <a:lnTo>
                      <a:pt x="3030944" y="13044249"/>
                    </a:lnTo>
                    <a:close/>
                    <a:moveTo>
                      <a:pt x="2691854" y="12926138"/>
                    </a:moveTo>
                    <a:lnTo>
                      <a:pt x="2691854" y="12981384"/>
                    </a:lnTo>
                    <a:lnTo>
                      <a:pt x="3030944" y="12981384"/>
                    </a:lnTo>
                    <a:lnTo>
                      <a:pt x="3030944" y="12926138"/>
                    </a:lnTo>
                    <a:close/>
                    <a:moveTo>
                      <a:pt x="4586375" y="12902291"/>
                    </a:moveTo>
                    <a:lnTo>
                      <a:pt x="4586375" y="13053772"/>
                    </a:lnTo>
                    <a:lnTo>
                      <a:pt x="4384445" y="13053772"/>
                    </a:lnTo>
                    <a:lnTo>
                      <a:pt x="4384445" y="12910663"/>
                    </a:lnTo>
                    <a:lnTo>
                      <a:pt x="4337773" y="12957335"/>
                    </a:lnTo>
                    <a:lnTo>
                      <a:pt x="4337773" y="13101400"/>
                    </a:lnTo>
                    <a:lnTo>
                      <a:pt x="4633048" y="13101400"/>
                    </a:lnTo>
                    <a:lnTo>
                      <a:pt x="4633048" y="12948964"/>
                    </a:lnTo>
                    <a:close/>
                    <a:moveTo>
                      <a:pt x="2691854" y="12808027"/>
                    </a:moveTo>
                    <a:lnTo>
                      <a:pt x="2691854" y="12863273"/>
                    </a:lnTo>
                    <a:lnTo>
                      <a:pt x="3030944" y="12863273"/>
                    </a:lnTo>
                    <a:lnTo>
                      <a:pt x="3030944" y="12808027"/>
                    </a:lnTo>
                    <a:close/>
                    <a:moveTo>
                      <a:pt x="6094501" y="12750878"/>
                    </a:moveTo>
                    <a:cubicBezTo>
                      <a:pt x="6146579" y="12750878"/>
                      <a:pt x="6188798" y="12793097"/>
                      <a:pt x="6188798" y="12845175"/>
                    </a:cubicBezTo>
                    <a:cubicBezTo>
                      <a:pt x="6188797" y="12897254"/>
                      <a:pt x="6146579" y="12939472"/>
                      <a:pt x="6094501" y="12939472"/>
                    </a:cubicBezTo>
                    <a:cubicBezTo>
                      <a:pt x="6042422" y="12939473"/>
                      <a:pt x="6000203" y="12897254"/>
                      <a:pt x="6000204" y="12845175"/>
                    </a:cubicBezTo>
                    <a:cubicBezTo>
                      <a:pt x="6000203" y="12793096"/>
                      <a:pt x="6042421" y="12750878"/>
                      <a:pt x="6094501" y="12750878"/>
                    </a:cubicBezTo>
                    <a:close/>
                    <a:moveTo>
                      <a:pt x="6094501" y="12698172"/>
                    </a:moveTo>
                    <a:cubicBezTo>
                      <a:pt x="6013312" y="12698172"/>
                      <a:pt x="5947497" y="12763986"/>
                      <a:pt x="5947497" y="12845175"/>
                    </a:cubicBezTo>
                    <a:cubicBezTo>
                      <a:pt x="5947497" y="12926364"/>
                      <a:pt x="6013312" y="12992178"/>
                      <a:pt x="6094501" y="12992178"/>
                    </a:cubicBezTo>
                    <a:cubicBezTo>
                      <a:pt x="6126899" y="12992178"/>
                      <a:pt x="6156849" y="12981698"/>
                      <a:pt x="6179601" y="12961829"/>
                    </a:cubicBezTo>
                    <a:lnTo>
                      <a:pt x="6299708" y="13081936"/>
                    </a:lnTo>
                    <a:lnTo>
                      <a:pt x="6336977" y="13044668"/>
                    </a:lnTo>
                    <a:lnTo>
                      <a:pt x="6215758" y="12923448"/>
                    </a:lnTo>
                    <a:cubicBezTo>
                      <a:pt x="6232878" y="12901944"/>
                      <a:pt x="6241504" y="12874567"/>
                      <a:pt x="6241504" y="12845175"/>
                    </a:cubicBezTo>
                    <a:cubicBezTo>
                      <a:pt x="6241503" y="12763987"/>
                      <a:pt x="6175689" y="12698172"/>
                      <a:pt x="6094501" y="12698172"/>
                    </a:cubicBezTo>
                    <a:close/>
                    <a:moveTo>
                      <a:pt x="1064652" y="12692616"/>
                    </a:moveTo>
                    <a:lnTo>
                      <a:pt x="964479" y="12792788"/>
                    </a:lnTo>
                    <a:lnTo>
                      <a:pt x="1066398" y="12894706"/>
                    </a:lnTo>
                    <a:lnTo>
                      <a:pt x="1141831" y="12894706"/>
                    </a:lnTo>
                    <a:lnTo>
                      <a:pt x="1065632" y="12818506"/>
                    </a:lnTo>
                    <a:lnTo>
                      <a:pt x="1191669" y="12818506"/>
                    </a:lnTo>
                    <a:cubicBezTo>
                      <a:pt x="1255321" y="12818506"/>
                      <a:pt x="1306922" y="12870107"/>
                      <a:pt x="1306922" y="12933759"/>
                    </a:cubicBezTo>
                    <a:lnTo>
                      <a:pt x="1306921" y="12933759"/>
                    </a:lnTo>
                    <a:cubicBezTo>
                      <a:pt x="1306921" y="12997411"/>
                      <a:pt x="1255320" y="13049012"/>
                      <a:pt x="1191668" y="13049012"/>
                    </a:cubicBezTo>
                    <a:lnTo>
                      <a:pt x="1034504" y="13049011"/>
                    </a:lnTo>
                    <a:lnTo>
                      <a:pt x="1034504" y="13101399"/>
                    </a:lnTo>
                    <a:lnTo>
                      <a:pt x="1198332" y="13101399"/>
                    </a:lnTo>
                    <a:cubicBezTo>
                      <a:pt x="1290919" y="13101398"/>
                      <a:pt x="1365973" y="13026344"/>
                      <a:pt x="1365974" y="12933758"/>
                    </a:cubicBezTo>
                    <a:cubicBezTo>
                      <a:pt x="1365974" y="12841172"/>
                      <a:pt x="1290919" y="12766117"/>
                      <a:pt x="1198333" y="12766117"/>
                    </a:cubicBezTo>
                    <a:lnTo>
                      <a:pt x="1066584" y="12766117"/>
                    </a:lnTo>
                    <a:lnTo>
                      <a:pt x="1140086" y="12692616"/>
                    </a:lnTo>
                    <a:close/>
                    <a:moveTo>
                      <a:pt x="2558504" y="12689917"/>
                    </a:moveTo>
                    <a:lnTo>
                      <a:pt x="2558504" y="12745162"/>
                    </a:lnTo>
                    <a:lnTo>
                      <a:pt x="3030944" y="12745162"/>
                    </a:lnTo>
                    <a:lnTo>
                      <a:pt x="3030944" y="12689917"/>
                    </a:lnTo>
                    <a:close/>
                    <a:moveTo>
                      <a:pt x="4489218" y="12688012"/>
                    </a:moveTo>
                    <a:lnTo>
                      <a:pt x="4384445" y="12792785"/>
                    </a:lnTo>
                    <a:lnTo>
                      <a:pt x="4384445" y="12792443"/>
                    </a:lnTo>
                    <a:lnTo>
                      <a:pt x="4337773" y="12839115"/>
                    </a:lnTo>
                    <a:lnTo>
                      <a:pt x="4337773" y="12839457"/>
                    </a:lnTo>
                    <a:lnTo>
                      <a:pt x="4239429" y="12937801"/>
                    </a:lnTo>
                    <a:lnTo>
                      <a:pt x="4278786" y="12977160"/>
                    </a:lnTo>
                    <a:lnTo>
                      <a:pt x="4489217" y="12766730"/>
                    </a:lnTo>
                    <a:lnTo>
                      <a:pt x="4489776" y="12767289"/>
                    </a:lnTo>
                    <a:lnTo>
                      <a:pt x="4489972" y="12767093"/>
                    </a:lnTo>
                    <a:lnTo>
                      <a:pt x="4700328" y="12977449"/>
                    </a:lnTo>
                    <a:lnTo>
                      <a:pt x="4739491" y="12938285"/>
                    </a:lnTo>
                    <a:lnTo>
                      <a:pt x="4633048" y="12831842"/>
                    </a:lnTo>
                    <a:lnTo>
                      <a:pt x="4633048" y="12703253"/>
                    </a:lnTo>
                    <a:lnTo>
                      <a:pt x="4586375" y="12703253"/>
                    </a:lnTo>
                    <a:lnTo>
                      <a:pt x="4586375" y="12785169"/>
                    </a:lnTo>
                    <a:close/>
                    <a:moveTo>
                      <a:pt x="763357" y="434002"/>
                    </a:moveTo>
                    <a:cubicBezTo>
                      <a:pt x="518012" y="434002"/>
                      <a:pt x="319120" y="632894"/>
                      <a:pt x="319120" y="878239"/>
                    </a:cubicBezTo>
                    <a:lnTo>
                      <a:pt x="319120" y="11324894"/>
                    </a:lnTo>
                    <a:cubicBezTo>
                      <a:pt x="319120" y="11570239"/>
                      <a:pt x="518012" y="11769131"/>
                      <a:pt x="763357" y="11769131"/>
                    </a:cubicBezTo>
                    <a:lnTo>
                      <a:pt x="6538100" y="11769131"/>
                    </a:lnTo>
                    <a:cubicBezTo>
                      <a:pt x="6783445" y="11769131"/>
                      <a:pt x="6982337" y="11570239"/>
                      <a:pt x="6982337" y="11324894"/>
                    </a:cubicBezTo>
                    <a:lnTo>
                      <a:pt x="6982337" y="878239"/>
                    </a:lnTo>
                    <a:cubicBezTo>
                      <a:pt x="6982337" y="632894"/>
                      <a:pt x="6783445" y="434002"/>
                      <a:pt x="6538100" y="434002"/>
                    </a:cubicBezTo>
                    <a:close/>
                    <a:moveTo>
                      <a:pt x="486788" y="0"/>
                    </a:moveTo>
                    <a:lnTo>
                      <a:pt x="6814669" y="0"/>
                    </a:lnTo>
                    <a:cubicBezTo>
                      <a:pt x="7083515" y="0"/>
                      <a:pt x="7301457" y="217942"/>
                      <a:pt x="7301457" y="486788"/>
                    </a:cubicBezTo>
                    <a:lnTo>
                      <a:pt x="7301457" y="13528945"/>
                    </a:lnTo>
                    <a:cubicBezTo>
                      <a:pt x="7301457" y="13797791"/>
                      <a:pt x="7083515" y="14015733"/>
                      <a:pt x="6814669" y="14015733"/>
                    </a:cubicBezTo>
                    <a:lnTo>
                      <a:pt x="486788" y="14015733"/>
                    </a:lnTo>
                    <a:cubicBezTo>
                      <a:pt x="217942" y="14015733"/>
                      <a:pt x="0" y="13797791"/>
                      <a:pt x="0" y="13528945"/>
                    </a:cubicBezTo>
                    <a:lnTo>
                      <a:pt x="0" y="486788"/>
                    </a:lnTo>
                    <a:cubicBezTo>
                      <a:pt x="0" y="217942"/>
                      <a:pt x="217942" y="0"/>
                      <a:pt x="486788"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14"/>
              <p:cNvSpPr>
                <a:spLocks noChangeAspect="1"/>
              </p:cNvSpPr>
              <p:nvPr/>
            </p:nvSpPr>
            <p:spPr bwMode="auto">
              <a:xfrm>
                <a:off x="9841402" y="3486578"/>
                <a:ext cx="506421" cy="608197"/>
              </a:xfrm>
              <a:custGeom>
                <a:avLst/>
                <a:gdLst>
                  <a:gd name="connsiteX0" fmla="*/ 227013 w 1303338"/>
                  <a:gd name="connsiteY0" fmla="*/ 482600 h 1565276"/>
                  <a:gd name="connsiteX1" fmla="*/ 279352 w 1303338"/>
                  <a:gd name="connsiteY1" fmla="*/ 482600 h 1565276"/>
                  <a:gd name="connsiteX2" fmla="*/ 1025572 w 1303338"/>
                  <a:gd name="connsiteY2" fmla="*/ 482600 h 1565276"/>
                  <a:gd name="connsiteX3" fmla="*/ 1077913 w 1303338"/>
                  <a:gd name="connsiteY3" fmla="*/ 482600 h 1565276"/>
                  <a:gd name="connsiteX4" fmla="*/ 1077913 w 1303338"/>
                  <a:gd name="connsiteY4" fmla="*/ 831850 h 1565276"/>
                  <a:gd name="connsiteX5" fmla="*/ 1076325 w 1303338"/>
                  <a:gd name="connsiteY5" fmla="*/ 831850 h 1565276"/>
                  <a:gd name="connsiteX6" fmla="*/ 1076325 w 1303338"/>
                  <a:gd name="connsiteY6" fmla="*/ 1199303 h 1565276"/>
                  <a:gd name="connsiteX7" fmla="*/ 1073153 w 1303338"/>
                  <a:gd name="connsiteY7" fmla="*/ 1215194 h 1565276"/>
                  <a:gd name="connsiteX8" fmla="*/ 1066809 w 1303338"/>
                  <a:gd name="connsiteY8" fmla="*/ 1229497 h 1565276"/>
                  <a:gd name="connsiteX9" fmla="*/ 1055707 w 1303338"/>
                  <a:gd name="connsiteY9" fmla="*/ 1240621 h 1565276"/>
                  <a:gd name="connsiteX10" fmla="*/ 1041433 w 1303338"/>
                  <a:gd name="connsiteY10" fmla="*/ 1247772 h 1565276"/>
                  <a:gd name="connsiteX11" fmla="*/ 1025572 w 1303338"/>
                  <a:gd name="connsiteY11" fmla="*/ 1250950 h 1565276"/>
                  <a:gd name="connsiteX12" fmla="*/ 915988 w 1303338"/>
                  <a:gd name="connsiteY12" fmla="*/ 1250950 h 1565276"/>
                  <a:gd name="connsiteX13" fmla="*/ 915988 w 1303338"/>
                  <a:gd name="connsiteY13" fmla="*/ 1475704 h 1565276"/>
                  <a:gd name="connsiteX14" fmla="*/ 912799 w 1303338"/>
                  <a:gd name="connsiteY14" fmla="*/ 1498691 h 1565276"/>
                  <a:gd name="connsiteX15" fmla="*/ 904029 w 1303338"/>
                  <a:gd name="connsiteY15" fmla="*/ 1520094 h 1565276"/>
                  <a:gd name="connsiteX16" fmla="*/ 890476 w 1303338"/>
                  <a:gd name="connsiteY16" fmla="*/ 1538325 h 1565276"/>
                  <a:gd name="connsiteX17" fmla="*/ 872139 w 1303338"/>
                  <a:gd name="connsiteY17" fmla="*/ 1553386 h 1565276"/>
                  <a:gd name="connsiteX18" fmla="*/ 850614 w 1303338"/>
                  <a:gd name="connsiteY18" fmla="*/ 1562105 h 1565276"/>
                  <a:gd name="connsiteX19" fmla="*/ 825899 w 1303338"/>
                  <a:gd name="connsiteY19" fmla="*/ 1565276 h 1565276"/>
                  <a:gd name="connsiteX20" fmla="*/ 801982 w 1303338"/>
                  <a:gd name="connsiteY20" fmla="*/ 1562105 h 1565276"/>
                  <a:gd name="connsiteX21" fmla="*/ 780456 w 1303338"/>
                  <a:gd name="connsiteY21" fmla="*/ 1553386 h 1565276"/>
                  <a:gd name="connsiteX22" fmla="*/ 762119 w 1303338"/>
                  <a:gd name="connsiteY22" fmla="*/ 1538325 h 1565276"/>
                  <a:gd name="connsiteX23" fmla="*/ 747769 w 1303338"/>
                  <a:gd name="connsiteY23" fmla="*/ 1520094 h 1565276"/>
                  <a:gd name="connsiteX24" fmla="*/ 738202 w 1303338"/>
                  <a:gd name="connsiteY24" fmla="*/ 1498691 h 1565276"/>
                  <a:gd name="connsiteX25" fmla="*/ 735013 w 1303338"/>
                  <a:gd name="connsiteY25" fmla="*/ 1475704 h 1565276"/>
                  <a:gd name="connsiteX26" fmla="*/ 735013 w 1303338"/>
                  <a:gd name="connsiteY26" fmla="*/ 1250950 h 1565276"/>
                  <a:gd name="connsiteX27" fmla="*/ 566738 w 1303338"/>
                  <a:gd name="connsiteY27" fmla="*/ 1250950 h 1565276"/>
                  <a:gd name="connsiteX28" fmla="*/ 566738 w 1303338"/>
                  <a:gd name="connsiteY28" fmla="*/ 1475704 h 1565276"/>
                  <a:gd name="connsiteX29" fmla="*/ 562804 w 1303338"/>
                  <a:gd name="connsiteY29" fmla="*/ 1498691 h 1565276"/>
                  <a:gd name="connsiteX30" fmla="*/ 554936 w 1303338"/>
                  <a:gd name="connsiteY30" fmla="*/ 1520094 h 1565276"/>
                  <a:gd name="connsiteX31" fmla="*/ 540774 w 1303338"/>
                  <a:gd name="connsiteY31" fmla="*/ 1538325 h 1565276"/>
                  <a:gd name="connsiteX32" fmla="*/ 522678 w 1303338"/>
                  <a:gd name="connsiteY32" fmla="*/ 1553386 h 1565276"/>
                  <a:gd name="connsiteX33" fmla="*/ 501434 w 1303338"/>
                  <a:gd name="connsiteY33" fmla="*/ 1562105 h 1565276"/>
                  <a:gd name="connsiteX34" fmla="*/ 477044 w 1303338"/>
                  <a:gd name="connsiteY34" fmla="*/ 1565276 h 1565276"/>
                  <a:gd name="connsiteX35" fmla="*/ 453440 w 1303338"/>
                  <a:gd name="connsiteY35" fmla="*/ 1562105 h 1565276"/>
                  <a:gd name="connsiteX36" fmla="*/ 432197 w 1303338"/>
                  <a:gd name="connsiteY36" fmla="*/ 1553386 h 1565276"/>
                  <a:gd name="connsiteX37" fmla="*/ 414101 w 1303338"/>
                  <a:gd name="connsiteY37" fmla="*/ 1538325 h 1565276"/>
                  <a:gd name="connsiteX38" fmla="*/ 399939 w 1303338"/>
                  <a:gd name="connsiteY38" fmla="*/ 1520094 h 1565276"/>
                  <a:gd name="connsiteX39" fmla="*/ 390497 w 1303338"/>
                  <a:gd name="connsiteY39" fmla="*/ 1498691 h 1565276"/>
                  <a:gd name="connsiteX40" fmla="*/ 387350 w 1303338"/>
                  <a:gd name="connsiteY40" fmla="*/ 1475704 h 1565276"/>
                  <a:gd name="connsiteX41" fmla="*/ 387350 w 1303338"/>
                  <a:gd name="connsiteY41" fmla="*/ 1250950 h 1565276"/>
                  <a:gd name="connsiteX42" fmla="*/ 279352 w 1303338"/>
                  <a:gd name="connsiteY42" fmla="*/ 1250950 h 1565276"/>
                  <a:gd name="connsiteX43" fmla="*/ 262699 w 1303338"/>
                  <a:gd name="connsiteY43" fmla="*/ 1247772 h 1565276"/>
                  <a:gd name="connsiteX44" fmla="*/ 249218 w 1303338"/>
                  <a:gd name="connsiteY44" fmla="*/ 1240621 h 1565276"/>
                  <a:gd name="connsiteX45" fmla="*/ 238116 w 1303338"/>
                  <a:gd name="connsiteY45" fmla="*/ 1229497 h 1565276"/>
                  <a:gd name="connsiteX46" fmla="*/ 230979 w 1303338"/>
                  <a:gd name="connsiteY46" fmla="*/ 1215194 h 1565276"/>
                  <a:gd name="connsiteX47" fmla="*/ 228600 w 1303338"/>
                  <a:gd name="connsiteY47" fmla="*/ 1199303 h 1565276"/>
                  <a:gd name="connsiteX48" fmla="*/ 228600 w 1303338"/>
                  <a:gd name="connsiteY48" fmla="*/ 831850 h 1565276"/>
                  <a:gd name="connsiteX49" fmla="*/ 227013 w 1303338"/>
                  <a:gd name="connsiteY49" fmla="*/ 831850 h 1565276"/>
                  <a:gd name="connsiteX50" fmla="*/ 1212452 w 1303338"/>
                  <a:gd name="connsiteY50" fmla="*/ 454025 h 1565276"/>
                  <a:gd name="connsiteX51" fmla="*/ 1236369 w 1303338"/>
                  <a:gd name="connsiteY51" fmla="*/ 457200 h 1565276"/>
                  <a:gd name="connsiteX52" fmla="*/ 1259489 w 1303338"/>
                  <a:gd name="connsiteY52" fmla="*/ 466725 h 1565276"/>
                  <a:gd name="connsiteX53" fmla="*/ 1277826 w 1303338"/>
                  <a:gd name="connsiteY53" fmla="*/ 481012 h 1565276"/>
                  <a:gd name="connsiteX54" fmla="*/ 1291379 w 1303338"/>
                  <a:gd name="connsiteY54" fmla="*/ 499269 h 1565276"/>
                  <a:gd name="connsiteX55" fmla="*/ 1300149 w 1303338"/>
                  <a:gd name="connsiteY55" fmla="*/ 520700 h 1565276"/>
                  <a:gd name="connsiteX56" fmla="*/ 1303338 w 1303338"/>
                  <a:gd name="connsiteY56" fmla="*/ 545306 h 1565276"/>
                  <a:gd name="connsiteX57" fmla="*/ 1303338 w 1303338"/>
                  <a:gd name="connsiteY57" fmla="*/ 950119 h 1565276"/>
                  <a:gd name="connsiteX58" fmla="*/ 1300149 w 1303338"/>
                  <a:gd name="connsiteY58" fmla="*/ 973932 h 1565276"/>
                  <a:gd name="connsiteX59" fmla="*/ 1291379 w 1303338"/>
                  <a:gd name="connsiteY59" fmla="*/ 996157 h 1565276"/>
                  <a:gd name="connsiteX60" fmla="*/ 1277826 w 1303338"/>
                  <a:gd name="connsiteY60" fmla="*/ 1014413 h 1565276"/>
                  <a:gd name="connsiteX61" fmla="*/ 1259489 w 1303338"/>
                  <a:gd name="connsiteY61" fmla="*/ 1028701 h 1565276"/>
                  <a:gd name="connsiteX62" fmla="*/ 1236369 w 1303338"/>
                  <a:gd name="connsiteY62" fmla="*/ 1036638 h 1565276"/>
                  <a:gd name="connsiteX63" fmla="*/ 1212452 w 1303338"/>
                  <a:gd name="connsiteY63" fmla="*/ 1039813 h 1565276"/>
                  <a:gd name="connsiteX64" fmla="*/ 1189332 w 1303338"/>
                  <a:gd name="connsiteY64" fmla="*/ 1036638 h 1565276"/>
                  <a:gd name="connsiteX65" fmla="*/ 1167806 w 1303338"/>
                  <a:gd name="connsiteY65" fmla="*/ 1028701 h 1565276"/>
                  <a:gd name="connsiteX66" fmla="*/ 1149469 w 1303338"/>
                  <a:gd name="connsiteY66" fmla="*/ 1014413 h 1565276"/>
                  <a:gd name="connsiteX67" fmla="*/ 1134322 w 1303338"/>
                  <a:gd name="connsiteY67" fmla="*/ 996157 h 1565276"/>
                  <a:gd name="connsiteX68" fmla="*/ 1125552 w 1303338"/>
                  <a:gd name="connsiteY68" fmla="*/ 973932 h 1565276"/>
                  <a:gd name="connsiteX69" fmla="*/ 1122363 w 1303338"/>
                  <a:gd name="connsiteY69" fmla="*/ 950119 h 1565276"/>
                  <a:gd name="connsiteX70" fmla="*/ 1122363 w 1303338"/>
                  <a:gd name="connsiteY70" fmla="*/ 545306 h 1565276"/>
                  <a:gd name="connsiteX71" fmla="*/ 1125552 w 1303338"/>
                  <a:gd name="connsiteY71" fmla="*/ 520700 h 1565276"/>
                  <a:gd name="connsiteX72" fmla="*/ 1134322 w 1303338"/>
                  <a:gd name="connsiteY72" fmla="*/ 499269 h 1565276"/>
                  <a:gd name="connsiteX73" fmla="*/ 1149469 w 1303338"/>
                  <a:gd name="connsiteY73" fmla="*/ 481012 h 1565276"/>
                  <a:gd name="connsiteX74" fmla="*/ 1167806 w 1303338"/>
                  <a:gd name="connsiteY74" fmla="*/ 466725 h 1565276"/>
                  <a:gd name="connsiteX75" fmla="*/ 1189332 w 1303338"/>
                  <a:gd name="connsiteY75" fmla="*/ 457200 h 1565276"/>
                  <a:gd name="connsiteX76" fmla="*/ 90092 w 1303338"/>
                  <a:gd name="connsiteY76" fmla="*/ 454025 h 1565276"/>
                  <a:gd name="connsiteX77" fmla="*/ 114591 w 1303338"/>
                  <a:gd name="connsiteY77" fmla="*/ 457200 h 1565276"/>
                  <a:gd name="connsiteX78" fmla="*/ 135929 w 1303338"/>
                  <a:gd name="connsiteY78" fmla="*/ 466725 h 1565276"/>
                  <a:gd name="connsiteX79" fmla="*/ 154105 w 1303338"/>
                  <a:gd name="connsiteY79" fmla="*/ 481012 h 1565276"/>
                  <a:gd name="connsiteX80" fmla="*/ 168330 w 1303338"/>
                  <a:gd name="connsiteY80" fmla="*/ 499269 h 1565276"/>
                  <a:gd name="connsiteX81" fmla="*/ 177814 w 1303338"/>
                  <a:gd name="connsiteY81" fmla="*/ 520700 h 1565276"/>
                  <a:gd name="connsiteX82" fmla="*/ 180975 w 1303338"/>
                  <a:gd name="connsiteY82" fmla="*/ 545306 h 1565276"/>
                  <a:gd name="connsiteX83" fmla="*/ 180975 w 1303338"/>
                  <a:gd name="connsiteY83" fmla="*/ 950119 h 1565276"/>
                  <a:gd name="connsiteX84" fmla="*/ 177814 w 1303338"/>
                  <a:gd name="connsiteY84" fmla="*/ 973932 h 1565276"/>
                  <a:gd name="connsiteX85" fmla="*/ 168330 w 1303338"/>
                  <a:gd name="connsiteY85" fmla="*/ 996157 h 1565276"/>
                  <a:gd name="connsiteX86" fmla="*/ 154105 w 1303338"/>
                  <a:gd name="connsiteY86" fmla="*/ 1014413 h 1565276"/>
                  <a:gd name="connsiteX87" fmla="*/ 135929 w 1303338"/>
                  <a:gd name="connsiteY87" fmla="*/ 1028701 h 1565276"/>
                  <a:gd name="connsiteX88" fmla="*/ 114591 w 1303338"/>
                  <a:gd name="connsiteY88" fmla="*/ 1036638 h 1565276"/>
                  <a:gd name="connsiteX89" fmla="*/ 90092 w 1303338"/>
                  <a:gd name="connsiteY89" fmla="*/ 1039813 h 1565276"/>
                  <a:gd name="connsiteX90" fmla="*/ 66384 w 1303338"/>
                  <a:gd name="connsiteY90" fmla="*/ 1036638 h 1565276"/>
                  <a:gd name="connsiteX91" fmla="*/ 45046 w 1303338"/>
                  <a:gd name="connsiteY91" fmla="*/ 1028701 h 1565276"/>
                  <a:gd name="connsiteX92" fmla="*/ 26870 w 1303338"/>
                  <a:gd name="connsiteY92" fmla="*/ 1014413 h 1565276"/>
                  <a:gd name="connsiteX93" fmla="*/ 12645 w 1303338"/>
                  <a:gd name="connsiteY93" fmla="*/ 996157 h 1565276"/>
                  <a:gd name="connsiteX94" fmla="*/ 3161 w 1303338"/>
                  <a:gd name="connsiteY94" fmla="*/ 973932 h 1565276"/>
                  <a:gd name="connsiteX95" fmla="*/ 0 w 1303338"/>
                  <a:gd name="connsiteY95" fmla="*/ 950119 h 1565276"/>
                  <a:gd name="connsiteX96" fmla="*/ 0 w 1303338"/>
                  <a:gd name="connsiteY96" fmla="*/ 545306 h 1565276"/>
                  <a:gd name="connsiteX97" fmla="*/ 3161 w 1303338"/>
                  <a:gd name="connsiteY97" fmla="*/ 520700 h 1565276"/>
                  <a:gd name="connsiteX98" fmla="*/ 12645 w 1303338"/>
                  <a:gd name="connsiteY98" fmla="*/ 499269 h 1565276"/>
                  <a:gd name="connsiteX99" fmla="*/ 26870 w 1303338"/>
                  <a:gd name="connsiteY99" fmla="*/ 481012 h 1565276"/>
                  <a:gd name="connsiteX100" fmla="*/ 45046 w 1303338"/>
                  <a:gd name="connsiteY100" fmla="*/ 466725 h 1565276"/>
                  <a:gd name="connsiteX101" fmla="*/ 66384 w 1303338"/>
                  <a:gd name="connsiteY101" fmla="*/ 457200 h 1565276"/>
                  <a:gd name="connsiteX102" fmla="*/ 836614 w 1303338"/>
                  <a:gd name="connsiteY102" fmla="*/ 198439 h 1565276"/>
                  <a:gd name="connsiteX103" fmla="*/ 820739 w 1303338"/>
                  <a:gd name="connsiteY103" fmla="*/ 202377 h 1565276"/>
                  <a:gd name="connsiteX104" fmla="*/ 806451 w 1303338"/>
                  <a:gd name="connsiteY104" fmla="*/ 209465 h 1565276"/>
                  <a:gd name="connsiteX105" fmla="*/ 796133 w 1303338"/>
                  <a:gd name="connsiteY105" fmla="*/ 219704 h 1565276"/>
                  <a:gd name="connsiteX106" fmla="*/ 788195 w 1303338"/>
                  <a:gd name="connsiteY106" fmla="*/ 233881 h 1565276"/>
                  <a:gd name="connsiteX107" fmla="*/ 785814 w 1303338"/>
                  <a:gd name="connsiteY107" fmla="*/ 249633 h 1565276"/>
                  <a:gd name="connsiteX108" fmla="*/ 788195 w 1303338"/>
                  <a:gd name="connsiteY108" fmla="*/ 266172 h 1565276"/>
                  <a:gd name="connsiteX109" fmla="*/ 796133 w 1303338"/>
                  <a:gd name="connsiteY109" fmla="*/ 279562 h 1565276"/>
                  <a:gd name="connsiteX110" fmla="*/ 806451 w 1303338"/>
                  <a:gd name="connsiteY110" fmla="*/ 290588 h 1565276"/>
                  <a:gd name="connsiteX111" fmla="*/ 820739 w 1303338"/>
                  <a:gd name="connsiteY111" fmla="*/ 297676 h 1565276"/>
                  <a:gd name="connsiteX112" fmla="*/ 836614 w 1303338"/>
                  <a:gd name="connsiteY112" fmla="*/ 300039 h 1565276"/>
                  <a:gd name="connsiteX113" fmla="*/ 852489 w 1303338"/>
                  <a:gd name="connsiteY113" fmla="*/ 297676 h 1565276"/>
                  <a:gd name="connsiteX114" fmla="*/ 866777 w 1303338"/>
                  <a:gd name="connsiteY114" fmla="*/ 290588 h 1565276"/>
                  <a:gd name="connsiteX115" fmla="*/ 877095 w 1303338"/>
                  <a:gd name="connsiteY115" fmla="*/ 279562 h 1565276"/>
                  <a:gd name="connsiteX116" fmla="*/ 885033 w 1303338"/>
                  <a:gd name="connsiteY116" fmla="*/ 266172 h 1565276"/>
                  <a:gd name="connsiteX117" fmla="*/ 887414 w 1303338"/>
                  <a:gd name="connsiteY117" fmla="*/ 249633 h 1565276"/>
                  <a:gd name="connsiteX118" fmla="*/ 885033 w 1303338"/>
                  <a:gd name="connsiteY118" fmla="*/ 233881 h 1565276"/>
                  <a:gd name="connsiteX119" fmla="*/ 877095 w 1303338"/>
                  <a:gd name="connsiteY119" fmla="*/ 219704 h 1565276"/>
                  <a:gd name="connsiteX120" fmla="*/ 866777 w 1303338"/>
                  <a:gd name="connsiteY120" fmla="*/ 209465 h 1565276"/>
                  <a:gd name="connsiteX121" fmla="*/ 852489 w 1303338"/>
                  <a:gd name="connsiteY121" fmla="*/ 202377 h 1565276"/>
                  <a:gd name="connsiteX122" fmla="*/ 465932 w 1303338"/>
                  <a:gd name="connsiteY122" fmla="*/ 198439 h 1565276"/>
                  <a:gd name="connsiteX123" fmla="*/ 450057 w 1303338"/>
                  <a:gd name="connsiteY123" fmla="*/ 202377 h 1565276"/>
                  <a:gd name="connsiteX124" fmla="*/ 435770 w 1303338"/>
                  <a:gd name="connsiteY124" fmla="*/ 209465 h 1565276"/>
                  <a:gd name="connsiteX125" fmla="*/ 425451 w 1303338"/>
                  <a:gd name="connsiteY125" fmla="*/ 219704 h 1565276"/>
                  <a:gd name="connsiteX126" fmla="*/ 419101 w 1303338"/>
                  <a:gd name="connsiteY126" fmla="*/ 233881 h 1565276"/>
                  <a:gd name="connsiteX127" fmla="*/ 415926 w 1303338"/>
                  <a:gd name="connsiteY127" fmla="*/ 249633 h 1565276"/>
                  <a:gd name="connsiteX128" fmla="*/ 419101 w 1303338"/>
                  <a:gd name="connsiteY128" fmla="*/ 266172 h 1565276"/>
                  <a:gd name="connsiteX129" fmla="*/ 425451 w 1303338"/>
                  <a:gd name="connsiteY129" fmla="*/ 279562 h 1565276"/>
                  <a:gd name="connsiteX130" fmla="*/ 435770 w 1303338"/>
                  <a:gd name="connsiteY130" fmla="*/ 290588 h 1565276"/>
                  <a:gd name="connsiteX131" fmla="*/ 450057 w 1303338"/>
                  <a:gd name="connsiteY131" fmla="*/ 297676 h 1565276"/>
                  <a:gd name="connsiteX132" fmla="*/ 465932 w 1303338"/>
                  <a:gd name="connsiteY132" fmla="*/ 300039 h 1565276"/>
                  <a:gd name="connsiteX133" fmla="*/ 482601 w 1303338"/>
                  <a:gd name="connsiteY133" fmla="*/ 297676 h 1565276"/>
                  <a:gd name="connsiteX134" fmla="*/ 496095 w 1303338"/>
                  <a:gd name="connsiteY134" fmla="*/ 290588 h 1565276"/>
                  <a:gd name="connsiteX135" fmla="*/ 508001 w 1303338"/>
                  <a:gd name="connsiteY135" fmla="*/ 279562 h 1565276"/>
                  <a:gd name="connsiteX136" fmla="*/ 514351 w 1303338"/>
                  <a:gd name="connsiteY136" fmla="*/ 266172 h 1565276"/>
                  <a:gd name="connsiteX137" fmla="*/ 517526 w 1303338"/>
                  <a:gd name="connsiteY137" fmla="*/ 249633 h 1565276"/>
                  <a:gd name="connsiteX138" fmla="*/ 514351 w 1303338"/>
                  <a:gd name="connsiteY138" fmla="*/ 233881 h 1565276"/>
                  <a:gd name="connsiteX139" fmla="*/ 508001 w 1303338"/>
                  <a:gd name="connsiteY139" fmla="*/ 219704 h 1565276"/>
                  <a:gd name="connsiteX140" fmla="*/ 496095 w 1303338"/>
                  <a:gd name="connsiteY140" fmla="*/ 209465 h 1565276"/>
                  <a:gd name="connsiteX141" fmla="*/ 482601 w 1303338"/>
                  <a:gd name="connsiteY141" fmla="*/ 202377 h 1565276"/>
                  <a:gd name="connsiteX142" fmla="*/ 386457 w 1303338"/>
                  <a:gd name="connsiteY142" fmla="*/ 0 h 1565276"/>
                  <a:gd name="connsiteX143" fmla="*/ 388819 w 1303338"/>
                  <a:gd name="connsiteY143" fmla="*/ 804 h 1565276"/>
                  <a:gd name="connsiteX144" fmla="*/ 389606 w 1303338"/>
                  <a:gd name="connsiteY144" fmla="*/ 804 h 1565276"/>
                  <a:gd name="connsiteX145" fmla="*/ 463577 w 1303338"/>
                  <a:gd name="connsiteY145" fmla="*/ 107649 h 1565276"/>
                  <a:gd name="connsiteX146" fmla="*/ 477044 w 1303338"/>
                  <a:gd name="connsiteY146" fmla="*/ 102336 h 1565276"/>
                  <a:gd name="connsiteX147" fmla="*/ 515938 w 1303338"/>
                  <a:gd name="connsiteY147" fmla="*/ 91248 h 1565276"/>
                  <a:gd name="connsiteX148" fmla="*/ 556419 w 1303338"/>
                  <a:gd name="connsiteY148" fmla="*/ 82536 h 1565276"/>
                  <a:gd name="connsiteX149" fmla="*/ 602457 w 1303338"/>
                  <a:gd name="connsiteY149" fmla="*/ 77784 h 1565276"/>
                  <a:gd name="connsiteX150" fmla="*/ 651670 w 1303338"/>
                  <a:gd name="connsiteY150" fmla="*/ 76200 h 1565276"/>
                  <a:gd name="connsiteX151" fmla="*/ 702470 w 1303338"/>
                  <a:gd name="connsiteY151" fmla="*/ 78576 h 1565276"/>
                  <a:gd name="connsiteX152" fmla="*/ 749301 w 1303338"/>
                  <a:gd name="connsiteY152" fmla="*/ 84120 h 1565276"/>
                  <a:gd name="connsiteX153" fmla="*/ 792957 w 1303338"/>
                  <a:gd name="connsiteY153" fmla="*/ 93624 h 1565276"/>
                  <a:gd name="connsiteX154" fmla="*/ 831057 w 1303338"/>
                  <a:gd name="connsiteY154" fmla="*/ 105504 h 1565276"/>
                  <a:gd name="connsiteX155" fmla="*/ 838317 w 1303338"/>
                  <a:gd name="connsiteY155" fmla="*/ 108632 h 1565276"/>
                  <a:gd name="connsiteX156" fmla="*/ 913467 w 1303338"/>
                  <a:gd name="connsiteY156" fmla="*/ 804 h 1565276"/>
                  <a:gd name="connsiteX157" fmla="*/ 915068 w 1303338"/>
                  <a:gd name="connsiteY157" fmla="*/ 804 h 1565276"/>
                  <a:gd name="connsiteX158" fmla="*/ 916669 w 1303338"/>
                  <a:gd name="connsiteY158" fmla="*/ 0 h 1565276"/>
                  <a:gd name="connsiteX159" fmla="*/ 919070 w 1303338"/>
                  <a:gd name="connsiteY159" fmla="*/ 804 h 1565276"/>
                  <a:gd name="connsiteX160" fmla="*/ 922272 w 1303338"/>
                  <a:gd name="connsiteY160" fmla="*/ 804 h 1565276"/>
                  <a:gd name="connsiteX161" fmla="*/ 924673 w 1303338"/>
                  <a:gd name="connsiteY161" fmla="*/ 3216 h 1565276"/>
                  <a:gd name="connsiteX162" fmla="*/ 927074 w 1303338"/>
                  <a:gd name="connsiteY162" fmla="*/ 4824 h 1565276"/>
                  <a:gd name="connsiteX163" fmla="*/ 928675 w 1303338"/>
                  <a:gd name="connsiteY163" fmla="*/ 7235 h 1565276"/>
                  <a:gd name="connsiteX164" fmla="*/ 930276 w 1303338"/>
                  <a:gd name="connsiteY164" fmla="*/ 10451 h 1565276"/>
                  <a:gd name="connsiteX165" fmla="*/ 928675 w 1303338"/>
                  <a:gd name="connsiteY165" fmla="*/ 12059 h 1565276"/>
                  <a:gd name="connsiteX166" fmla="*/ 856045 w 1303338"/>
                  <a:gd name="connsiteY166" fmla="*/ 116271 h 1565276"/>
                  <a:gd name="connsiteX167" fmla="*/ 865982 w 1303338"/>
                  <a:gd name="connsiteY167" fmla="*/ 120552 h 1565276"/>
                  <a:gd name="connsiteX168" fmla="*/ 897732 w 1303338"/>
                  <a:gd name="connsiteY168" fmla="*/ 137183 h 1565276"/>
                  <a:gd name="connsiteX169" fmla="*/ 925513 w 1303338"/>
                  <a:gd name="connsiteY169" fmla="*/ 155399 h 1565276"/>
                  <a:gd name="connsiteX170" fmla="*/ 950120 w 1303338"/>
                  <a:gd name="connsiteY170" fmla="*/ 175991 h 1565276"/>
                  <a:gd name="connsiteX171" fmla="*/ 971551 w 1303338"/>
                  <a:gd name="connsiteY171" fmla="*/ 198167 h 1565276"/>
                  <a:gd name="connsiteX172" fmla="*/ 991395 w 1303338"/>
                  <a:gd name="connsiteY172" fmla="*/ 220342 h 1565276"/>
                  <a:gd name="connsiteX173" fmla="*/ 1008063 w 1303338"/>
                  <a:gd name="connsiteY173" fmla="*/ 243310 h 1565276"/>
                  <a:gd name="connsiteX174" fmla="*/ 1022351 w 1303338"/>
                  <a:gd name="connsiteY174" fmla="*/ 267070 h 1565276"/>
                  <a:gd name="connsiteX175" fmla="*/ 1034257 w 1303338"/>
                  <a:gd name="connsiteY175" fmla="*/ 290038 h 1565276"/>
                  <a:gd name="connsiteX176" fmla="*/ 1043782 w 1303338"/>
                  <a:gd name="connsiteY176" fmla="*/ 313005 h 1565276"/>
                  <a:gd name="connsiteX177" fmla="*/ 1052514 w 1303338"/>
                  <a:gd name="connsiteY177" fmla="*/ 334389 h 1565276"/>
                  <a:gd name="connsiteX178" fmla="*/ 1058864 w 1303338"/>
                  <a:gd name="connsiteY178" fmla="*/ 354189 h 1565276"/>
                  <a:gd name="connsiteX179" fmla="*/ 1064420 w 1303338"/>
                  <a:gd name="connsiteY179" fmla="*/ 373989 h 1565276"/>
                  <a:gd name="connsiteX180" fmla="*/ 1067595 w 1303338"/>
                  <a:gd name="connsiteY180" fmla="*/ 389829 h 1565276"/>
                  <a:gd name="connsiteX181" fmla="*/ 1069976 w 1303338"/>
                  <a:gd name="connsiteY181" fmla="*/ 404876 h 1565276"/>
                  <a:gd name="connsiteX182" fmla="*/ 1071564 w 1303338"/>
                  <a:gd name="connsiteY182" fmla="*/ 416756 h 1565276"/>
                  <a:gd name="connsiteX183" fmla="*/ 1073151 w 1303338"/>
                  <a:gd name="connsiteY183" fmla="*/ 426260 h 1565276"/>
                  <a:gd name="connsiteX184" fmla="*/ 1073151 w 1303338"/>
                  <a:gd name="connsiteY184" fmla="*/ 431012 h 1565276"/>
                  <a:gd name="connsiteX185" fmla="*/ 1073151 w 1303338"/>
                  <a:gd name="connsiteY185" fmla="*/ 433388 h 1565276"/>
                  <a:gd name="connsiteX186" fmla="*/ 230188 w 1303338"/>
                  <a:gd name="connsiteY186" fmla="*/ 433388 h 1565276"/>
                  <a:gd name="connsiteX187" fmla="*/ 230188 w 1303338"/>
                  <a:gd name="connsiteY187" fmla="*/ 431012 h 1565276"/>
                  <a:gd name="connsiteX188" fmla="*/ 230188 w 1303338"/>
                  <a:gd name="connsiteY188" fmla="*/ 426260 h 1565276"/>
                  <a:gd name="connsiteX189" fmla="*/ 230982 w 1303338"/>
                  <a:gd name="connsiteY189" fmla="*/ 417548 h 1565276"/>
                  <a:gd name="connsiteX190" fmla="*/ 233363 w 1303338"/>
                  <a:gd name="connsiteY190" fmla="*/ 406460 h 1565276"/>
                  <a:gd name="connsiteX191" fmla="*/ 235744 w 1303338"/>
                  <a:gd name="connsiteY191" fmla="*/ 392997 h 1565276"/>
                  <a:gd name="connsiteX192" fmla="*/ 237332 w 1303338"/>
                  <a:gd name="connsiteY192" fmla="*/ 377157 h 1565276"/>
                  <a:gd name="connsiteX193" fmla="*/ 242094 w 1303338"/>
                  <a:gd name="connsiteY193" fmla="*/ 359733 h 1565276"/>
                  <a:gd name="connsiteX194" fmla="*/ 248444 w 1303338"/>
                  <a:gd name="connsiteY194" fmla="*/ 340725 h 1565276"/>
                  <a:gd name="connsiteX195" fmla="*/ 254794 w 1303338"/>
                  <a:gd name="connsiteY195" fmla="*/ 320133 h 1565276"/>
                  <a:gd name="connsiteX196" fmla="*/ 263526 w 1303338"/>
                  <a:gd name="connsiteY196" fmla="*/ 298750 h 1565276"/>
                  <a:gd name="connsiteX197" fmla="*/ 273844 w 1303338"/>
                  <a:gd name="connsiteY197" fmla="*/ 276574 h 1565276"/>
                  <a:gd name="connsiteX198" fmla="*/ 285751 w 1303338"/>
                  <a:gd name="connsiteY198" fmla="*/ 253606 h 1565276"/>
                  <a:gd name="connsiteX199" fmla="*/ 300832 w 1303338"/>
                  <a:gd name="connsiteY199" fmla="*/ 232222 h 1565276"/>
                  <a:gd name="connsiteX200" fmla="*/ 318294 w 1303338"/>
                  <a:gd name="connsiteY200" fmla="*/ 210047 h 1565276"/>
                  <a:gd name="connsiteX201" fmla="*/ 337344 w 1303338"/>
                  <a:gd name="connsiteY201" fmla="*/ 188663 h 1565276"/>
                  <a:gd name="connsiteX202" fmla="*/ 358776 w 1303338"/>
                  <a:gd name="connsiteY202" fmla="*/ 168071 h 1565276"/>
                  <a:gd name="connsiteX203" fmla="*/ 383382 w 1303338"/>
                  <a:gd name="connsiteY203" fmla="*/ 149063 h 1565276"/>
                  <a:gd name="connsiteX204" fmla="*/ 411163 w 1303338"/>
                  <a:gd name="connsiteY204" fmla="*/ 131639 h 1565276"/>
                  <a:gd name="connsiteX205" fmla="*/ 442913 w 1303338"/>
                  <a:gd name="connsiteY205" fmla="*/ 115800 h 1565276"/>
                  <a:gd name="connsiteX206" fmla="*/ 445710 w 1303338"/>
                  <a:gd name="connsiteY206" fmla="*/ 114697 h 1565276"/>
                  <a:gd name="connsiteX207" fmla="*/ 374651 w 1303338"/>
                  <a:gd name="connsiteY207" fmla="*/ 12059 h 1565276"/>
                  <a:gd name="connsiteX208" fmla="*/ 374651 w 1303338"/>
                  <a:gd name="connsiteY208" fmla="*/ 10451 h 1565276"/>
                  <a:gd name="connsiteX209" fmla="*/ 374651 w 1303338"/>
                  <a:gd name="connsiteY209" fmla="*/ 7235 h 1565276"/>
                  <a:gd name="connsiteX210" fmla="*/ 377012 w 1303338"/>
                  <a:gd name="connsiteY210" fmla="*/ 4824 h 1565276"/>
                  <a:gd name="connsiteX211" fmla="*/ 380161 w 1303338"/>
                  <a:gd name="connsiteY211" fmla="*/ 3216 h 1565276"/>
                  <a:gd name="connsiteX212" fmla="*/ 381735 w 1303338"/>
                  <a:gd name="connsiteY212" fmla="*/ 804 h 1565276"/>
                  <a:gd name="connsiteX213" fmla="*/ 384096 w 1303338"/>
                  <a:gd name="connsiteY213" fmla="*/ 804 h 1565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Lst>
                <a:rect l="l" t="t" r="r" b="b"/>
                <a:pathLst>
                  <a:path w="1303338" h="1565276">
                    <a:moveTo>
                      <a:pt x="227013" y="482600"/>
                    </a:moveTo>
                    <a:lnTo>
                      <a:pt x="279352" y="482600"/>
                    </a:lnTo>
                    <a:lnTo>
                      <a:pt x="1025572" y="482600"/>
                    </a:lnTo>
                    <a:lnTo>
                      <a:pt x="1077913" y="482600"/>
                    </a:lnTo>
                    <a:lnTo>
                      <a:pt x="1077913" y="831850"/>
                    </a:lnTo>
                    <a:lnTo>
                      <a:pt x="1076325" y="831850"/>
                    </a:lnTo>
                    <a:lnTo>
                      <a:pt x="1076325" y="1199303"/>
                    </a:lnTo>
                    <a:lnTo>
                      <a:pt x="1073153" y="1215194"/>
                    </a:lnTo>
                    <a:lnTo>
                      <a:pt x="1066809" y="1229497"/>
                    </a:lnTo>
                    <a:lnTo>
                      <a:pt x="1055707" y="1240621"/>
                    </a:lnTo>
                    <a:lnTo>
                      <a:pt x="1041433" y="1247772"/>
                    </a:lnTo>
                    <a:lnTo>
                      <a:pt x="1025572" y="1250950"/>
                    </a:lnTo>
                    <a:lnTo>
                      <a:pt x="915988" y="1250950"/>
                    </a:lnTo>
                    <a:lnTo>
                      <a:pt x="915988" y="1475704"/>
                    </a:lnTo>
                    <a:lnTo>
                      <a:pt x="912799" y="1498691"/>
                    </a:lnTo>
                    <a:lnTo>
                      <a:pt x="904029" y="1520094"/>
                    </a:lnTo>
                    <a:lnTo>
                      <a:pt x="890476" y="1538325"/>
                    </a:lnTo>
                    <a:lnTo>
                      <a:pt x="872139" y="1553386"/>
                    </a:lnTo>
                    <a:lnTo>
                      <a:pt x="850614" y="1562105"/>
                    </a:lnTo>
                    <a:lnTo>
                      <a:pt x="825899" y="1565276"/>
                    </a:lnTo>
                    <a:lnTo>
                      <a:pt x="801982" y="1562105"/>
                    </a:lnTo>
                    <a:lnTo>
                      <a:pt x="780456" y="1553386"/>
                    </a:lnTo>
                    <a:lnTo>
                      <a:pt x="762119" y="1538325"/>
                    </a:lnTo>
                    <a:lnTo>
                      <a:pt x="747769" y="1520094"/>
                    </a:lnTo>
                    <a:lnTo>
                      <a:pt x="738202" y="1498691"/>
                    </a:lnTo>
                    <a:lnTo>
                      <a:pt x="735013" y="1475704"/>
                    </a:lnTo>
                    <a:lnTo>
                      <a:pt x="735013" y="1250950"/>
                    </a:lnTo>
                    <a:lnTo>
                      <a:pt x="566738" y="1250950"/>
                    </a:lnTo>
                    <a:lnTo>
                      <a:pt x="566738" y="1475704"/>
                    </a:lnTo>
                    <a:lnTo>
                      <a:pt x="562804" y="1498691"/>
                    </a:lnTo>
                    <a:lnTo>
                      <a:pt x="554936" y="1520094"/>
                    </a:lnTo>
                    <a:lnTo>
                      <a:pt x="540774" y="1538325"/>
                    </a:lnTo>
                    <a:lnTo>
                      <a:pt x="522678" y="1553386"/>
                    </a:lnTo>
                    <a:lnTo>
                      <a:pt x="501434" y="1562105"/>
                    </a:lnTo>
                    <a:lnTo>
                      <a:pt x="477044" y="1565276"/>
                    </a:lnTo>
                    <a:lnTo>
                      <a:pt x="453440" y="1562105"/>
                    </a:lnTo>
                    <a:lnTo>
                      <a:pt x="432197" y="1553386"/>
                    </a:lnTo>
                    <a:lnTo>
                      <a:pt x="414101" y="1538325"/>
                    </a:lnTo>
                    <a:lnTo>
                      <a:pt x="399939" y="1520094"/>
                    </a:lnTo>
                    <a:lnTo>
                      <a:pt x="390497" y="1498691"/>
                    </a:lnTo>
                    <a:lnTo>
                      <a:pt x="387350" y="1475704"/>
                    </a:lnTo>
                    <a:lnTo>
                      <a:pt x="387350" y="1250950"/>
                    </a:lnTo>
                    <a:lnTo>
                      <a:pt x="279352" y="1250950"/>
                    </a:lnTo>
                    <a:lnTo>
                      <a:pt x="262699" y="1247772"/>
                    </a:lnTo>
                    <a:lnTo>
                      <a:pt x="249218" y="1240621"/>
                    </a:lnTo>
                    <a:lnTo>
                      <a:pt x="238116" y="1229497"/>
                    </a:lnTo>
                    <a:lnTo>
                      <a:pt x="230979" y="1215194"/>
                    </a:lnTo>
                    <a:lnTo>
                      <a:pt x="228600" y="1199303"/>
                    </a:lnTo>
                    <a:lnTo>
                      <a:pt x="228600" y="831850"/>
                    </a:lnTo>
                    <a:lnTo>
                      <a:pt x="227013" y="831850"/>
                    </a:lnTo>
                    <a:close/>
                    <a:moveTo>
                      <a:pt x="1212452" y="454025"/>
                    </a:moveTo>
                    <a:lnTo>
                      <a:pt x="1236369" y="457200"/>
                    </a:lnTo>
                    <a:lnTo>
                      <a:pt x="1259489" y="466725"/>
                    </a:lnTo>
                    <a:lnTo>
                      <a:pt x="1277826" y="481012"/>
                    </a:lnTo>
                    <a:lnTo>
                      <a:pt x="1291379" y="499269"/>
                    </a:lnTo>
                    <a:lnTo>
                      <a:pt x="1300149" y="520700"/>
                    </a:lnTo>
                    <a:lnTo>
                      <a:pt x="1303338" y="545306"/>
                    </a:lnTo>
                    <a:lnTo>
                      <a:pt x="1303338" y="950119"/>
                    </a:lnTo>
                    <a:lnTo>
                      <a:pt x="1300149" y="973932"/>
                    </a:lnTo>
                    <a:lnTo>
                      <a:pt x="1291379" y="996157"/>
                    </a:lnTo>
                    <a:lnTo>
                      <a:pt x="1277826" y="1014413"/>
                    </a:lnTo>
                    <a:lnTo>
                      <a:pt x="1259489" y="1028701"/>
                    </a:lnTo>
                    <a:lnTo>
                      <a:pt x="1236369" y="1036638"/>
                    </a:lnTo>
                    <a:lnTo>
                      <a:pt x="1212452" y="1039813"/>
                    </a:lnTo>
                    <a:lnTo>
                      <a:pt x="1189332" y="1036638"/>
                    </a:lnTo>
                    <a:lnTo>
                      <a:pt x="1167806" y="1028701"/>
                    </a:lnTo>
                    <a:lnTo>
                      <a:pt x="1149469" y="1014413"/>
                    </a:lnTo>
                    <a:lnTo>
                      <a:pt x="1134322" y="996157"/>
                    </a:lnTo>
                    <a:lnTo>
                      <a:pt x="1125552" y="973932"/>
                    </a:lnTo>
                    <a:lnTo>
                      <a:pt x="1122363" y="950119"/>
                    </a:lnTo>
                    <a:lnTo>
                      <a:pt x="1122363" y="545306"/>
                    </a:lnTo>
                    <a:lnTo>
                      <a:pt x="1125552" y="520700"/>
                    </a:lnTo>
                    <a:lnTo>
                      <a:pt x="1134322" y="499269"/>
                    </a:lnTo>
                    <a:lnTo>
                      <a:pt x="1149469" y="481012"/>
                    </a:lnTo>
                    <a:lnTo>
                      <a:pt x="1167806" y="466725"/>
                    </a:lnTo>
                    <a:lnTo>
                      <a:pt x="1189332" y="457200"/>
                    </a:lnTo>
                    <a:close/>
                    <a:moveTo>
                      <a:pt x="90092" y="454025"/>
                    </a:moveTo>
                    <a:lnTo>
                      <a:pt x="114591" y="457200"/>
                    </a:lnTo>
                    <a:lnTo>
                      <a:pt x="135929" y="466725"/>
                    </a:lnTo>
                    <a:lnTo>
                      <a:pt x="154105" y="481012"/>
                    </a:lnTo>
                    <a:lnTo>
                      <a:pt x="168330" y="499269"/>
                    </a:lnTo>
                    <a:lnTo>
                      <a:pt x="177814" y="520700"/>
                    </a:lnTo>
                    <a:lnTo>
                      <a:pt x="180975" y="545306"/>
                    </a:lnTo>
                    <a:lnTo>
                      <a:pt x="180975" y="950119"/>
                    </a:lnTo>
                    <a:lnTo>
                      <a:pt x="177814" y="973932"/>
                    </a:lnTo>
                    <a:lnTo>
                      <a:pt x="168330" y="996157"/>
                    </a:lnTo>
                    <a:lnTo>
                      <a:pt x="154105" y="1014413"/>
                    </a:lnTo>
                    <a:lnTo>
                      <a:pt x="135929" y="1028701"/>
                    </a:lnTo>
                    <a:lnTo>
                      <a:pt x="114591" y="1036638"/>
                    </a:lnTo>
                    <a:lnTo>
                      <a:pt x="90092" y="1039813"/>
                    </a:lnTo>
                    <a:lnTo>
                      <a:pt x="66384" y="1036638"/>
                    </a:lnTo>
                    <a:lnTo>
                      <a:pt x="45046" y="1028701"/>
                    </a:lnTo>
                    <a:lnTo>
                      <a:pt x="26870" y="1014413"/>
                    </a:lnTo>
                    <a:lnTo>
                      <a:pt x="12645" y="996157"/>
                    </a:lnTo>
                    <a:lnTo>
                      <a:pt x="3161" y="973932"/>
                    </a:lnTo>
                    <a:lnTo>
                      <a:pt x="0" y="950119"/>
                    </a:lnTo>
                    <a:lnTo>
                      <a:pt x="0" y="545306"/>
                    </a:lnTo>
                    <a:lnTo>
                      <a:pt x="3161" y="520700"/>
                    </a:lnTo>
                    <a:lnTo>
                      <a:pt x="12645" y="499269"/>
                    </a:lnTo>
                    <a:lnTo>
                      <a:pt x="26870" y="481012"/>
                    </a:lnTo>
                    <a:lnTo>
                      <a:pt x="45046" y="466725"/>
                    </a:lnTo>
                    <a:lnTo>
                      <a:pt x="66384" y="457200"/>
                    </a:lnTo>
                    <a:close/>
                    <a:moveTo>
                      <a:pt x="836614" y="198439"/>
                    </a:moveTo>
                    <a:lnTo>
                      <a:pt x="820739" y="202377"/>
                    </a:lnTo>
                    <a:lnTo>
                      <a:pt x="806451" y="209465"/>
                    </a:lnTo>
                    <a:lnTo>
                      <a:pt x="796133" y="219704"/>
                    </a:lnTo>
                    <a:lnTo>
                      <a:pt x="788195" y="233881"/>
                    </a:lnTo>
                    <a:lnTo>
                      <a:pt x="785814" y="249633"/>
                    </a:lnTo>
                    <a:lnTo>
                      <a:pt x="788195" y="266172"/>
                    </a:lnTo>
                    <a:lnTo>
                      <a:pt x="796133" y="279562"/>
                    </a:lnTo>
                    <a:lnTo>
                      <a:pt x="806451" y="290588"/>
                    </a:lnTo>
                    <a:lnTo>
                      <a:pt x="820739" y="297676"/>
                    </a:lnTo>
                    <a:lnTo>
                      <a:pt x="836614" y="300039"/>
                    </a:lnTo>
                    <a:lnTo>
                      <a:pt x="852489" y="297676"/>
                    </a:lnTo>
                    <a:lnTo>
                      <a:pt x="866777" y="290588"/>
                    </a:lnTo>
                    <a:lnTo>
                      <a:pt x="877095" y="279562"/>
                    </a:lnTo>
                    <a:lnTo>
                      <a:pt x="885033" y="266172"/>
                    </a:lnTo>
                    <a:lnTo>
                      <a:pt x="887414" y="249633"/>
                    </a:lnTo>
                    <a:lnTo>
                      <a:pt x="885033" y="233881"/>
                    </a:lnTo>
                    <a:lnTo>
                      <a:pt x="877095" y="219704"/>
                    </a:lnTo>
                    <a:lnTo>
                      <a:pt x="866777" y="209465"/>
                    </a:lnTo>
                    <a:lnTo>
                      <a:pt x="852489" y="202377"/>
                    </a:lnTo>
                    <a:close/>
                    <a:moveTo>
                      <a:pt x="465932" y="198439"/>
                    </a:moveTo>
                    <a:lnTo>
                      <a:pt x="450057" y="202377"/>
                    </a:lnTo>
                    <a:lnTo>
                      <a:pt x="435770" y="209465"/>
                    </a:lnTo>
                    <a:lnTo>
                      <a:pt x="425451" y="219704"/>
                    </a:lnTo>
                    <a:lnTo>
                      <a:pt x="419101" y="233881"/>
                    </a:lnTo>
                    <a:lnTo>
                      <a:pt x="415926" y="249633"/>
                    </a:lnTo>
                    <a:lnTo>
                      <a:pt x="419101" y="266172"/>
                    </a:lnTo>
                    <a:lnTo>
                      <a:pt x="425451" y="279562"/>
                    </a:lnTo>
                    <a:lnTo>
                      <a:pt x="435770" y="290588"/>
                    </a:lnTo>
                    <a:lnTo>
                      <a:pt x="450057" y="297676"/>
                    </a:lnTo>
                    <a:lnTo>
                      <a:pt x="465932" y="300039"/>
                    </a:lnTo>
                    <a:lnTo>
                      <a:pt x="482601" y="297676"/>
                    </a:lnTo>
                    <a:lnTo>
                      <a:pt x="496095" y="290588"/>
                    </a:lnTo>
                    <a:lnTo>
                      <a:pt x="508001" y="279562"/>
                    </a:lnTo>
                    <a:lnTo>
                      <a:pt x="514351" y="266172"/>
                    </a:lnTo>
                    <a:lnTo>
                      <a:pt x="517526" y="249633"/>
                    </a:lnTo>
                    <a:lnTo>
                      <a:pt x="514351" y="233881"/>
                    </a:lnTo>
                    <a:lnTo>
                      <a:pt x="508001" y="219704"/>
                    </a:lnTo>
                    <a:lnTo>
                      <a:pt x="496095" y="209465"/>
                    </a:lnTo>
                    <a:lnTo>
                      <a:pt x="482601" y="202377"/>
                    </a:lnTo>
                    <a:close/>
                    <a:moveTo>
                      <a:pt x="386457" y="0"/>
                    </a:moveTo>
                    <a:lnTo>
                      <a:pt x="388819" y="804"/>
                    </a:lnTo>
                    <a:lnTo>
                      <a:pt x="389606" y="804"/>
                    </a:lnTo>
                    <a:lnTo>
                      <a:pt x="463577" y="107649"/>
                    </a:lnTo>
                    <a:lnTo>
                      <a:pt x="477044" y="102336"/>
                    </a:lnTo>
                    <a:lnTo>
                      <a:pt x="515938" y="91248"/>
                    </a:lnTo>
                    <a:lnTo>
                      <a:pt x="556419" y="82536"/>
                    </a:lnTo>
                    <a:lnTo>
                      <a:pt x="602457" y="77784"/>
                    </a:lnTo>
                    <a:lnTo>
                      <a:pt x="651670" y="76200"/>
                    </a:lnTo>
                    <a:lnTo>
                      <a:pt x="702470" y="78576"/>
                    </a:lnTo>
                    <a:lnTo>
                      <a:pt x="749301" y="84120"/>
                    </a:lnTo>
                    <a:lnTo>
                      <a:pt x="792957" y="93624"/>
                    </a:lnTo>
                    <a:lnTo>
                      <a:pt x="831057" y="105504"/>
                    </a:lnTo>
                    <a:lnTo>
                      <a:pt x="838317" y="108632"/>
                    </a:lnTo>
                    <a:lnTo>
                      <a:pt x="913467" y="804"/>
                    </a:lnTo>
                    <a:lnTo>
                      <a:pt x="915068" y="804"/>
                    </a:lnTo>
                    <a:lnTo>
                      <a:pt x="916669" y="0"/>
                    </a:lnTo>
                    <a:lnTo>
                      <a:pt x="919070" y="804"/>
                    </a:lnTo>
                    <a:lnTo>
                      <a:pt x="922272" y="804"/>
                    </a:lnTo>
                    <a:lnTo>
                      <a:pt x="924673" y="3216"/>
                    </a:lnTo>
                    <a:lnTo>
                      <a:pt x="927074" y="4824"/>
                    </a:lnTo>
                    <a:lnTo>
                      <a:pt x="928675" y="7235"/>
                    </a:lnTo>
                    <a:lnTo>
                      <a:pt x="930276" y="10451"/>
                    </a:lnTo>
                    <a:lnTo>
                      <a:pt x="928675" y="12059"/>
                    </a:lnTo>
                    <a:lnTo>
                      <a:pt x="856045" y="116271"/>
                    </a:lnTo>
                    <a:lnTo>
                      <a:pt x="865982" y="120552"/>
                    </a:lnTo>
                    <a:lnTo>
                      <a:pt x="897732" y="137183"/>
                    </a:lnTo>
                    <a:lnTo>
                      <a:pt x="925513" y="155399"/>
                    </a:lnTo>
                    <a:lnTo>
                      <a:pt x="950120" y="175991"/>
                    </a:lnTo>
                    <a:lnTo>
                      <a:pt x="971551" y="198167"/>
                    </a:lnTo>
                    <a:lnTo>
                      <a:pt x="991395" y="220342"/>
                    </a:lnTo>
                    <a:lnTo>
                      <a:pt x="1008063" y="243310"/>
                    </a:lnTo>
                    <a:lnTo>
                      <a:pt x="1022351" y="267070"/>
                    </a:lnTo>
                    <a:lnTo>
                      <a:pt x="1034257" y="290038"/>
                    </a:lnTo>
                    <a:lnTo>
                      <a:pt x="1043782" y="313005"/>
                    </a:lnTo>
                    <a:lnTo>
                      <a:pt x="1052514" y="334389"/>
                    </a:lnTo>
                    <a:lnTo>
                      <a:pt x="1058864" y="354189"/>
                    </a:lnTo>
                    <a:lnTo>
                      <a:pt x="1064420" y="373989"/>
                    </a:lnTo>
                    <a:lnTo>
                      <a:pt x="1067595" y="389829"/>
                    </a:lnTo>
                    <a:lnTo>
                      <a:pt x="1069976" y="404876"/>
                    </a:lnTo>
                    <a:lnTo>
                      <a:pt x="1071564" y="416756"/>
                    </a:lnTo>
                    <a:lnTo>
                      <a:pt x="1073151" y="426260"/>
                    </a:lnTo>
                    <a:lnTo>
                      <a:pt x="1073151" y="431012"/>
                    </a:lnTo>
                    <a:lnTo>
                      <a:pt x="1073151" y="433388"/>
                    </a:lnTo>
                    <a:lnTo>
                      <a:pt x="230188" y="433388"/>
                    </a:lnTo>
                    <a:lnTo>
                      <a:pt x="230188" y="431012"/>
                    </a:lnTo>
                    <a:lnTo>
                      <a:pt x="230188" y="426260"/>
                    </a:lnTo>
                    <a:lnTo>
                      <a:pt x="230982" y="417548"/>
                    </a:lnTo>
                    <a:lnTo>
                      <a:pt x="233363" y="406460"/>
                    </a:lnTo>
                    <a:lnTo>
                      <a:pt x="235744" y="392997"/>
                    </a:lnTo>
                    <a:lnTo>
                      <a:pt x="237332" y="377157"/>
                    </a:lnTo>
                    <a:lnTo>
                      <a:pt x="242094" y="359733"/>
                    </a:lnTo>
                    <a:lnTo>
                      <a:pt x="248444" y="340725"/>
                    </a:lnTo>
                    <a:lnTo>
                      <a:pt x="254794" y="320133"/>
                    </a:lnTo>
                    <a:lnTo>
                      <a:pt x="263526" y="298750"/>
                    </a:lnTo>
                    <a:lnTo>
                      <a:pt x="273844" y="276574"/>
                    </a:lnTo>
                    <a:lnTo>
                      <a:pt x="285751" y="253606"/>
                    </a:lnTo>
                    <a:lnTo>
                      <a:pt x="300832" y="232222"/>
                    </a:lnTo>
                    <a:lnTo>
                      <a:pt x="318294" y="210047"/>
                    </a:lnTo>
                    <a:lnTo>
                      <a:pt x="337344" y="188663"/>
                    </a:lnTo>
                    <a:lnTo>
                      <a:pt x="358776" y="168071"/>
                    </a:lnTo>
                    <a:lnTo>
                      <a:pt x="383382" y="149063"/>
                    </a:lnTo>
                    <a:lnTo>
                      <a:pt x="411163" y="131639"/>
                    </a:lnTo>
                    <a:lnTo>
                      <a:pt x="442913" y="115800"/>
                    </a:lnTo>
                    <a:lnTo>
                      <a:pt x="445710" y="114697"/>
                    </a:lnTo>
                    <a:lnTo>
                      <a:pt x="374651" y="12059"/>
                    </a:lnTo>
                    <a:lnTo>
                      <a:pt x="374651" y="10451"/>
                    </a:lnTo>
                    <a:lnTo>
                      <a:pt x="374651" y="7235"/>
                    </a:lnTo>
                    <a:lnTo>
                      <a:pt x="377012" y="4824"/>
                    </a:lnTo>
                    <a:lnTo>
                      <a:pt x="380161" y="3216"/>
                    </a:lnTo>
                    <a:lnTo>
                      <a:pt x="381735" y="804"/>
                    </a:lnTo>
                    <a:lnTo>
                      <a:pt x="384096" y="80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grpSp>
          <p:nvGrpSpPr>
            <p:cNvPr id="10" name="Group 9"/>
            <p:cNvGrpSpPr/>
            <p:nvPr/>
          </p:nvGrpSpPr>
          <p:grpSpPr>
            <a:xfrm>
              <a:off x="7950833" y="2928166"/>
              <a:ext cx="2310225" cy="1577327"/>
              <a:chOff x="7326265" y="2928166"/>
              <a:chExt cx="2310225" cy="1577327"/>
            </a:xfrm>
            <a:grpFill/>
          </p:grpSpPr>
          <p:sp>
            <p:nvSpPr>
              <p:cNvPr id="12" name="Freeform 11"/>
              <p:cNvSpPr>
                <a:spLocks noChangeAspect="1"/>
              </p:cNvSpPr>
              <p:nvPr/>
            </p:nvSpPr>
            <p:spPr bwMode="auto">
              <a:xfrm>
                <a:off x="8164135" y="3335830"/>
                <a:ext cx="634485" cy="761999"/>
              </a:xfrm>
              <a:custGeom>
                <a:avLst/>
                <a:gdLst>
                  <a:gd name="connsiteX0" fmla="*/ 227013 w 1303338"/>
                  <a:gd name="connsiteY0" fmla="*/ 482600 h 1565276"/>
                  <a:gd name="connsiteX1" fmla="*/ 279352 w 1303338"/>
                  <a:gd name="connsiteY1" fmla="*/ 482600 h 1565276"/>
                  <a:gd name="connsiteX2" fmla="*/ 1025572 w 1303338"/>
                  <a:gd name="connsiteY2" fmla="*/ 482600 h 1565276"/>
                  <a:gd name="connsiteX3" fmla="*/ 1077913 w 1303338"/>
                  <a:gd name="connsiteY3" fmla="*/ 482600 h 1565276"/>
                  <a:gd name="connsiteX4" fmla="*/ 1077913 w 1303338"/>
                  <a:gd name="connsiteY4" fmla="*/ 831850 h 1565276"/>
                  <a:gd name="connsiteX5" fmla="*/ 1076325 w 1303338"/>
                  <a:gd name="connsiteY5" fmla="*/ 831850 h 1565276"/>
                  <a:gd name="connsiteX6" fmla="*/ 1076325 w 1303338"/>
                  <a:gd name="connsiteY6" fmla="*/ 1199303 h 1565276"/>
                  <a:gd name="connsiteX7" fmla="*/ 1073153 w 1303338"/>
                  <a:gd name="connsiteY7" fmla="*/ 1215194 h 1565276"/>
                  <a:gd name="connsiteX8" fmla="*/ 1066809 w 1303338"/>
                  <a:gd name="connsiteY8" fmla="*/ 1229497 h 1565276"/>
                  <a:gd name="connsiteX9" fmla="*/ 1055707 w 1303338"/>
                  <a:gd name="connsiteY9" fmla="*/ 1240621 h 1565276"/>
                  <a:gd name="connsiteX10" fmla="*/ 1041433 w 1303338"/>
                  <a:gd name="connsiteY10" fmla="*/ 1247772 h 1565276"/>
                  <a:gd name="connsiteX11" fmla="*/ 1025572 w 1303338"/>
                  <a:gd name="connsiteY11" fmla="*/ 1250950 h 1565276"/>
                  <a:gd name="connsiteX12" fmla="*/ 915988 w 1303338"/>
                  <a:gd name="connsiteY12" fmla="*/ 1250950 h 1565276"/>
                  <a:gd name="connsiteX13" fmla="*/ 915988 w 1303338"/>
                  <a:gd name="connsiteY13" fmla="*/ 1475704 h 1565276"/>
                  <a:gd name="connsiteX14" fmla="*/ 912799 w 1303338"/>
                  <a:gd name="connsiteY14" fmla="*/ 1498691 h 1565276"/>
                  <a:gd name="connsiteX15" fmla="*/ 904029 w 1303338"/>
                  <a:gd name="connsiteY15" fmla="*/ 1520094 h 1565276"/>
                  <a:gd name="connsiteX16" fmla="*/ 890476 w 1303338"/>
                  <a:gd name="connsiteY16" fmla="*/ 1538325 h 1565276"/>
                  <a:gd name="connsiteX17" fmla="*/ 872139 w 1303338"/>
                  <a:gd name="connsiteY17" fmla="*/ 1553386 h 1565276"/>
                  <a:gd name="connsiteX18" fmla="*/ 850614 w 1303338"/>
                  <a:gd name="connsiteY18" fmla="*/ 1562105 h 1565276"/>
                  <a:gd name="connsiteX19" fmla="*/ 825899 w 1303338"/>
                  <a:gd name="connsiteY19" fmla="*/ 1565276 h 1565276"/>
                  <a:gd name="connsiteX20" fmla="*/ 801982 w 1303338"/>
                  <a:gd name="connsiteY20" fmla="*/ 1562105 h 1565276"/>
                  <a:gd name="connsiteX21" fmla="*/ 780456 w 1303338"/>
                  <a:gd name="connsiteY21" fmla="*/ 1553386 h 1565276"/>
                  <a:gd name="connsiteX22" fmla="*/ 762119 w 1303338"/>
                  <a:gd name="connsiteY22" fmla="*/ 1538325 h 1565276"/>
                  <a:gd name="connsiteX23" fmla="*/ 747769 w 1303338"/>
                  <a:gd name="connsiteY23" fmla="*/ 1520094 h 1565276"/>
                  <a:gd name="connsiteX24" fmla="*/ 738202 w 1303338"/>
                  <a:gd name="connsiteY24" fmla="*/ 1498691 h 1565276"/>
                  <a:gd name="connsiteX25" fmla="*/ 735013 w 1303338"/>
                  <a:gd name="connsiteY25" fmla="*/ 1475704 h 1565276"/>
                  <a:gd name="connsiteX26" fmla="*/ 735013 w 1303338"/>
                  <a:gd name="connsiteY26" fmla="*/ 1250950 h 1565276"/>
                  <a:gd name="connsiteX27" fmla="*/ 566738 w 1303338"/>
                  <a:gd name="connsiteY27" fmla="*/ 1250950 h 1565276"/>
                  <a:gd name="connsiteX28" fmla="*/ 566738 w 1303338"/>
                  <a:gd name="connsiteY28" fmla="*/ 1475704 h 1565276"/>
                  <a:gd name="connsiteX29" fmla="*/ 562804 w 1303338"/>
                  <a:gd name="connsiteY29" fmla="*/ 1498691 h 1565276"/>
                  <a:gd name="connsiteX30" fmla="*/ 554936 w 1303338"/>
                  <a:gd name="connsiteY30" fmla="*/ 1520094 h 1565276"/>
                  <a:gd name="connsiteX31" fmla="*/ 540774 w 1303338"/>
                  <a:gd name="connsiteY31" fmla="*/ 1538325 h 1565276"/>
                  <a:gd name="connsiteX32" fmla="*/ 522678 w 1303338"/>
                  <a:gd name="connsiteY32" fmla="*/ 1553386 h 1565276"/>
                  <a:gd name="connsiteX33" fmla="*/ 501434 w 1303338"/>
                  <a:gd name="connsiteY33" fmla="*/ 1562105 h 1565276"/>
                  <a:gd name="connsiteX34" fmla="*/ 477044 w 1303338"/>
                  <a:gd name="connsiteY34" fmla="*/ 1565276 h 1565276"/>
                  <a:gd name="connsiteX35" fmla="*/ 453440 w 1303338"/>
                  <a:gd name="connsiteY35" fmla="*/ 1562105 h 1565276"/>
                  <a:gd name="connsiteX36" fmla="*/ 432197 w 1303338"/>
                  <a:gd name="connsiteY36" fmla="*/ 1553386 h 1565276"/>
                  <a:gd name="connsiteX37" fmla="*/ 414101 w 1303338"/>
                  <a:gd name="connsiteY37" fmla="*/ 1538325 h 1565276"/>
                  <a:gd name="connsiteX38" fmla="*/ 399939 w 1303338"/>
                  <a:gd name="connsiteY38" fmla="*/ 1520094 h 1565276"/>
                  <a:gd name="connsiteX39" fmla="*/ 390497 w 1303338"/>
                  <a:gd name="connsiteY39" fmla="*/ 1498691 h 1565276"/>
                  <a:gd name="connsiteX40" fmla="*/ 387350 w 1303338"/>
                  <a:gd name="connsiteY40" fmla="*/ 1475704 h 1565276"/>
                  <a:gd name="connsiteX41" fmla="*/ 387350 w 1303338"/>
                  <a:gd name="connsiteY41" fmla="*/ 1250950 h 1565276"/>
                  <a:gd name="connsiteX42" fmla="*/ 279352 w 1303338"/>
                  <a:gd name="connsiteY42" fmla="*/ 1250950 h 1565276"/>
                  <a:gd name="connsiteX43" fmla="*/ 262699 w 1303338"/>
                  <a:gd name="connsiteY43" fmla="*/ 1247772 h 1565276"/>
                  <a:gd name="connsiteX44" fmla="*/ 249218 w 1303338"/>
                  <a:gd name="connsiteY44" fmla="*/ 1240621 h 1565276"/>
                  <a:gd name="connsiteX45" fmla="*/ 238116 w 1303338"/>
                  <a:gd name="connsiteY45" fmla="*/ 1229497 h 1565276"/>
                  <a:gd name="connsiteX46" fmla="*/ 230979 w 1303338"/>
                  <a:gd name="connsiteY46" fmla="*/ 1215194 h 1565276"/>
                  <a:gd name="connsiteX47" fmla="*/ 228600 w 1303338"/>
                  <a:gd name="connsiteY47" fmla="*/ 1199303 h 1565276"/>
                  <a:gd name="connsiteX48" fmla="*/ 228600 w 1303338"/>
                  <a:gd name="connsiteY48" fmla="*/ 831850 h 1565276"/>
                  <a:gd name="connsiteX49" fmla="*/ 227013 w 1303338"/>
                  <a:gd name="connsiteY49" fmla="*/ 831850 h 1565276"/>
                  <a:gd name="connsiteX50" fmla="*/ 1212452 w 1303338"/>
                  <a:gd name="connsiteY50" fmla="*/ 454025 h 1565276"/>
                  <a:gd name="connsiteX51" fmla="*/ 1236369 w 1303338"/>
                  <a:gd name="connsiteY51" fmla="*/ 457200 h 1565276"/>
                  <a:gd name="connsiteX52" fmla="*/ 1259489 w 1303338"/>
                  <a:gd name="connsiteY52" fmla="*/ 466725 h 1565276"/>
                  <a:gd name="connsiteX53" fmla="*/ 1277826 w 1303338"/>
                  <a:gd name="connsiteY53" fmla="*/ 481012 h 1565276"/>
                  <a:gd name="connsiteX54" fmla="*/ 1291379 w 1303338"/>
                  <a:gd name="connsiteY54" fmla="*/ 499269 h 1565276"/>
                  <a:gd name="connsiteX55" fmla="*/ 1300149 w 1303338"/>
                  <a:gd name="connsiteY55" fmla="*/ 520700 h 1565276"/>
                  <a:gd name="connsiteX56" fmla="*/ 1303338 w 1303338"/>
                  <a:gd name="connsiteY56" fmla="*/ 545306 h 1565276"/>
                  <a:gd name="connsiteX57" fmla="*/ 1303338 w 1303338"/>
                  <a:gd name="connsiteY57" fmla="*/ 950119 h 1565276"/>
                  <a:gd name="connsiteX58" fmla="*/ 1300149 w 1303338"/>
                  <a:gd name="connsiteY58" fmla="*/ 973932 h 1565276"/>
                  <a:gd name="connsiteX59" fmla="*/ 1291379 w 1303338"/>
                  <a:gd name="connsiteY59" fmla="*/ 996157 h 1565276"/>
                  <a:gd name="connsiteX60" fmla="*/ 1277826 w 1303338"/>
                  <a:gd name="connsiteY60" fmla="*/ 1014413 h 1565276"/>
                  <a:gd name="connsiteX61" fmla="*/ 1259489 w 1303338"/>
                  <a:gd name="connsiteY61" fmla="*/ 1028701 h 1565276"/>
                  <a:gd name="connsiteX62" fmla="*/ 1236369 w 1303338"/>
                  <a:gd name="connsiteY62" fmla="*/ 1036638 h 1565276"/>
                  <a:gd name="connsiteX63" fmla="*/ 1212452 w 1303338"/>
                  <a:gd name="connsiteY63" fmla="*/ 1039813 h 1565276"/>
                  <a:gd name="connsiteX64" fmla="*/ 1189332 w 1303338"/>
                  <a:gd name="connsiteY64" fmla="*/ 1036638 h 1565276"/>
                  <a:gd name="connsiteX65" fmla="*/ 1167806 w 1303338"/>
                  <a:gd name="connsiteY65" fmla="*/ 1028701 h 1565276"/>
                  <a:gd name="connsiteX66" fmla="*/ 1149469 w 1303338"/>
                  <a:gd name="connsiteY66" fmla="*/ 1014413 h 1565276"/>
                  <a:gd name="connsiteX67" fmla="*/ 1134322 w 1303338"/>
                  <a:gd name="connsiteY67" fmla="*/ 996157 h 1565276"/>
                  <a:gd name="connsiteX68" fmla="*/ 1125552 w 1303338"/>
                  <a:gd name="connsiteY68" fmla="*/ 973932 h 1565276"/>
                  <a:gd name="connsiteX69" fmla="*/ 1122363 w 1303338"/>
                  <a:gd name="connsiteY69" fmla="*/ 950119 h 1565276"/>
                  <a:gd name="connsiteX70" fmla="*/ 1122363 w 1303338"/>
                  <a:gd name="connsiteY70" fmla="*/ 545306 h 1565276"/>
                  <a:gd name="connsiteX71" fmla="*/ 1125552 w 1303338"/>
                  <a:gd name="connsiteY71" fmla="*/ 520700 h 1565276"/>
                  <a:gd name="connsiteX72" fmla="*/ 1134322 w 1303338"/>
                  <a:gd name="connsiteY72" fmla="*/ 499269 h 1565276"/>
                  <a:gd name="connsiteX73" fmla="*/ 1149469 w 1303338"/>
                  <a:gd name="connsiteY73" fmla="*/ 481012 h 1565276"/>
                  <a:gd name="connsiteX74" fmla="*/ 1167806 w 1303338"/>
                  <a:gd name="connsiteY74" fmla="*/ 466725 h 1565276"/>
                  <a:gd name="connsiteX75" fmla="*/ 1189332 w 1303338"/>
                  <a:gd name="connsiteY75" fmla="*/ 457200 h 1565276"/>
                  <a:gd name="connsiteX76" fmla="*/ 90092 w 1303338"/>
                  <a:gd name="connsiteY76" fmla="*/ 454025 h 1565276"/>
                  <a:gd name="connsiteX77" fmla="*/ 114591 w 1303338"/>
                  <a:gd name="connsiteY77" fmla="*/ 457200 h 1565276"/>
                  <a:gd name="connsiteX78" fmla="*/ 135929 w 1303338"/>
                  <a:gd name="connsiteY78" fmla="*/ 466725 h 1565276"/>
                  <a:gd name="connsiteX79" fmla="*/ 154105 w 1303338"/>
                  <a:gd name="connsiteY79" fmla="*/ 481012 h 1565276"/>
                  <a:gd name="connsiteX80" fmla="*/ 168330 w 1303338"/>
                  <a:gd name="connsiteY80" fmla="*/ 499269 h 1565276"/>
                  <a:gd name="connsiteX81" fmla="*/ 177814 w 1303338"/>
                  <a:gd name="connsiteY81" fmla="*/ 520700 h 1565276"/>
                  <a:gd name="connsiteX82" fmla="*/ 180975 w 1303338"/>
                  <a:gd name="connsiteY82" fmla="*/ 545306 h 1565276"/>
                  <a:gd name="connsiteX83" fmla="*/ 180975 w 1303338"/>
                  <a:gd name="connsiteY83" fmla="*/ 950119 h 1565276"/>
                  <a:gd name="connsiteX84" fmla="*/ 177814 w 1303338"/>
                  <a:gd name="connsiteY84" fmla="*/ 973932 h 1565276"/>
                  <a:gd name="connsiteX85" fmla="*/ 168330 w 1303338"/>
                  <a:gd name="connsiteY85" fmla="*/ 996157 h 1565276"/>
                  <a:gd name="connsiteX86" fmla="*/ 154105 w 1303338"/>
                  <a:gd name="connsiteY86" fmla="*/ 1014413 h 1565276"/>
                  <a:gd name="connsiteX87" fmla="*/ 135929 w 1303338"/>
                  <a:gd name="connsiteY87" fmla="*/ 1028701 h 1565276"/>
                  <a:gd name="connsiteX88" fmla="*/ 114591 w 1303338"/>
                  <a:gd name="connsiteY88" fmla="*/ 1036638 h 1565276"/>
                  <a:gd name="connsiteX89" fmla="*/ 90092 w 1303338"/>
                  <a:gd name="connsiteY89" fmla="*/ 1039813 h 1565276"/>
                  <a:gd name="connsiteX90" fmla="*/ 66384 w 1303338"/>
                  <a:gd name="connsiteY90" fmla="*/ 1036638 h 1565276"/>
                  <a:gd name="connsiteX91" fmla="*/ 45046 w 1303338"/>
                  <a:gd name="connsiteY91" fmla="*/ 1028701 h 1565276"/>
                  <a:gd name="connsiteX92" fmla="*/ 26870 w 1303338"/>
                  <a:gd name="connsiteY92" fmla="*/ 1014413 h 1565276"/>
                  <a:gd name="connsiteX93" fmla="*/ 12645 w 1303338"/>
                  <a:gd name="connsiteY93" fmla="*/ 996157 h 1565276"/>
                  <a:gd name="connsiteX94" fmla="*/ 3161 w 1303338"/>
                  <a:gd name="connsiteY94" fmla="*/ 973932 h 1565276"/>
                  <a:gd name="connsiteX95" fmla="*/ 0 w 1303338"/>
                  <a:gd name="connsiteY95" fmla="*/ 950119 h 1565276"/>
                  <a:gd name="connsiteX96" fmla="*/ 0 w 1303338"/>
                  <a:gd name="connsiteY96" fmla="*/ 545306 h 1565276"/>
                  <a:gd name="connsiteX97" fmla="*/ 3161 w 1303338"/>
                  <a:gd name="connsiteY97" fmla="*/ 520700 h 1565276"/>
                  <a:gd name="connsiteX98" fmla="*/ 12645 w 1303338"/>
                  <a:gd name="connsiteY98" fmla="*/ 499269 h 1565276"/>
                  <a:gd name="connsiteX99" fmla="*/ 26870 w 1303338"/>
                  <a:gd name="connsiteY99" fmla="*/ 481012 h 1565276"/>
                  <a:gd name="connsiteX100" fmla="*/ 45046 w 1303338"/>
                  <a:gd name="connsiteY100" fmla="*/ 466725 h 1565276"/>
                  <a:gd name="connsiteX101" fmla="*/ 66384 w 1303338"/>
                  <a:gd name="connsiteY101" fmla="*/ 457200 h 1565276"/>
                  <a:gd name="connsiteX102" fmla="*/ 836614 w 1303338"/>
                  <a:gd name="connsiteY102" fmla="*/ 198439 h 1565276"/>
                  <a:gd name="connsiteX103" fmla="*/ 820739 w 1303338"/>
                  <a:gd name="connsiteY103" fmla="*/ 202377 h 1565276"/>
                  <a:gd name="connsiteX104" fmla="*/ 806451 w 1303338"/>
                  <a:gd name="connsiteY104" fmla="*/ 209465 h 1565276"/>
                  <a:gd name="connsiteX105" fmla="*/ 796133 w 1303338"/>
                  <a:gd name="connsiteY105" fmla="*/ 219704 h 1565276"/>
                  <a:gd name="connsiteX106" fmla="*/ 788195 w 1303338"/>
                  <a:gd name="connsiteY106" fmla="*/ 233881 h 1565276"/>
                  <a:gd name="connsiteX107" fmla="*/ 785814 w 1303338"/>
                  <a:gd name="connsiteY107" fmla="*/ 249633 h 1565276"/>
                  <a:gd name="connsiteX108" fmla="*/ 788195 w 1303338"/>
                  <a:gd name="connsiteY108" fmla="*/ 266172 h 1565276"/>
                  <a:gd name="connsiteX109" fmla="*/ 796133 w 1303338"/>
                  <a:gd name="connsiteY109" fmla="*/ 279562 h 1565276"/>
                  <a:gd name="connsiteX110" fmla="*/ 806451 w 1303338"/>
                  <a:gd name="connsiteY110" fmla="*/ 290588 h 1565276"/>
                  <a:gd name="connsiteX111" fmla="*/ 820739 w 1303338"/>
                  <a:gd name="connsiteY111" fmla="*/ 297676 h 1565276"/>
                  <a:gd name="connsiteX112" fmla="*/ 836614 w 1303338"/>
                  <a:gd name="connsiteY112" fmla="*/ 300039 h 1565276"/>
                  <a:gd name="connsiteX113" fmla="*/ 852489 w 1303338"/>
                  <a:gd name="connsiteY113" fmla="*/ 297676 h 1565276"/>
                  <a:gd name="connsiteX114" fmla="*/ 866777 w 1303338"/>
                  <a:gd name="connsiteY114" fmla="*/ 290588 h 1565276"/>
                  <a:gd name="connsiteX115" fmla="*/ 877095 w 1303338"/>
                  <a:gd name="connsiteY115" fmla="*/ 279562 h 1565276"/>
                  <a:gd name="connsiteX116" fmla="*/ 885033 w 1303338"/>
                  <a:gd name="connsiteY116" fmla="*/ 266172 h 1565276"/>
                  <a:gd name="connsiteX117" fmla="*/ 887414 w 1303338"/>
                  <a:gd name="connsiteY117" fmla="*/ 249633 h 1565276"/>
                  <a:gd name="connsiteX118" fmla="*/ 885033 w 1303338"/>
                  <a:gd name="connsiteY118" fmla="*/ 233881 h 1565276"/>
                  <a:gd name="connsiteX119" fmla="*/ 877095 w 1303338"/>
                  <a:gd name="connsiteY119" fmla="*/ 219704 h 1565276"/>
                  <a:gd name="connsiteX120" fmla="*/ 866777 w 1303338"/>
                  <a:gd name="connsiteY120" fmla="*/ 209465 h 1565276"/>
                  <a:gd name="connsiteX121" fmla="*/ 852489 w 1303338"/>
                  <a:gd name="connsiteY121" fmla="*/ 202377 h 1565276"/>
                  <a:gd name="connsiteX122" fmla="*/ 465932 w 1303338"/>
                  <a:gd name="connsiteY122" fmla="*/ 198439 h 1565276"/>
                  <a:gd name="connsiteX123" fmla="*/ 450057 w 1303338"/>
                  <a:gd name="connsiteY123" fmla="*/ 202377 h 1565276"/>
                  <a:gd name="connsiteX124" fmla="*/ 435770 w 1303338"/>
                  <a:gd name="connsiteY124" fmla="*/ 209465 h 1565276"/>
                  <a:gd name="connsiteX125" fmla="*/ 425451 w 1303338"/>
                  <a:gd name="connsiteY125" fmla="*/ 219704 h 1565276"/>
                  <a:gd name="connsiteX126" fmla="*/ 419101 w 1303338"/>
                  <a:gd name="connsiteY126" fmla="*/ 233881 h 1565276"/>
                  <a:gd name="connsiteX127" fmla="*/ 415926 w 1303338"/>
                  <a:gd name="connsiteY127" fmla="*/ 249633 h 1565276"/>
                  <a:gd name="connsiteX128" fmla="*/ 419101 w 1303338"/>
                  <a:gd name="connsiteY128" fmla="*/ 266172 h 1565276"/>
                  <a:gd name="connsiteX129" fmla="*/ 425451 w 1303338"/>
                  <a:gd name="connsiteY129" fmla="*/ 279562 h 1565276"/>
                  <a:gd name="connsiteX130" fmla="*/ 435770 w 1303338"/>
                  <a:gd name="connsiteY130" fmla="*/ 290588 h 1565276"/>
                  <a:gd name="connsiteX131" fmla="*/ 450057 w 1303338"/>
                  <a:gd name="connsiteY131" fmla="*/ 297676 h 1565276"/>
                  <a:gd name="connsiteX132" fmla="*/ 465932 w 1303338"/>
                  <a:gd name="connsiteY132" fmla="*/ 300039 h 1565276"/>
                  <a:gd name="connsiteX133" fmla="*/ 482601 w 1303338"/>
                  <a:gd name="connsiteY133" fmla="*/ 297676 h 1565276"/>
                  <a:gd name="connsiteX134" fmla="*/ 496095 w 1303338"/>
                  <a:gd name="connsiteY134" fmla="*/ 290588 h 1565276"/>
                  <a:gd name="connsiteX135" fmla="*/ 508001 w 1303338"/>
                  <a:gd name="connsiteY135" fmla="*/ 279562 h 1565276"/>
                  <a:gd name="connsiteX136" fmla="*/ 514351 w 1303338"/>
                  <a:gd name="connsiteY136" fmla="*/ 266172 h 1565276"/>
                  <a:gd name="connsiteX137" fmla="*/ 517526 w 1303338"/>
                  <a:gd name="connsiteY137" fmla="*/ 249633 h 1565276"/>
                  <a:gd name="connsiteX138" fmla="*/ 514351 w 1303338"/>
                  <a:gd name="connsiteY138" fmla="*/ 233881 h 1565276"/>
                  <a:gd name="connsiteX139" fmla="*/ 508001 w 1303338"/>
                  <a:gd name="connsiteY139" fmla="*/ 219704 h 1565276"/>
                  <a:gd name="connsiteX140" fmla="*/ 496095 w 1303338"/>
                  <a:gd name="connsiteY140" fmla="*/ 209465 h 1565276"/>
                  <a:gd name="connsiteX141" fmla="*/ 482601 w 1303338"/>
                  <a:gd name="connsiteY141" fmla="*/ 202377 h 1565276"/>
                  <a:gd name="connsiteX142" fmla="*/ 386457 w 1303338"/>
                  <a:gd name="connsiteY142" fmla="*/ 0 h 1565276"/>
                  <a:gd name="connsiteX143" fmla="*/ 388819 w 1303338"/>
                  <a:gd name="connsiteY143" fmla="*/ 804 h 1565276"/>
                  <a:gd name="connsiteX144" fmla="*/ 389606 w 1303338"/>
                  <a:gd name="connsiteY144" fmla="*/ 804 h 1565276"/>
                  <a:gd name="connsiteX145" fmla="*/ 463577 w 1303338"/>
                  <a:gd name="connsiteY145" fmla="*/ 107649 h 1565276"/>
                  <a:gd name="connsiteX146" fmla="*/ 477044 w 1303338"/>
                  <a:gd name="connsiteY146" fmla="*/ 102336 h 1565276"/>
                  <a:gd name="connsiteX147" fmla="*/ 515938 w 1303338"/>
                  <a:gd name="connsiteY147" fmla="*/ 91248 h 1565276"/>
                  <a:gd name="connsiteX148" fmla="*/ 556419 w 1303338"/>
                  <a:gd name="connsiteY148" fmla="*/ 82536 h 1565276"/>
                  <a:gd name="connsiteX149" fmla="*/ 602457 w 1303338"/>
                  <a:gd name="connsiteY149" fmla="*/ 77784 h 1565276"/>
                  <a:gd name="connsiteX150" fmla="*/ 651670 w 1303338"/>
                  <a:gd name="connsiteY150" fmla="*/ 76200 h 1565276"/>
                  <a:gd name="connsiteX151" fmla="*/ 702470 w 1303338"/>
                  <a:gd name="connsiteY151" fmla="*/ 78576 h 1565276"/>
                  <a:gd name="connsiteX152" fmla="*/ 749301 w 1303338"/>
                  <a:gd name="connsiteY152" fmla="*/ 84120 h 1565276"/>
                  <a:gd name="connsiteX153" fmla="*/ 792957 w 1303338"/>
                  <a:gd name="connsiteY153" fmla="*/ 93624 h 1565276"/>
                  <a:gd name="connsiteX154" fmla="*/ 831057 w 1303338"/>
                  <a:gd name="connsiteY154" fmla="*/ 105504 h 1565276"/>
                  <a:gd name="connsiteX155" fmla="*/ 838317 w 1303338"/>
                  <a:gd name="connsiteY155" fmla="*/ 108632 h 1565276"/>
                  <a:gd name="connsiteX156" fmla="*/ 913467 w 1303338"/>
                  <a:gd name="connsiteY156" fmla="*/ 804 h 1565276"/>
                  <a:gd name="connsiteX157" fmla="*/ 915068 w 1303338"/>
                  <a:gd name="connsiteY157" fmla="*/ 804 h 1565276"/>
                  <a:gd name="connsiteX158" fmla="*/ 916669 w 1303338"/>
                  <a:gd name="connsiteY158" fmla="*/ 0 h 1565276"/>
                  <a:gd name="connsiteX159" fmla="*/ 919070 w 1303338"/>
                  <a:gd name="connsiteY159" fmla="*/ 804 h 1565276"/>
                  <a:gd name="connsiteX160" fmla="*/ 922272 w 1303338"/>
                  <a:gd name="connsiteY160" fmla="*/ 804 h 1565276"/>
                  <a:gd name="connsiteX161" fmla="*/ 924673 w 1303338"/>
                  <a:gd name="connsiteY161" fmla="*/ 3216 h 1565276"/>
                  <a:gd name="connsiteX162" fmla="*/ 927074 w 1303338"/>
                  <a:gd name="connsiteY162" fmla="*/ 4824 h 1565276"/>
                  <a:gd name="connsiteX163" fmla="*/ 928675 w 1303338"/>
                  <a:gd name="connsiteY163" fmla="*/ 7235 h 1565276"/>
                  <a:gd name="connsiteX164" fmla="*/ 930276 w 1303338"/>
                  <a:gd name="connsiteY164" fmla="*/ 10451 h 1565276"/>
                  <a:gd name="connsiteX165" fmla="*/ 928675 w 1303338"/>
                  <a:gd name="connsiteY165" fmla="*/ 12059 h 1565276"/>
                  <a:gd name="connsiteX166" fmla="*/ 856045 w 1303338"/>
                  <a:gd name="connsiteY166" fmla="*/ 116271 h 1565276"/>
                  <a:gd name="connsiteX167" fmla="*/ 865982 w 1303338"/>
                  <a:gd name="connsiteY167" fmla="*/ 120552 h 1565276"/>
                  <a:gd name="connsiteX168" fmla="*/ 897732 w 1303338"/>
                  <a:gd name="connsiteY168" fmla="*/ 137183 h 1565276"/>
                  <a:gd name="connsiteX169" fmla="*/ 925513 w 1303338"/>
                  <a:gd name="connsiteY169" fmla="*/ 155399 h 1565276"/>
                  <a:gd name="connsiteX170" fmla="*/ 950120 w 1303338"/>
                  <a:gd name="connsiteY170" fmla="*/ 175991 h 1565276"/>
                  <a:gd name="connsiteX171" fmla="*/ 971551 w 1303338"/>
                  <a:gd name="connsiteY171" fmla="*/ 198167 h 1565276"/>
                  <a:gd name="connsiteX172" fmla="*/ 991395 w 1303338"/>
                  <a:gd name="connsiteY172" fmla="*/ 220342 h 1565276"/>
                  <a:gd name="connsiteX173" fmla="*/ 1008063 w 1303338"/>
                  <a:gd name="connsiteY173" fmla="*/ 243310 h 1565276"/>
                  <a:gd name="connsiteX174" fmla="*/ 1022351 w 1303338"/>
                  <a:gd name="connsiteY174" fmla="*/ 267070 h 1565276"/>
                  <a:gd name="connsiteX175" fmla="*/ 1034257 w 1303338"/>
                  <a:gd name="connsiteY175" fmla="*/ 290038 h 1565276"/>
                  <a:gd name="connsiteX176" fmla="*/ 1043782 w 1303338"/>
                  <a:gd name="connsiteY176" fmla="*/ 313005 h 1565276"/>
                  <a:gd name="connsiteX177" fmla="*/ 1052514 w 1303338"/>
                  <a:gd name="connsiteY177" fmla="*/ 334389 h 1565276"/>
                  <a:gd name="connsiteX178" fmla="*/ 1058864 w 1303338"/>
                  <a:gd name="connsiteY178" fmla="*/ 354189 h 1565276"/>
                  <a:gd name="connsiteX179" fmla="*/ 1064420 w 1303338"/>
                  <a:gd name="connsiteY179" fmla="*/ 373989 h 1565276"/>
                  <a:gd name="connsiteX180" fmla="*/ 1067595 w 1303338"/>
                  <a:gd name="connsiteY180" fmla="*/ 389829 h 1565276"/>
                  <a:gd name="connsiteX181" fmla="*/ 1069976 w 1303338"/>
                  <a:gd name="connsiteY181" fmla="*/ 404876 h 1565276"/>
                  <a:gd name="connsiteX182" fmla="*/ 1071564 w 1303338"/>
                  <a:gd name="connsiteY182" fmla="*/ 416756 h 1565276"/>
                  <a:gd name="connsiteX183" fmla="*/ 1073151 w 1303338"/>
                  <a:gd name="connsiteY183" fmla="*/ 426260 h 1565276"/>
                  <a:gd name="connsiteX184" fmla="*/ 1073151 w 1303338"/>
                  <a:gd name="connsiteY184" fmla="*/ 431012 h 1565276"/>
                  <a:gd name="connsiteX185" fmla="*/ 1073151 w 1303338"/>
                  <a:gd name="connsiteY185" fmla="*/ 433388 h 1565276"/>
                  <a:gd name="connsiteX186" fmla="*/ 230188 w 1303338"/>
                  <a:gd name="connsiteY186" fmla="*/ 433388 h 1565276"/>
                  <a:gd name="connsiteX187" fmla="*/ 230188 w 1303338"/>
                  <a:gd name="connsiteY187" fmla="*/ 431012 h 1565276"/>
                  <a:gd name="connsiteX188" fmla="*/ 230188 w 1303338"/>
                  <a:gd name="connsiteY188" fmla="*/ 426260 h 1565276"/>
                  <a:gd name="connsiteX189" fmla="*/ 230982 w 1303338"/>
                  <a:gd name="connsiteY189" fmla="*/ 417548 h 1565276"/>
                  <a:gd name="connsiteX190" fmla="*/ 233363 w 1303338"/>
                  <a:gd name="connsiteY190" fmla="*/ 406460 h 1565276"/>
                  <a:gd name="connsiteX191" fmla="*/ 235744 w 1303338"/>
                  <a:gd name="connsiteY191" fmla="*/ 392997 h 1565276"/>
                  <a:gd name="connsiteX192" fmla="*/ 237332 w 1303338"/>
                  <a:gd name="connsiteY192" fmla="*/ 377157 h 1565276"/>
                  <a:gd name="connsiteX193" fmla="*/ 242094 w 1303338"/>
                  <a:gd name="connsiteY193" fmla="*/ 359733 h 1565276"/>
                  <a:gd name="connsiteX194" fmla="*/ 248444 w 1303338"/>
                  <a:gd name="connsiteY194" fmla="*/ 340725 h 1565276"/>
                  <a:gd name="connsiteX195" fmla="*/ 254794 w 1303338"/>
                  <a:gd name="connsiteY195" fmla="*/ 320133 h 1565276"/>
                  <a:gd name="connsiteX196" fmla="*/ 263526 w 1303338"/>
                  <a:gd name="connsiteY196" fmla="*/ 298750 h 1565276"/>
                  <a:gd name="connsiteX197" fmla="*/ 273844 w 1303338"/>
                  <a:gd name="connsiteY197" fmla="*/ 276574 h 1565276"/>
                  <a:gd name="connsiteX198" fmla="*/ 285751 w 1303338"/>
                  <a:gd name="connsiteY198" fmla="*/ 253606 h 1565276"/>
                  <a:gd name="connsiteX199" fmla="*/ 300832 w 1303338"/>
                  <a:gd name="connsiteY199" fmla="*/ 232222 h 1565276"/>
                  <a:gd name="connsiteX200" fmla="*/ 318294 w 1303338"/>
                  <a:gd name="connsiteY200" fmla="*/ 210047 h 1565276"/>
                  <a:gd name="connsiteX201" fmla="*/ 337344 w 1303338"/>
                  <a:gd name="connsiteY201" fmla="*/ 188663 h 1565276"/>
                  <a:gd name="connsiteX202" fmla="*/ 358776 w 1303338"/>
                  <a:gd name="connsiteY202" fmla="*/ 168071 h 1565276"/>
                  <a:gd name="connsiteX203" fmla="*/ 383382 w 1303338"/>
                  <a:gd name="connsiteY203" fmla="*/ 149063 h 1565276"/>
                  <a:gd name="connsiteX204" fmla="*/ 411163 w 1303338"/>
                  <a:gd name="connsiteY204" fmla="*/ 131639 h 1565276"/>
                  <a:gd name="connsiteX205" fmla="*/ 442913 w 1303338"/>
                  <a:gd name="connsiteY205" fmla="*/ 115800 h 1565276"/>
                  <a:gd name="connsiteX206" fmla="*/ 445710 w 1303338"/>
                  <a:gd name="connsiteY206" fmla="*/ 114697 h 1565276"/>
                  <a:gd name="connsiteX207" fmla="*/ 374651 w 1303338"/>
                  <a:gd name="connsiteY207" fmla="*/ 12059 h 1565276"/>
                  <a:gd name="connsiteX208" fmla="*/ 374651 w 1303338"/>
                  <a:gd name="connsiteY208" fmla="*/ 10451 h 1565276"/>
                  <a:gd name="connsiteX209" fmla="*/ 374651 w 1303338"/>
                  <a:gd name="connsiteY209" fmla="*/ 7235 h 1565276"/>
                  <a:gd name="connsiteX210" fmla="*/ 377012 w 1303338"/>
                  <a:gd name="connsiteY210" fmla="*/ 4824 h 1565276"/>
                  <a:gd name="connsiteX211" fmla="*/ 380161 w 1303338"/>
                  <a:gd name="connsiteY211" fmla="*/ 3216 h 1565276"/>
                  <a:gd name="connsiteX212" fmla="*/ 381735 w 1303338"/>
                  <a:gd name="connsiteY212" fmla="*/ 804 h 1565276"/>
                  <a:gd name="connsiteX213" fmla="*/ 384096 w 1303338"/>
                  <a:gd name="connsiteY213" fmla="*/ 804 h 1565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Lst>
                <a:rect l="l" t="t" r="r" b="b"/>
                <a:pathLst>
                  <a:path w="1303338" h="1565276">
                    <a:moveTo>
                      <a:pt x="227013" y="482600"/>
                    </a:moveTo>
                    <a:lnTo>
                      <a:pt x="279352" y="482600"/>
                    </a:lnTo>
                    <a:lnTo>
                      <a:pt x="1025572" y="482600"/>
                    </a:lnTo>
                    <a:lnTo>
                      <a:pt x="1077913" y="482600"/>
                    </a:lnTo>
                    <a:lnTo>
                      <a:pt x="1077913" y="831850"/>
                    </a:lnTo>
                    <a:lnTo>
                      <a:pt x="1076325" y="831850"/>
                    </a:lnTo>
                    <a:lnTo>
                      <a:pt x="1076325" y="1199303"/>
                    </a:lnTo>
                    <a:lnTo>
                      <a:pt x="1073153" y="1215194"/>
                    </a:lnTo>
                    <a:lnTo>
                      <a:pt x="1066809" y="1229497"/>
                    </a:lnTo>
                    <a:lnTo>
                      <a:pt x="1055707" y="1240621"/>
                    </a:lnTo>
                    <a:lnTo>
                      <a:pt x="1041433" y="1247772"/>
                    </a:lnTo>
                    <a:lnTo>
                      <a:pt x="1025572" y="1250950"/>
                    </a:lnTo>
                    <a:lnTo>
                      <a:pt x="915988" y="1250950"/>
                    </a:lnTo>
                    <a:lnTo>
                      <a:pt x="915988" y="1475704"/>
                    </a:lnTo>
                    <a:lnTo>
                      <a:pt x="912799" y="1498691"/>
                    </a:lnTo>
                    <a:lnTo>
                      <a:pt x="904029" y="1520094"/>
                    </a:lnTo>
                    <a:lnTo>
                      <a:pt x="890476" y="1538325"/>
                    </a:lnTo>
                    <a:lnTo>
                      <a:pt x="872139" y="1553386"/>
                    </a:lnTo>
                    <a:lnTo>
                      <a:pt x="850614" y="1562105"/>
                    </a:lnTo>
                    <a:lnTo>
                      <a:pt x="825899" y="1565276"/>
                    </a:lnTo>
                    <a:lnTo>
                      <a:pt x="801982" y="1562105"/>
                    </a:lnTo>
                    <a:lnTo>
                      <a:pt x="780456" y="1553386"/>
                    </a:lnTo>
                    <a:lnTo>
                      <a:pt x="762119" y="1538325"/>
                    </a:lnTo>
                    <a:lnTo>
                      <a:pt x="747769" y="1520094"/>
                    </a:lnTo>
                    <a:lnTo>
                      <a:pt x="738202" y="1498691"/>
                    </a:lnTo>
                    <a:lnTo>
                      <a:pt x="735013" y="1475704"/>
                    </a:lnTo>
                    <a:lnTo>
                      <a:pt x="735013" y="1250950"/>
                    </a:lnTo>
                    <a:lnTo>
                      <a:pt x="566738" y="1250950"/>
                    </a:lnTo>
                    <a:lnTo>
                      <a:pt x="566738" y="1475704"/>
                    </a:lnTo>
                    <a:lnTo>
                      <a:pt x="562804" y="1498691"/>
                    </a:lnTo>
                    <a:lnTo>
                      <a:pt x="554936" y="1520094"/>
                    </a:lnTo>
                    <a:lnTo>
                      <a:pt x="540774" y="1538325"/>
                    </a:lnTo>
                    <a:lnTo>
                      <a:pt x="522678" y="1553386"/>
                    </a:lnTo>
                    <a:lnTo>
                      <a:pt x="501434" y="1562105"/>
                    </a:lnTo>
                    <a:lnTo>
                      <a:pt x="477044" y="1565276"/>
                    </a:lnTo>
                    <a:lnTo>
                      <a:pt x="453440" y="1562105"/>
                    </a:lnTo>
                    <a:lnTo>
                      <a:pt x="432197" y="1553386"/>
                    </a:lnTo>
                    <a:lnTo>
                      <a:pt x="414101" y="1538325"/>
                    </a:lnTo>
                    <a:lnTo>
                      <a:pt x="399939" y="1520094"/>
                    </a:lnTo>
                    <a:lnTo>
                      <a:pt x="390497" y="1498691"/>
                    </a:lnTo>
                    <a:lnTo>
                      <a:pt x="387350" y="1475704"/>
                    </a:lnTo>
                    <a:lnTo>
                      <a:pt x="387350" y="1250950"/>
                    </a:lnTo>
                    <a:lnTo>
                      <a:pt x="279352" y="1250950"/>
                    </a:lnTo>
                    <a:lnTo>
                      <a:pt x="262699" y="1247772"/>
                    </a:lnTo>
                    <a:lnTo>
                      <a:pt x="249218" y="1240621"/>
                    </a:lnTo>
                    <a:lnTo>
                      <a:pt x="238116" y="1229497"/>
                    </a:lnTo>
                    <a:lnTo>
                      <a:pt x="230979" y="1215194"/>
                    </a:lnTo>
                    <a:lnTo>
                      <a:pt x="228600" y="1199303"/>
                    </a:lnTo>
                    <a:lnTo>
                      <a:pt x="228600" y="831850"/>
                    </a:lnTo>
                    <a:lnTo>
                      <a:pt x="227013" y="831850"/>
                    </a:lnTo>
                    <a:close/>
                    <a:moveTo>
                      <a:pt x="1212452" y="454025"/>
                    </a:moveTo>
                    <a:lnTo>
                      <a:pt x="1236369" y="457200"/>
                    </a:lnTo>
                    <a:lnTo>
                      <a:pt x="1259489" y="466725"/>
                    </a:lnTo>
                    <a:lnTo>
                      <a:pt x="1277826" y="481012"/>
                    </a:lnTo>
                    <a:lnTo>
                      <a:pt x="1291379" y="499269"/>
                    </a:lnTo>
                    <a:lnTo>
                      <a:pt x="1300149" y="520700"/>
                    </a:lnTo>
                    <a:lnTo>
                      <a:pt x="1303338" y="545306"/>
                    </a:lnTo>
                    <a:lnTo>
                      <a:pt x="1303338" y="950119"/>
                    </a:lnTo>
                    <a:lnTo>
                      <a:pt x="1300149" y="973932"/>
                    </a:lnTo>
                    <a:lnTo>
                      <a:pt x="1291379" y="996157"/>
                    </a:lnTo>
                    <a:lnTo>
                      <a:pt x="1277826" y="1014413"/>
                    </a:lnTo>
                    <a:lnTo>
                      <a:pt x="1259489" y="1028701"/>
                    </a:lnTo>
                    <a:lnTo>
                      <a:pt x="1236369" y="1036638"/>
                    </a:lnTo>
                    <a:lnTo>
                      <a:pt x="1212452" y="1039813"/>
                    </a:lnTo>
                    <a:lnTo>
                      <a:pt x="1189332" y="1036638"/>
                    </a:lnTo>
                    <a:lnTo>
                      <a:pt x="1167806" y="1028701"/>
                    </a:lnTo>
                    <a:lnTo>
                      <a:pt x="1149469" y="1014413"/>
                    </a:lnTo>
                    <a:lnTo>
                      <a:pt x="1134322" y="996157"/>
                    </a:lnTo>
                    <a:lnTo>
                      <a:pt x="1125552" y="973932"/>
                    </a:lnTo>
                    <a:lnTo>
                      <a:pt x="1122363" y="950119"/>
                    </a:lnTo>
                    <a:lnTo>
                      <a:pt x="1122363" y="545306"/>
                    </a:lnTo>
                    <a:lnTo>
                      <a:pt x="1125552" y="520700"/>
                    </a:lnTo>
                    <a:lnTo>
                      <a:pt x="1134322" y="499269"/>
                    </a:lnTo>
                    <a:lnTo>
                      <a:pt x="1149469" y="481012"/>
                    </a:lnTo>
                    <a:lnTo>
                      <a:pt x="1167806" y="466725"/>
                    </a:lnTo>
                    <a:lnTo>
                      <a:pt x="1189332" y="457200"/>
                    </a:lnTo>
                    <a:close/>
                    <a:moveTo>
                      <a:pt x="90092" y="454025"/>
                    </a:moveTo>
                    <a:lnTo>
                      <a:pt x="114591" y="457200"/>
                    </a:lnTo>
                    <a:lnTo>
                      <a:pt x="135929" y="466725"/>
                    </a:lnTo>
                    <a:lnTo>
                      <a:pt x="154105" y="481012"/>
                    </a:lnTo>
                    <a:lnTo>
                      <a:pt x="168330" y="499269"/>
                    </a:lnTo>
                    <a:lnTo>
                      <a:pt x="177814" y="520700"/>
                    </a:lnTo>
                    <a:lnTo>
                      <a:pt x="180975" y="545306"/>
                    </a:lnTo>
                    <a:lnTo>
                      <a:pt x="180975" y="950119"/>
                    </a:lnTo>
                    <a:lnTo>
                      <a:pt x="177814" y="973932"/>
                    </a:lnTo>
                    <a:lnTo>
                      <a:pt x="168330" y="996157"/>
                    </a:lnTo>
                    <a:lnTo>
                      <a:pt x="154105" y="1014413"/>
                    </a:lnTo>
                    <a:lnTo>
                      <a:pt x="135929" y="1028701"/>
                    </a:lnTo>
                    <a:lnTo>
                      <a:pt x="114591" y="1036638"/>
                    </a:lnTo>
                    <a:lnTo>
                      <a:pt x="90092" y="1039813"/>
                    </a:lnTo>
                    <a:lnTo>
                      <a:pt x="66384" y="1036638"/>
                    </a:lnTo>
                    <a:lnTo>
                      <a:pt x="45046" y="1028701"/>
                    </a:lnTo>
                    <a:lnTo>
                      <a:pt x="26870" y="1014413"/>
                    </a:lnTo>
                    <a:lnTo>
                      <a:pt x="12645" y="996157"/>
                    </a:lnTo>
                    <a:lnTo>
                      <a:pt x="3161" y="973932"/>
                    </a:lnTo>
                    <a:lnTo>
                      <a:pt x="0" y="950119"/>
                    </a:lnTo>
                    <a:lnTo>
                      <a:pt x="0" y="545306"/>
                    </a:lnTo>
                    <a:lnTo>
                      <a:pt x="3161" y="520700"/>
                    </a:lnTo>
                    <a:lnTo>
                      <a:pt x="12645" y="499269"/>
                    </a:lnTo>
                    <a:lnTo>
                      <a:pt x="26870" y="481012"/>
                    </a:lnTo>
                    <a:lnTo>
                      <a:pt x="45046" y="466725"/>
                    </a:lnTo>
                    <a:lnTo>
                      <a:pt x="66384" y="457200"/>
                    </a:lnTo>
                    <a:close/>
                    <a:moveTo>
                      <a:pt x="836614" y="198439"/>
                    </a:moveTo>
                    <a:lnTo>
                      <a:pt x="820739" y="202377"/>
                    </a:lnTo>
                    <a:lnTo>
                      <a:pt x="806451" y="209465"/>
                    </a:lnTo>
                    <a:lnTo>
                      <a:pt x="796133" y="219704"/>
                    </a:lnTo>
                    <a:lnTo>
                      <a:pt x="788195" y="233881"/>
                    </a:lnTo>
                    <a:lnTo>
                      <a:pt x="785814" y="249633"/>
                    </a:lnTo>
                    <a:lnTo>
                      <a:pt x="788195" y="266172"/>
                    </a:lnTo>
                    <a:lnTo>
                      <a:pt x="796133" y="279562"/>
                    </a:lnTo>
                    <a:lnTo>
                      <a:pt x="806451" y="290588"/>
                    </a:lnTo>
                    <a:lnTo>
                      <a:pt x="820739" y="297676"/>
                    </a:lnTo>
                    <a:lnTo>
                      <a:pt x="836614" y="300039"/>
                    </a:lnTo>
                    <a:lnTo>
                      <a:pt x="852489" y="297676"/>
                    </a:lnTo>
                    <a:lnTo>
                      <a:pt x="866777" y="290588"/>
                    </a:lnTo>
                    <a:lnTo>
                      <a:pt x="877095" y="279562"/>
                    </a:lnTo>
                    <a:lnTo>
                      <a:pt x="885033" y="266172"/>
                    </a:lnTo>
                    <a:lnTo>
                      <a:pt x="887414" y="249633"/>
                    </a:lnTo>
                    <a:lnTo>
                      <a:pt x="885033" y="233881"/>
                    </a:lnTo>
                    <a:lnTo>
                      <a:pt x="877095" y="219704"/>
                    </a:lnTo>
                    <a:lnTo>
                      <a:pt x="866777" y="209465"/>
                    </a:lnTo>
                    <a:lnTo>
                      <a:pt x="852489" y="202377"/>
                    </a:lnTo>
                    <a:close/>
                    <a:moveTo>
                      <a:pt x="465932" y="198439"/>
                    </a:moveTo>
                    <a:lnTo>
                      <a:pt x="450057" y="202377"/>
                    </a:lnTo>
                    <a:lnTo>
                      <a:pt x="435770" y="209465"/>
                    </a:lnTo>
                    <a:lnTo>
                      <a:pt x="425451" y="219704"/>
                    </a:lnTo>
                    <a:lnTo>
                      <a:pt x="419101" y="233881"/>
                    </a:lnTo>
                    <a:lnTo>
                      <a:pt x="415926" y="249633"/>
                    </a:lnTo>
                    <a:lnTo>
                      <a:pt x="419101" y="266172"/>
                    </a:lnTo>
                    <a:lnTo>
                      <a:pt x="425451" y="279562"/>
                    </a:lnTo>
                    <a:lnTo>
                      <a:pt x="435770" y="290588"/>
                    </a:lnTo>
                    <a:lnTo>
                      <a:pt x="450057" y="297676"/>
                    </a:lnTo>
                    <a:lnTo>
                      <a:pt x="465932" y="300039"/>
                    </a:lnTo>
                    <a:lnTo>
                      <a:pt x="482601" y="297676"/>
                    </a:lnTo>
                    <a:lnTo>
                      <a:pt x="496095" y="290588"/>
                    </a:lnTo>
                    <a:lnTo>
                      <a:pt x="508001" y="279562"/>
                    </a:lnTo>
                    <a:lnTo>
                      <a:pt x="514351" y="266172"/>
                    </a:lnTo>
                    <a:lnTo>
                      <a:pt x="517526" y="249633"/>
                    </a:lnTo>
                    <a:lnTo>
                      <a:pt x="514351" y="233881"/>
                    </a:lnTo>
                    <a:lnTo>
                      <a:pt x="508001" y="219704"/>
                    </a:lnTo>
                    <a:lnTo>
                      <a:pt x="496095" y="209465"/>
                    </a:lnTo>
                    <a:lnTo>
                      <a:pt x="482601" y="202377"/>
                    </a:lnTo>
                    <a:close/>
                    <a:moveTo>
                      <a:pt x="386457" y="0"/>
                    </a:moveTo>
                    <a:lnTo>
                      <a:pt x="388819" y="804"/>
                    </a:lnTo>
                    <a:lnTo>
                      <a:pt x="389606" y="804"/>
                    </a:lnTo>
                    <a:lnTo>
                      <a:pt x="463577" y="107649"/>
                    </a:lnTo>
                    <a:lnTo>
                      <a:pt x="477044" y="102336"/>
                    </a:lnTo>
                    <a:lnTo>
                      <a:pt x="515938" y="91248"/>
                    </a:lnTo>
                    <a:lnTo>
                      <a:pt x="556419" y="82536"/>
                    </a:lnTo>
                    <a:lnTo>
                      <a:pt x="602457" y="77784"/>
                    </a:lnTo>
                    <a:lnTo>
                      <a:pt x="651670" y="76200"/>
                    </a:lnTo>
                    <a:lnTo>
                      <a:pt x="702470" y="78576"/>
                    </a:lnTo>
                    <a:lnTo>
                      <a:pt x="749301" y="84120"/>
                    </a:lnTo>
                    <a:lnTo>
                      <a:pt x="792957" y="93624"/>
                    </a:lnTo>
                    <a:lnTo>
                      <a:pt x="831057" y="105504"/>
                    </a:lnTo>
                    <a:lnTo>
                      <a:pt x="838317" y="108632"/>
                    </a:lnTo>
                    <a:lnTo>
                      <a:pt x="913467" y="804"/>
                    </a:lnTo>
                    <a:lnTo>
                      <a:pt x="915068" y="804"/>
                    </a:lnTo>
                    <a:lnTo>
                      <a:pt x="916669" y="0"/>
                    </a:lnTo>
                    <a:lnTo>
                      <a:pt x="919070" y="804"/>
                    </a:lnTo>
                    <a:lnTo>
                      <a:pt x="922272" y="804"/>
                    </a:lnTo>
                    <a:lnTo>
                      <a:pt x="924673" y="3216"/>
                    </a:lnTo>
                    <a:lnTo>
                      <a:pt x="927074" y="4824"/>
                    </a:lnTo>
                    <a:lnTo>
                      <a:pt x="928675" y="7235"/>
                    </a:lnTo>
                    <a:lnTo>
                      <a:pt x="930276" y="10451"/>
                    </a:lnTo>
                    <a:lnTo>
                      <a:pt x="928675" y="12059"/>
                    </a:lnTo>
                    <a:lnTo>
                      <a:pt x="856045" y="116271"/>
                    </a:lnTo>
                    <a:lnTo>
                      <a:pt x="865982" y="120552"/>
                    </a:lnTo>
                    <a:lnTo>
                      <a:pt x="897732" y="137183"/>
                    </a:lnTo>
                    <a:lnTo>
                      <a:pt x="925513" y="155399"/>
                    </a:lnTo>
                    <a:lnTo>
                      <a:pt x="950120" y="175991"/>
                    </a:lnTo>
                    <a:lnTo>
                      <a:pt x="971551" y="198167"/>
                    </a:lnTo>
                    <a:lnTo>
                      <a:pt x="991395" y="220342"/>
                    </a:lnTo>
                    <a:lnTo>
                      <a:pt x="1008063" y="243310"/>
                    </a:lnTo>
                    <a:lnTo>
                      <a:pt x="1022351" y="267070"/>
                    </a:lnTo>
                    <a:lnTo>
                      <a:pt x="1034257" y="290038"/>
                    </a:lnTo>
                    <a:lnTo>
                      <a:pt x="1043782" y="313005"/>
                    </a:lnTo>
                    <a:lnTo>
                      <a:pt x="1052514" y="334389"/>
                    </a:lnTo>
                    <a:lnTo>
                      <a:pt x="1058864" y="354189"/>
                    </a:lnTo>
                    <a:lnTo>
                      <a:pt x="1064420" y="373989"/>
                    </a:lnTo>
                    <a:lnTo>
                      <a:pt x="1067595" y="389829"/>
                    </a:lnTo>
                    <a:lnTo>
                      <a:pt x="1069976" y="404876"/>
                    </a:lnTo>
                    <a:lnTo>
                      <a:pt x="1071564" y="416756"/>
                    </a:lnTo>
                    <a:lnTo>
                      <a:pt x="1073151" y="426260"/>
                    </a:lnTo>
                    <a:lnTo>
                      <a:pt x="1073151" y="431012"/>
                    </a:lnTo>
                    <a:lnTo>
                      <a:pt x="1073151" y="433388"/>
                    </a:lnTo>
                    <a:lnTo>
                      <a:pt x="230188" y="433388"/>
                    </a:lnTo>
                    <a:lnTo>
                      <a:pt x="230188" y="431012"/>
                    </a:lnTo>
                    <a:lnTo>
                      <a:pt x="230188" y="426260"/>
                    </a:lnTo>
                    <a:lnTo>
                      <a:pt x="230982" y="417548"/>
                    </a:lnTo>
                    <a:lnTo>
                      <a:pt x="233363" y="406460"/>
                    </a:lnTo>
                    <a:lnTo>
                      <a:pt x="235744" y="392997"/>
                    </a:lnTo>
                    <a:lnTo>
                      <a:pt x="237332" y="377157"/>
                    </a:lnTo>
                    <a:lnTo>
                      <a:pt x="242094" y="359733"/>
                    </a:lnTo>
                    <a:lnTo>
                      <a:pt x="248444" y="340725"/>
                    </a:lnTo>
                    <a:lnTo>
                      <a:pt x="254794" y="320133"/>
                    </a:lnTo>
                    <a:lnTo>
                      <a:pt x="263526" y="298750"/>
                    </a:lnTo>
                    <a:lnTo>
                      <a:pt x="273844" y="276574"/>
                    </a:lnTo>
                    <a:lnTo>
                      <a:pt x="285751" y="253606"/>
                    </a:lnTo>
                    <a:lnTo>
                      <a:pt x="300832" y="232222"/>
                    </a:lnTo>
                    <a:lnTo>
                      <a:pt x="318294" y="210047"/>
                    </a:lnTo>
                    <a:lnTo>
                      <a:pt x="337344" y="188663"/>
                    </a:lnTo>
                    <a:lnTo>
                      <a:pt x="358776" y="168071"/>
                    </a:lnTo>
                    <a:lnTo>
                      <a:pt x="383382" y="149063"/>
                    </a:lnTo>
                    <a:lnTo>
                      <a:pt x="411163" y="131639"/>
                    </a:lnTo>
                    <a:lnTo>
                      <a:pt x="442913" y="115800"/>
                    </a:lnTo>
                    <a:lnTo>
                      <a:pt x="445710" y="114697"/>
                    </a:lnTo>
                    <a:lnTo>
                      <a:pt x="374651" y="12059"/>
                    </a:lnTo>
                    <a:lnTo>
                      <a:pt x="374651" y="10451"/>
                    </a:lnTo>
                    <a:lnTo>
                      <a:pt x="374651" y="7235"/>
                    </a:lnTo>
                    <a:lnTo>
                      <a:pt x="377012" y="4824"/>
                    </a:lnTo>
                    <a:lnTo>
                      <a:pt x="380161" y="3216"/>
                    </a:lnTo>
                    <a:lnTo>
                      <a:pt x="381735" y="804"/>
                    </a:lnTo>
                    <a:lnTo>
                      <a:pt x="384096" y="80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13" name="Freeform 12"/>
              <p:cNvSpPr/>
              <p:nvPr/>
            </p:nvSpPr>
            <p:spPr>
              <a:xfrm>
                <a:off x="7326265" y="2928166"/>
                <a:ext cx="2310225" cy="1577327"/>
              </a:xfrm>
              <a:custGeom>
                <a:avLst/>
                <a:gdLst>
                  <a:gd name="connsiteX0" fmla="*/ 378504 w 2310225"/>
                  <a:gd name="connsiteY0" fmla="*/ 1479684 h 1577327"/>
                  <a:gd name="connsiteX1" fmla="*/ 378504 w 2310225"/>
                  <a:gd name="connsiteY1" fmla="*/ 1492308 h 1577327"/>
                  <a:gd name="connsiteX2" fmla="*/ 455992 w 2310225"/>
                  <a:gd name="connsiteY2" fmla="*/ 1492308 h 1577327"/>
                  <a:gd name="connsiteX3" fmla="*/ 455992 w 2310225"/>
                  <a:gd name="connsiteY3" fmla="*/ 1479684 h 1577327"/>
                  <a:gd name="connsiteX4" fmla="*/ 643262 w 2310225"/>
                  <a:gd name="connsiteY4" fmla="*/ 1454331 h 1577327"/>
                  <a:gd name="connsiteX5" fmla="*/ 643262 w 2310225"/>
                  <a:gd name="connsiteY5" fmla="*/ 1487035 h 1577327"/>
                  <a:gd name="connsiteX6" fmla="*/ 599667 w 2310225"/>
                  <a:gd name="connsiteY6" fmla="*/ 1487035 h 1577327"/>
                  <a:gd name="connsiteX7" fmla="*/ 599667 w 2310225"/>
                  <a:gd name="connsiteY7" fmla="*/ 1456139 h 1577327"/>
                  <a:gd name="connsiteX8" fmla="*/ 589590 w 2310225"/>
                  <a:gd name="connsiteY8" fmla="*/ 1466216 h 1577327"/>
                  <a:gd name="connsiteX9" fmla="*/ 589590 w 2310225"/>
                  <a:gd name="connsiteY9" fmla="*/ 1497318 h 1577327"/>
                  <a:gd name="connsiteX10" fmla="*/ 653337 w 2310225"/>
                  <a:gd name="connsiteY10" fmla="*/ 1497318 h 1577327"/>
                  <a:gd name="connsiteX11" fmla="*/ 653337 w 2310225"/>
                  <a:gd name="connsiteY11" fmla="*/ 1464408 h 1577327"/>
                  <a:gd name="connsiteX12" fmla="*/ 378504 w 2310225"/>
                  <a:gd name="connsiteY12" fmla="*/ 1452694 h 1577327"/>
                  <a:gd name="connsiteX13" fmla="*/ 378504 w 2310225"/>
                  <a:gd name="connsiteY13" fmla="*/ 1465319 h 1577327"/>
                  <a:gd name="connsiteX14" fmla="*/ 455992 w 2310225"/>
                  <a:gd name="connsiteY14" fmla="*/ 1465319 h 1577327"/>
                  <a:gd name="connsiteX15" fmla="*/ 455992 w 2310225"/>
                  <a:gd name="connsiteY15" fmla="*/ 1452694 h 1577327"/>
                  <a:gd name="connsiteX16" fmla="*/ 378504 w 2310225"/>
                  <a:gd name="connsiteY16" fmla="*/ 1425703 h 1577327"/>
                  <a:gd name="connsiteX17" fmla="*/ 378504 w 2310225"/>
                  <a:gd name="connsiteY17" fmla="*/ 1438329 h 1577327"/>
                  <a:gd name="connsiteX18" fmla="*/ 455992 w 2310225"/>
                  <a:gd name="connsiteY18" fmla="*/ 1438329 h 1577327"/>
                  <a:gd name="connsiteX19" fmla="*/ 455992 w 2310225"/>
                  <a:gd name="connsiteY19" fmla="*/ 1425703 h 1577327"/>
                  <a:gd name="connsiteX20" fmla="*/ 811071 w 2310225"/>
                  <a:gd name="connsiteY20" fmla="*/ 1413323 h 1577327"/>
                  <a:gd name="connsiteX21" fmla="*/ 837210 w 2310225"/>
                  <a:gd name="connsiteY21" fmla="*/ 1439461 h 1577327"/>
                  <a:gd name="connsiteX22" fmla="*/ 811071 w 2310225"/>
                  <a:gd name="connsiteY22" fmla="*/ 1465600 h 1577327"/>
                  <a:gd name="connsiteX23" fmla="*/ 784933 w 2310225"/>
                  <a:gd name="connsiteY23" fmla="*/ 1439461 h 1577327"/>
                  <a:gd name="connsiteX24" fmla="*/ 811071 w 2310225"/>
                  <a:gd name="connsiteY24" fmla="*/ 1413323 h 1577327"/>
                  <a:gd name="connsiteX25" fmla="*/ 622285 w 2310225"/>
                  <a:gd name="connsiteY25" fmla="*/ 1408070 h 1577327"/>
                  <a:gd name="connsiteX26" fmla="*/ 599667 w 2310225"/>
                  <a:gd name="connsiteY26" fmla="*/ 1430689 h 1577327"/>
                  <a:gd name="connsiteX27" fmla="*/ 599667 w 2310225"/>
                  <a:gd name="connsiteY27" fmla="*/ 1430616 h 1577327"/>
                  <a:gd name="connsiteX28" fmla="*/ 589590 w 2310225"/>
                  <a:gd name="connsiteY28" fmla="*/ 1440693 h 1577327"/>
                  <a:gd name="connsiteX29" fmla="*/ 589590 w 2310225"/>
                  <a:gd name="connsiteY29" fmla="*/ 1440766 h 1577327"/>
                  <a:gd name="connsiteX30" fmla="*/ 568359 w 2310225"/>
                  <a:gd name="connsiteY30" fmla="*/ 1461998 h 1577327"/>
                  <a:gd name="connsiteX31" fmla="*/ 576855 w 2310225"/>
                  <a:gd name="connsiteY31" fmla="*/ 1470495 h 1577327"/>
                  <a:gd name="connsiteX32" fmla="*/ 622285 w 2310225"/>
                  <a:gd name="connsiteY32" fmla="*/ 1425065 h 1577327"/>
                  <a:gd name="connsiteX33" fmla="*/ 622406 w 2310225"/>
                  <a:gd name="connsiteY33" fmla="*/ 1425186 h 1577327"/>
                  <a:gd name="connsiteX34" fmla="*/ 622450 w 2310225"/>
                  <a:gd name="connsiteY34" fmla="*/ 1425143 h 1577327"/>
                  <a:gd name="connsiteX35" fmla="*/ 667863 w 2310225"/>
                  <a:gd name="connsiteY35" fmla="*/ 1470558 h 1577327"/>
                  <a:gd name="connsiteX36" fmla="*/ 676318 w 2310225"/>
                  <a:gd name="connsiteY36" fmla="*/ 1462102 h 1577327"/>
                  <a:gd name="connsiteX37" fmla="*/ 653337 w 2310225"/>
                  <a:gd name="connsiteY37" fmla="*/ 1439122 h 1577327"/>
                  <a:gd name="connsiteX38" fmla="*/ 653337 w 2310225"/>
                  <a:gd name="connsiteY38" fmla="*/ 1411360 h 1577327"/>
                  <a:gd name="connsiteX39" fmla="*/ 643262 w 2310225"/>
                  <a:gd name="connsiteY39" fmla="*/ 1411360 h 1577327"/>
                  <a:gd name="connsiteX40" fmla="*/ 643262 w 2310225"/>
                  <a:gd name="connsiteY40" fmla="*/ 1429047 h 1577327"/>
                  <a:gd name="connsiteX41" fmla="*/ 811071 w 2310225"/>
                  <a:gd name="connsiteY41" fmla="*/ 1398714 h 1577327"/>
                  <a:gd name="connsiteX42" fmla="*/ 770324 w 2310225"/>
                  <a:gd name="connsiteY42" fmla="*/ 1439461 h 1577327"/>
                  <a:gd name="connsiteX43" fmla="*/ 811071 w 2310225"/>
                  <a:gd name="connsiteY43" fmla="*/ 1480210 h 1577327"/>
                  <a:gd name="connsiteX44" fmla="*/ 834662 w 2310225"/>
                  <a:gd name="connsiteY44" fmla="*/ 1471797 h 1577327"/>
                  <a:gd name="connsiteX45" fmla="*/ 867954 w 2310225"/>
                  <a:gd name="connsiteY45" fmla="*/ 1505089 h 1577327"/>
                  <a:gd name="connsiteX46" fmla="*/ 878283 w 2310225"/>
                  <a:gd name="connsiteY46" fmla="*/ 1494759 h 1577327"/>
                  <a:gd name="connsiteX47" fmla="*/ 844684 w 2310225"/>
                  <a:gd name="connsiteY47" fmla="*/ 1461158 h 1577327"/>
                  <a:gd name="connsiteX48" fmla="*/ 851820 w 2310225"/>
                  <a:gd name="connsiteY48" fmla="*/ 1439461 h 1577327"/>
                  <a:gd name="connsiteX49" fmla="*/ 811071 w 2310225"/>
                  <a:gd name="connsiteY49" fmla="*/ 1398714 h 1577327"/>
                  <a:gd name="connsiteX50" fmla="*/ 348032 w 2310225"/>
                  <a:gd name="connsiteY50" fmla="*/ 1398714 h 1577327"/>
                  <a:gd name="connsiteX51" fmla="*/ 348032 w 2310225"/>
                  <a:gd name="connsiteY51" fmla="*/ 1411338 h 1577327"/>
                  <a:gd name="connsiteX52" fmla="*/ 455992 w 2310225"/>
                  <a:gd name="connsiteY52" fmla="*/ 1411338 h 1577327"/>
                  <a:gd name="connsiteX53" fmla="*/ 455992 w 2310225"/>
                  <a:gd name="connsiteY53" fmla="*/ 1398714 h 1577327"/>
                  <a:gd name="connsiteX54" fmla="*/ 194093 w 2310225"/>
                  <a:gd name="connsiteY54" fmla="*/ 1398714 h 1577327"/>
                  <a:gd name="connsiteX55" fmla="*/ 167638 w 2310225"/>
                  <a:gd name="connsiteY55" fmla="*/ 1425169 h 1577327"/>
                  <a:gd name="connsiteX56" fmla="*/ 194554 w 2310225"/>
                  <a:gd name="connsiteY56" fmla="*/ 1452087 h 1577327"/>
                  <a:gd name="connsiteX57" fmla="*/ 214477 w 2310225"/>
                  <a:gd name="connsiteY57" fmla="*/ 1452087 h 1577327"/>
                  <a:gd name="connsiteX58" fmla="*/ 194353 w 2310225"/>
                  <a:gd name="connsiteY58" fmla="*/ 1431961 h 1577327"/>
                  <a:gd name="connsiteX59" fmla="*/ 227638 w 2310225"/>
                  <a:gd name="connsiteY59" fmla="*/ 1431961 h 1577327"/>
                  <a:gd name="connsiteX60" fmla="*/ 258077 w 2310225"/>
                  <a:gd name="connsiteY60" fmla="*/ 1462400 h 1577327"/>
                  <a:gd name="connsiteX61" fmla="*/ 227638 w 2310225"/>
                  <a:gd name="connsiteY61" fmla="*/ 1492839 h 1577327"/>
                  <a:gd name="connsiteX62" fmla="*/ 186131 w 2310225"/>
                  <a:gd name="connsiteY62" fmla="*/ 1492839 h 1577327"/>
                  <a:gd name="connsiteX63" fmla="*/ 186131 w 2310225"/>
                  <a:gd name="connsiteY63" fmla="*/ 1506673 h 1577327"/>
                  <a:gd name="connsiteX64" fmla="*/ 229399 w 2310225"/>
                  <a:gd name="connsiteY64" fmla="*/ 1506673 h 1577327"/>
                  <a:gd name="connsiteX65" fmla="*/ 273672 w 2310225"/>
                  <a:gd name="connsiteY65" fmla="*/ 1462400 h 1577327"/>
                  <a:gd name="connsiteX66" fmla="*/ 229399 w 2310225"/>
                  <a:gd name="connsiteY66" fmla="*/ 1418125 h 1577327"/>
                  <a:gd name="connsiteX67" fmla="*/ 194604 w 2310225"/>
                  <a:gd name="connsiteY67" fmla="*/ 1418125 h 1577327"/>
                  <a:gd name="connsiteX68" fmla="*/ 214016 w 2310225"/>
                  <a:gd name="connsiteY68" fmla="*/ 1398714 h 1577327"/>
                  <a:gd name="connsiteX69" fmla="*/ 162513 w 2310225"/>
                  <a:gd name="connsiteY69" fmla="*/ 168885 h 1577327"/>
                  <a:gd name="connsiteX70" fmla="*/ 162513 w 2310225"/>
                  <a:gd name="connsiteY70" fmla="*/ 1341524 h 1577327"/>
                  <a:gd name="connsiteX71" fmla="*/ 2144526 w 2310225"/>
                  <a:gd name="connsiteY71" fmla="*/ 1341524 h 1577327"/>
                  <a:gd name="connsiteX72" fmla="*/ 2144526 w 2310225"/>
                  <a:gd name="connsiteY72" fmla="*/ 168885 h 1577327"/>
                  <a:gd name="connsiteX73" fmla="*/ 94008 w 2310225"/>
                  <a:gd name="connsiteY73" fmla="*/ 0 h 1577327"/>
                  <a:gd name="connsiteX74" fmla="*/ 2216217 w 2310225"/>
                  <a:gd name="connsiteY74" fmla="*/ 0 h 1577327"/>
                  <a:gd name="connsiteX75" fmla="*/ 2310225 w 2310225"/>
                  <a:gd name="connsiteY75" fmla="*/ 94008 h 1577327"/>
                  <a:gd name="connsiteX76" fmla="*/ 2310225 w 2310225"/>
                  <a:gd name="connsiteY76" fmla="*/ 1483319 h 1577327"/>
                  <a:gd name="connsiteX77" fmla="*/ 2216217 w 2310225"/>
                  <a:gd name="connsiteY77" fmla="*/ 1577327 h 1577327"/>
                  <a:gd name="connsiteX78" fmla="*/ 94008 w 2310225"/>
                  <a:gd name="connsiteY78" fmla="*/ 1577327 h 1577327"/>
                  <a:gd name="connsiteX79" fmla="*/ 0 w 2310225"/>
                  <a:gd name="connsiteY79" fmla="*/ 1483319 h 1577327"/>
                  <a:gd name="connsiteX80" fmla="*/ 0 w 2310225"/>
                  <a:gd name="connsiteY80" fmla="*/ 94008 h 1577327"/>
                  <a:gd name="connsiteX81" fmla="*/ 94008 w 2310225"/>
                  <a:gd name="connsiteY81" fmla="*/ 0 h 1577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2310225" h="1577327">
                    <a:moveTo>
                      <a:pt x="378504" y="1479684"/>
                    </a:moveTo>
                    <a:lnTo>
                      <a:pt x="378504" y="1492308"/>
                    </a:lnTo>
                    <a:lnTo>
                      <a:pt x="455992" y="1492308"/>
                    </a:lnTo>
                    <a:lnTo>
                      <a:pt x="455992" y="1479684"/>
                    </a:lnTo>
                    <a:close/>
                    <a:moveTo>
                      <a:pt x="643262" y="1454331"/>
                    </a:moveTo>
                    <a:lnTo>
                      <a:pt x="643262" y="1487035"/>
                    </a:lnTo>
                    <a:lnTo>
                      <a:pt x="599667" y="1487035"/>
                    </a:lnTo>
                    <a:lnTo>
                      <a:pt x="599667" y="1456139"/>
                    </a:lnTo>
                    <a:lnTo>
                      <a:pt x="589590" y="1466216"/>
                    </a:lnTo>
                    <a:lnTo>
                      <a:pt x="589590" y="1497318"/>
                    </a:lnTo>
                    <a:lnTo>
                      <a:pt x="653337" y="1497318"/>
                    </a:lnTo>
                    <a:lnTo>
                      <a:pt x="653337" y="1464408"/>
                    </a:lnTo>
                    <a:close/>
                    <a:moveTo>
                      <a:pt x="378504" y="1452694"/>
                    </a:moveTo>
                    <a:lnTo>
                      <a:pt x="378504" y="1465319"/>
                    </a:lnTo>
                    <a:lnTo>
                      <a:pt x="455992" y="1465319"/>
                    </a:lnTo>
                    <a:lnTo>
                      <a:pt x="455992" y="1452694"/>
                    </a:lnTo>
                    <a:close/>
                    <a:moveTo>
                      <a:pt x="378504" y="1425703"/>
                    </a:moveTo>
                    <a:lnTo>
                      <a:pt x="378504" y="1438329"/>
                    </a:lnTo>
                    <a:lnTo>
                      <a:pt x="455992" y="1438329"/>
                    </a:lnTo>
                    <a:lnTo>
                      <a:pt x="455992" y="1425703"/>
                    </a:lnTo>
                    <a:close/>
                    <a:moveTo>
                      <a:pt x="811071" y="1413323"/>
                    </a:moveTo>
                    <a:cubicBezTo>
                      <a:pt x="825507" y="1413323"/>
                      <a:pt x="837210" y="1425026"/>
                      <a:pt x="837210" y="1439461"/>
                    </a:cubicBezTo>
                    <a:cubicBezTo>
                      <a:pt x="837210" y="1453897"/>
                      <a:pt x="825507" y="1465600"/>
                      <a:pt x="811071" y="1465600"/>
                    </a:cubicBezTo>
                    <a:cubicBezTo>
                      <a:pt x="796636" y="1465600"/>
                      <a:pt x="784933" y="1453897"/>
                      <a:pt x="784933" y="1439461"/>
                    </a:cubicBezTo>
                    <a:cubicBezTo>
                      <a:pt x="784933" y="1425026"/>
                      <a:pt x="796636" y="1413323"/>
                      <a:pt x="811071" y="1413323"/>
                    </a:cubicBezTo>
                    <a:close/>
                    <a:moveTo>
                      <a:pt x="622285" y="1408070"/>
                    </a:moveTo>
                    <a:lnTo>
                      <a:pt x="599667" y="1430689"/>
                    </a:lnTo>
                    <a:lnTo>
                      <a:pt x="599667" y="1430616"/>
                    </a:lnTo>
                    <a:lnTo>
                      <a:pt x="589590" y="1440693"/>
                    </a:lnTo>
                    <a:lnTo>
                      <a:pt x="589590" y="1440766"/>
                    </a:lnTo>
                    <a:lnTo>
                      <a:pt x="568359" y="1461998"/>
                    </a:lnTo>
                    <a:lnTo>
                      <a:pt x="576855" y="1470495"/>
                    </a:lnTo>
                    <a:lnTo>
                      <a:pt x="622285" y="1425065"/>
                    </a:lnTo>
                    <a:lnTo>
                      <a:pt x="622406" y="1425186"/>
                    </a:lnTo>
                    <a:lnTo>
                      <a:pt x="622450" y="1425143"/>
                    </a:lnTo>
                    <a:lnTo>
                      <a:pt x="667863" y="1470558"/>
                    </a:lnTo>
                    <a:lnTo>
                      <a:pt x="676318" y="1462102"/>
                    </a:lnTo>
                    <a:lnTo>
                      <a:pt x="653337" y="1439122"/>
                    </a:lnTo>
                    <a:lnTo>
                      <a:pt x="653337" y="1411360"/>
                    </a:lnTo>
                    <a:lnTo>
                      <a:pt x="643262" y="1411360"/>
                    </a:lnTo>
                    <a:lnTo>
                      <a:pt x="643262" y="1429047"/>
                    </a:lnTo>
                    <a:close/>
                    <a:moveTo>
                      <a:pt x="811071" y="1398714"/>
                    </a:moveTo>
                    <a:cubicBezTo>
                      <a:pt x="788568" y="1398714"/>
                      <a:pt x="770324" y="1416958"/>
                      <a:pt x="770324" y="1439461"/>
                    </a:cubicBezTo>
                    <a:cubicBezTo>
                      <a:pt x="770324" y="1461966"/>
                      <a:pt x="788568" y="1480210"/>
                      <a:pt x="811071" y="1480210"/>
                    </a:cubicBezTo>
                    <a:cubicBezTo>
                      <a:pt x="820052" y="1480210"/>
                      <a:pt x="828354" y="1477305"/>
                      <a:pt x="834662" y="1471797"/>
                    </a:cubicBezTo>
                    <a:lnTo>
                      <a:pt x="867954" y="1505089"/>
                    </a:lnTo>
                    <a:lnTo>
                      <a:pt x="878283" y="1494759"/>
                    </a:lnTo>
                    <a:lnTo>
                      <a:pt x="844684" y="1461158"/>
                    </a:lnTo>
                    <a:cubicBezTo>
                      <a:pt x="849429" y="1455198"/>
                      <a:pt x="851820" y="1447610"/>
                      <a:pt x="851820" y="1439461"/>
                    </a:cubicBezTo>
                    <a:cubicBezTo>
                      <a:pt x="851820" y="1416958"/>
                      <a:pt x="833576" y="1398714"/>
                      <a:pt x="811071" y="1398714"/>
                    </a:cubicBezTo>
                    <a:close/>
                    <a:moveTo>
                      <a:pt x="348032" y="1398714"/>
                    </a:moveTo>
                    <a:lnTo>
                      <a:pt x="348032" y="1411338"/>
                    </a:lnTo>
                    <a:lnTo>
                      <a:pt x="455992" y="1411338"/>
                    </a:lnTo>
                    <a:lnTo>
                      <a:pt x="455992" y="1398714"/>
                    </a:lnTo>
                    <a:close/>
                    <a:moveTo>
                      <a:pt x="194093" y="1398714"/>
                    </a:moveTo>
                    <a:lnTo>
                      <a:pt x="167638" y="1425169"/>
                    </a:lnTo>
                    <a:lnTo>
                      <a:pt x="194554" y="1452087"/>
                    </a:lnTo>
                    <a:lnTo>
                      <a:pt x="214477" y="1452087"/>
                    </a:lnTo>
                    <a:lnTo>
                      <a:pt x="194353" y="1431961"/>
                    </a:lnTo>
                    <a:lnTo>
                      <a:pt x="227638" y="1431961"/>
                    </a:lnTo>
                    <a:cubicBezTo>
                      <a:pt x="244449" y="1431961"/>
                      <a:pt x="258077" y="1445589"/>
                      <a:pt x="258077" y="1462400"/>
                    </a:cubicBezTo>
                    <a:cubicBezTo>
                      <a:pt x="258077" y="1479210"/>
                      <a:pt x="244449" y="1492839"/>
                      <a:pt x="227638" y="1492839"/>
                    </a:cubicBezTo>
                    <a:lnTo>
                      <a:pt x="186131" y="1492839"/>
                    </a:lnTo>
                    <a:lnTo>
                      <a:pt x="186131" y="1506673"/>
                    </a:lnTo>
                    <a:lnTo>
                      <a:pt x="229399" y="1506673"/>
                    </a:lnTo>
                    <a:cubicBezTo>
                      <a:pt x="253850" y="1506673"/>
                      <a:pt x="273672" y="1486852"/>
                      <a:pt x="273672" y="1462400"/>
                    </a:cubicBezTo>
                    <a:cubicBezTo>
                      <a:pt x="273672" y="1437948"/>
                      <a:pt x="253850" y="1418125"/>
                      <a:pt x="229399" y="1418125"/>
                    </a:cubicBezTo>
                    <a:lnTo>
                      <a:pt x="194604" y="1418125"/>
                    </a:lnTo>
                    <a:lnTo>
                      <a:pt x="214016" y="1398714"/>
                    </a:lnTo>
                    <a:close/>
                    <a:moveTo>
                      <a:pt x="162513" y="168885"/>
                    </a:moveTo>
                    <a:lnTo>
                      <a:pt x="162513" y="1341524"/>
                    </a:lnTo>
                    <a:lnTo>
                      <a:pt x="2144526" y="1341524"/>
                    </a:lnTo>
                    <a:lnTo>
                      <a:pt x="2144526" y="168885"/>
                    </a:lnTo>
                    <a:close/>
                    <a:moveTo>
                      <a:pt x="94008" y="0"/>
                    </a:moveTo>
                    <a:lnTo>
                      <a:pt x="2216217" y="0"/>
                    </a:lnTo>
                    <a:cubicBezTo>
                      <a:pt x="2268136" y="0"/>
                      <a:pt x="2310225" y="42089"/>
                      <a:pt x="2310225" y="94008"/>
                    </a:cubicBezTo>
                    <a:lnTo>
                      <a:pt x="2310225" y="1483319"/>
                    </a:lnTo>
                    <a:cubicBezTo>
                      <a:pt x="2310225" y="1535238"/>
                      <a:pt x="2268136" y="1577327"/>
                      <a:pt x="2216217" y="1577327"/>
                    </a:cubicBezTo>
                    <a:lnTo>
                      <a:pt x="94008" y="1577327"/>
                    </a:lnTo>
                    <a:cubicBezTo>
                      <a:pt x="42089" y="1577327"/>
                      <a:pt x="0" y="1535238"/>
                      <a:pt x="0" y="1483319"/>
                    </a:cubicBezTo>
                    <a:lnTo>
                      <a:pt x="0" y="94008"/>
                    </a:lnTo>
                    <a:cubicBezTo>
                      <a:pt x="0" y="42089"/>
                      <a:pt x="42089" y="0"/>
                      <a:pt x="94008"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 name="Freeform 10"/>
            <p:cNvSpPr/>
            <p:nvPr/>
          </p:nvSpPr>
          <p:spPr>
            <a:xfrm>
              <a:off x="3618090" y="3075862"/>
              <a:ext cx="2033103" cy="1429631"/>
            </a:xfrm>
            <a:custGeom>
              <a:avLst/>
              <a:gdLst>
                <a:gd name="connsiteX0" fmla="*/ 862749 w 1977242"/>
                <a:gd name="connsiteY0" fmla="*/ 1198281 h 1390351"/>
                <a:gd name="connsiteX1" fmla="*/ 855355 w 1977242"/>
                <a:gd name="connsiteY1" fmla="*/ 1207438 h 1390351"/>
                <a:gd name="connsiteX2" fmla="*/ 829618 w 1977242"/>
                <a:gd name="connsiteY2" fmla="*/ 1331767 h 1390351"/>
                <a:gd name="connsiteX3" fmla="*/ 832177 w 1977242"/>
                <a:gd name="connsiteY3" fmla="*/ 1344798 h 1390351"/>
                <a:gd name="connsiteX4" fmla="*/ 988407 w 1977242"/>
                <a:gd name="connsiteY4" fmla="*/ 1344798 h 1390351"/>
                <a:gd name="connsiteX5" fmla="*/ 988833 w 1977242"/>
                <a:gd name="connsiteY5" fmla="*/ 1344798 h 1390351"/>
                <a:gd name="connsiteX6" fmla="*/ 1145063 w 1977242"/>
                <a:gd name="connsiteY6" fmla="*/ 1344798 h 1390351"/>
                <a:gd name="connsiteX7" fmla="*/ 1147622 w 1977242"/>
                <a:gd name="connsiteY7" fmla="*/ 1331767 h 1390351"/>
                <a:gd name="connsiteX8" fmla="*/ 1121886 w 1977242"/>
                <a:gd name="connsiteY8" fmla="*/ 1207438 h 1390351"/>
                <a:gd name="connsiteX9" fmla="*/ 1114492 w 1977242"/>
                <a:gd name="connsiteY9" fmla="*/ 1198281 h 1390351"/>
                <a:gd name="connsiteX10" fmla="*/ 988620 w 1977242"/>
                <a:gd name="connsiteY10" fmla="*/ 1198400 h 1390351"/>
                <a:gd name="connsiteX11" fmla="*/ 207107 w 1977242"/>
                <a:gd name="connsiteY11" fmla="*/ 1023087 h 1390351"/>
                <a:gd name="connsiteX12" fmla="*/ 988621 w 1977242"/>
                <a:gd name="connsiteY12" fmla="*/ 1023385 h 1390351"/>
                <a:gd name="connsiteX13" fmla="*/ 1770134 w 1977242"/>
                <a:gd name="connsiteY13" fmla="*/ 1023087 h 1390351"/>
                <a:gd name="connsiteX14" fmla="*/ 1816043 w 1977242"/>
                <a:gd name="connsiteY14" fmla="*/ 1046041 h 1390351"/>
                <a:gd name="connsiteX15" fmla="*/ 1975838 w 1977242"/>
                <a:gd name="connsiteY15" fmla="*/ 1357686 h 1390351"/>
                <a:gd name="connsiteX16" fmla="*/ 1959947 w 1977242"/>
                <a:gd name="connsiteY16" fmla="*/ 1390351 h 1390351"/>
                <a:gd name="connsiteX17" fmla="*/ 989946 w 1977242"/>
                <a:gd name="connsiteY17" fmla="*/ 1390351 h 1390351"/>
                <a:gd name="connsiteX18" fmla="*/ 987297 w 1977242"/>
                <a:gd name="connsiteY18" fmla="*/ 1390351 h 1390351"/>
                <a:gd name="connsiteX19" fmla="*/ 17296 w 1977242"/>
                <a:gd name="connsiteY19" fmla="*/ 1390351 h 1390351"/>
                <a:gd name="connsiteX20" fmla="*/ 1404 w 1977242"/>
                <a:gd name="connsiteY20" fmla="*/ 1357686 h 1390351"/>
                <a:gd name="connsiteX21" fmla="*/ 161200 w 1977242"/>
                <a:gd name="connsiteY21" fmla="*/ 1046041 h 1390351"/>
                <a:gd name="connsiteX22" fmla="*/ 207107 w 1977242"/>
                <a:gd name="connsiteY22" fmla="*/ 1023087 h 1390351"/>
                <a:gd name="connsiteX23" fmla="*/ 849138 w 1977242"/>
                <a:gd name="connsiteY23" fmla="*/ 421612 h 1390351"/>
                <a:gd name="connsiteX24" fmla="*/ 1128141 w 1977242"/>
                <a:gd name="connsiteY24" fmla="*/ 421612 h 1390351"/>
                <a:gd name="connsiteX25" fmla="*/ 1122127 w 1977242"/>
                <a:gd name="connsiteY25" fmla="*/ 477135 h 1390351"/>
                <a:gd name="connsiteX26" fmla="*/ 910213 w 1977242"/>
                <a:gd name="connsiteY26" fmla="*/ 477135 h 1390351"/>
                <a:gd name="connsiteX27" fmla="*/ 915303 w 1977242"/>
                <a:gd name="connsiteY27" fmla="*/ 533583 h 1390351"/>
                <a:gd name="connsiteX28" fmla="*/ 1117499 w 1977242"/>
                <a:gd name="connsiteY28" fmla="*/ 533583 h 1390351"/>
                <a:gd name="connsiteX29" fmla="*/ 1102693 w 1977242"/>
                <a:gd name="connsiteY29" fmla="*/ 704317 h 1390351"/>
                <a:gd name="connsiteX30" fmla="*/ 988409 w 1977242"/>
                <a:gd name="connsiteY30" fmla="*/ 735317 h 1390351"/>
                <a:gd name="connsiteX31" fmla="*/ 875049 w 1977242"/>
                <a:gd name="connsiteY31" fmla="*/ 704317 h 1390351"/>
                <a:gd name="connsiteX32" fmla="*/ 866720 w 1977242"/>
                <a:gd name="connsiteY32" fmla="*/ 617331 h 1390351"/>
                <a:gd name="connsiteX33" fmla="*/ 922706 w 1977242"/>
                <a:gd name="connsiteY33" fmla="*/ 617331 h 1390351"/>
                <a:gd name="connsiteX34" fmla="*/ 926870 w 1977242"/>
                <a:gd name="connsiteY34" fmla="*/ 660361 h 1390351"/>
                <a:gd name="connsiteX35" fmla="*/ 988871 w 1977242"/>
                <a:gd name="connsiteY35" fmla="*/ 677943 h 1390351"/>
                <a:gd name="connsiteX36" fmla="*/ 1049946 w 1977242"/>
                <a:gd name="connsiteY36" fmla="*/ 659898 h 1390351"/>
                <a:gd name="connsiteX37" fmla="*/ 1056887 w 1977242"/>
                <a:gd name="connsiteY37" fmla="*/ 589569 h 1390351"/>
                <a:gd name="connsiteX38" fmla="*/ 863944 w 1977242"/>
                <a:gd name="connsiteY38" fmla="*/ 589569 h 1390351"/>
                <a:gd name="connsiteX39" fmla="*/ 807947 w 1977242"/>
                <a:gd name="connsiteY39" fmla="*/ 365302 h 1390351"/>
                <a:gd name="connsiteX40" fmla="*/ 840311 w 1977242"/>
                <a:gd name="connsiteY40" fmla="*/ 751357 h 1390351"/>
                <a:gd name="connsiteX41" fmla="*/ 988546 w 1977242"/>
                <a:gd name="connsiteY41" fmla="*/ 794542 h 1390351"/>
                <a:gd name="connsiteX42" fmla="*/ 988546 w 1977242"/>
                <a:gd name="connsiteY42" fmla="*/ 794709 h 1390351"/>
                <a:gd name="connsiteX43" fmla="*/ 1136933 w 1977242"/>
                <a:gd name="connsiteY43" fmla="*/ 751357 h 1390351"/>
                <a:gd name="connsiteX44" fmla="*/ 1169297 w 1977242"/>
                <a:gd name="connsiteY44" fmla="*/ 365302 h 1390351"/>
                <a:gd name="connsiteX45" fmla="*/ 1016874 w 1977242"/>
                <a:gd name="connsiteY45" fmla="*/ 365302 h 1390351"/>
                <a:gd name="connsiteX46" fmla="*/ 988775 w 1977242"/>
                <a:gd name="connsiteY46" fmla="*/ 365356 h 1390351"/>
                <a:gd name="connsiteX47" fmla="*/ 988775 w 1977242"/>
                <a:gd name="connsiteY47" fmla="*/ 365302 h 1390351"/>
                <a:gd name="connsiteX48" fmla="*/ 988468 w 1977242"/>
                <a:gd name="connsiteY48" fmla="*/ 365302 h 1390351"/>
                <a:gd name="connsiteX49" fmla="*/ 988469 w 1977242"/>
                <a:gd name="connsiteY49" fmla="*/ 365356 h 1390351"/>
                <a:gd name="connsiteX50" fmla="*/ 960364 w 1977242"/>
                <a:gd name="connsiteY50" fmla="*/ 365302 h 1390351"/>
                <a:gd name="connsiteX51" fmla="*/ 767051 w 1977242"/>
                <a:gd name="connsiteY51" fmla="*/ 328765 h 1390351"/>
                <a:gd name="connsiteX52" fmla="*/ 807779 w 1977242"/>
                <a:gd name="connsiteY52" fmla="*/ 328765 h 1390351"/>
                <a:gd name="connsiteX53" fmla="*/ 988372 w 1977242"/>
                <a:gd name="connsiteY53" fmla="*/ 328765 h 1390351"/>
                <a:gd name="connsiteX54" fmla="*/ 988871 w 1977242"/>
                <a:gd name="connsiteY54" fmla="*/ 328765 h 1390351"/>
                <a:gd name="connsiteX55" fmla="*/ 1171345 w 1977242"/>
                <a:gd name="connsiteY55" fmla="*/ 328765 h 1390351"/>
                <a:gd name="connsiteX56" fmla="*/ 1210192 w 1977242"/>
                <a:gd name="connsiteY56" fmla="*/ 328765 h 1390351"/>
                <a:gd name="connsiteX57" fmla="*/ 1169321 w 1977242"/>
                <a:gd name="connsiteY57" fmla="*/ 780661 h 1390351"/>
                <a:gd name="connsiteX58" fmla="*/ 988546 w 1977242"/>
                <a:gd name="connsiteY58" fmla="*/ 830259 h 1390351"/>
                <a:gd name="connsiteX59" fmla="*/ 988546 w 1977242"/>
                <a:gd name="connsiteY59" fmla="*/ 830612 h 1390351"/>
                <a:gd name="connsiteX60" fmla="*/ 807922 w 1977242"/>
                <a:gd name="connsiteY60" fmla="*/ 780661 h 1390351"/>
                <a:gd name="connsiteX61" fmla="*/ 1101768 w 1977242"/>
                <a:gd name="connsiteY61" fmla="*/ 206402 h 1390351"/>
                <a:gd name="connsiteX62" fmla="*/ 1129877 w 1977242"/>
                <a:gd name="connsiteY62" fmla="*/ 206402 h 1390351"/>
                <a:gd name="connsiteX63" fmla="*/ 1129877 w 1977242"/>
                <a:gd name="connsiteY63" fmla="*/ 263140 h 1390351"/>
                <a:gd name="connsiteX64" fmla="*/ 1169610 w 1977242"/>
                <a:gd name="connsiteY64" fmla="*/ 263140 h 1390351"/>
                <a:gd name="connsiteX65" fmla="*/ 1169610 w 1977242"/>
                <a:gd name="connsiteY65" fmla="*/ 290728 h 1390351"/>
                <a:gd name="connsiteX66" fmla="*/ 1101768 w 1977242"/>
                <a:gd name="connsiteY66" fmla="*/ 290728 h 1390351"/>
                <a:gd name="connsiteX67" fmla="*/ 992804 w 1977242"/>
                <a:gd name="connsiteY67" fmla="*/ 206402 h 1390351"/>
                <a:gd name="connsiteX68" fmla="*/ 1022300 w 1977242"/>
                <a:gd name="connsiteY68" fmla="*/ 206402 h 1390351"/>
                <a:gd name="connsiteX69" fmla="*/ 1040519 w 1977242"/>
                <a:gd name="connsiteY69" fmla="*/ 235899 h 1390351"/>
                <a:gd name="connsiteX70" fmla="*/ 1058564 w 1977242"/>
                <a:gd name="connsiteY70" fmla="*/ 206402 h 1390351"/>
                <a:gd name="connsiteX71" fmla="*/ 1087887 w 1977242"/>
                <a:gd name="connsiteY71" fmla="*/ 206402 h 1390351"/>
                <a:gd name="connsiteX72" fmla="*/ 1087887 w 1977242"/>
                <a:gd name="connsiteY72" fmla="*/ 290728 h 1390351"/>
                <a:gd name="connsiteX73" fmla="*/ 1059952 w 1977242"/>
                <a:gd name="connsiteY73" fmla="*/ 290728 h 1390351"/>
                <a:gd name="connsiteX74" fmla="*/ 1059952 w 1977242"/>
                <a:gd name="connsiteY74" fmla="*/ 248738 h 1390351"/>
                <a:gd name="connsiteX75" fmla="*/ 1040172 w 1977242"/>
                <a:gd name="connsiteY75" fmla="*/ 279450 h 1390351"/>
                <a:gd name="connsiteX76" fmla="*/ 1020565 w 1977242"/>
                <a:gd name="connsiteY76" fmla="*/ 248391 h 1390351"/>
                <a:gd name="connsiteX77" fmla="*/ 1020565 w 1977242"/>
                <a:gd name="connsiteY77" fmla="*/ 290728 h 1390351"/>
                <a:gd name="connsiteX78" fmla="*/ 992804 w 1977242"/>
                <a:gd name="connsiteY78" fmla="*/ 290728 h 1390351"/>
                <a:gd name="connsiteX79" fmla="*/ 903099 w 1977242"/>
                <a:gd name="connsiteY79" fmla="*/ 206402 h 1390351"/>
                <a:gd name="connsiteX80" fmla="*/ 980832 w 1977242"/>
                <a:gd name="connsiteY80" fmla="*/ 206402 h 1390351"/>
                <a:gd name="connsiteX81" fmla="*/ 980832 w 1977242"/>
                <a:gd name="connsiteY81" fmla="*/ 234511 h 1390351"/>
                <a:gd name="connsiteX82" fmla="*/ 956020 w 1977242"/>
                <a:gd name="connsiteY82" fmla="*/ 234511 h 1390351"/>
                <a:gd name="connsiteX83" fmla="*/ 956020 w 1977242"/>
                <a:gd name="connsiteY83" fmla="*/ 290728 h 1390351"/>
                <a:gd name="connsiteX84" fmla="*/ 927564 w 1977242"/>
                <a:gd name="connsiteY84" fmla="*/ 290728 h 1390351"/>
                <a:gd name="connsiteX85" fmla="*/ 927564 w 1977242"/>
                <a:gd name="connsiteY85" fmla="*/ 234511 h 1390351"/>
                <a:gd name="connsiteX86" fmla="*/ 903099 w 1977242"/>
                <a:gd name="connsiteY86" fmla="*/ 234511 h 1390351"/>
                <a:gd name="connsiteX87" fmla="*/ 808537 w 1977242"/>
                <a:gd name="connsiteY87" fmla="*/ 206402 h 1390351"/>
                <a:gd name="connsiteX88" fmla="*/ 836819 w 1977242"/>
                <a:gd name="connsiteY88" fmla="*/ 206402 h 1390351"/>
                <a:gd name="connsiteX89" fmla="*/ 836819 w 1977242"/>
                <a:gd name="connsiteY89" fmla="*/ 234511 h 1390351"/>
                <a:gd name="connsiteX90" fmla="*/ 862672 w 1977242"/>
                <a:gd name="connsiteY90" fmla="*/ 234511 h 1390351"/>
                <a:gd name="connsiteX91" fmla="*/ 862672 w 1977242"/>
                <a:gd name="connsiteY91" fmla="*/ 206402 h 1390351"/>
                <a:gd name="connsiteX92" fmla="*/ 890780 w 1977242"/>
                <a:gd name="connsiteY92" fmla="*/ 206402 h 1390351"/>
                <a:gd name="connsiteX93" fmla="*/ 890780 w 1977242"/>
                <a:gd name="connsiteY93" fmla="*/ 290728 h 1390351"/>
                <a:gd name="connsiteX94" fmla="*/ 862672 w 1977242"/>
                <a:gd name="connsiteY94" fmla="*/ 290728 h 1390351"/>
                <a:gd name="connsiteX95" fmla="*/ 862672 w 1977242"/>
                <a:gd name="connsiteY95" fmla="*/ 262793 h 1390351"/>
                <a:gd name="connsiteX96" fmla="*/ 836819 w 1977242"/>
                <a:gd name="connsiteY96" fmla="*/ 262793 h 1390351"/>
                <a:gd name="connsiteX97" fmla="*/ 836819 w 1977242"/>
                <a:gd name="connsiteY97" fmla="*/ 290728 h 1390351"/>
                <a:gd name="connsiteX98" fmla="*/ 808537 w 1977242"/>
                <a:gd name="connsiteY98" fmla="*/ 290728 h 1390351"/>
                <a:gd name="connsiteX99" fmla="*/ 272911 w 1977242"/>
                <a:gd name="connsiteY99" fmla="*/ 106386 h 1390351"/>
                <a:gd name="connsiteX100" fmla="*/ 272911 w 1977242"/>
                <a:gd name="connsiteY100" fmla="*/ 900879 h 1390351"/>
                <a:gd name="connsiteX101" fmla="*/ 1698256 w 1977242"/>
                <a:gd name="connsiteY101" fmla="*/ 900879 h 1390351"/>
                <a:gd name="connsiteX102" fmla="*/ 1698256 w 1977242"/>
                <a:gd name="connsiteY102" fmla="*/ 106386 h 1390351"/>
                <a:gd name="connsiteX103" fmla="*/ 194704 w 1977242"/>
                <a:gd name="connsiteY103" fmla="*/ 0 h 1390351"/>
                <a:gd name="connsiteX104" fmla="*/ 1776465 w 1977242"/>
                <a:gd name="connsiteY104" fmla="*/ 0 h 1390351"/>
                <a:gd name="connsiteX105" fmla="*/ 1798632 w 1977242"/>
                <a:gd name="connsiteY105" fmla="*/ 22168 h 1390351"/>
                <a:gd name="connsiteX106" fmla="*/ 1798632 w 1977242"/>
                <a:gd name="connsiteY106" fmla="*/ 984106 h 1390351"/>
                <a:gd name="connsiteX107" fmla="*/ 1776465 w 1977242"/>
                <a:gd name="connsiteY107" fmla="*/ 1006274 h 1390351"/>
                <a:gd name="connsiteX108" fmla="*/ 194704 w 1977242"/>
                <a:gd name="connsiteY108" fmla="*/ 1006274 h 1390351"/>
                <a:gd name="connsiteX109" fmla="*/ 172535 w 1977242"/>
                <a:gd name="connsiteY109" fmla="*/ 984106 h 1390351"/>
                <a:gd name="connsiteX110" fmla="*/ 172535 w 1977242"/>
                <a:gd name="connsiteY110" fmla="*/ 22168 h 1390351"/>
                <a:gd name="connsiteX111" fmla="*/ 194704 w 1977242"/>
                <a:gd name="connsiteY111" fmla="*/ 0 h 1390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1977242" h="1390351">
                  <a:moveTo>
                    <a:pt x="862749" y="1198281"/>
                  </a:moveTo>
                  <a:cubicBezTo>
                    <a:pt x="858863" y="1198868"/>
                    <a:pt x="856398" y="1202625"/>
                    <a:pt x="855355" y="1207438"/>
                  </a:cubicBezTo>
                  <a:lnTo>
                    <a:pt x="829618" y="1331767"/>
                  </a:lnTo>
                  <a:cubicBezTo>
                    <a:pt x="828907" y="1335758"/>
                    <a:pt x="829903" y="1344329"/>
                    <a:pt x="832177" y="1344798"/>
                  </a:cubicBezTo>
                  <a:lnTo>
                    <a:pt x="988407" y="1344798"/>
                  </a:lnTo>
                  <a:lnTo>
                    <a:pt x="988833" y="1344798"/>
                  </a:lnTo>
                  <a:lnTo>
                    <a:pt x="1145063" y="1344798"/>
                  </a:lnTo>
                  <a:cubicBezTo>
                    <a:pt x="1147338" y="1344329"/>
                    <a:pt x="1148333" y="1335758"/>
                    <a:pt x="1147622" y="1331767"/>
                  </a:cubicBezTo>
                  <a:lnTo>
                    <a:pt x="1121886" y="1207438"/>
                  </a:lnTo>
                  <a:cubicBezTo>
                    <a:pt x="1120843" y="1202625"/>
                    <a:pt x="1118378" y="1198868"/>
                    <a:pt x="1114492" y="1198281"/>
                  </a:cubicBezTo>
                  <a:lnTo>
                    <a:pt x="988620" y="1198400"/>
                  </a:lnTo>
                  <a:close/>
                  <a:moveTo>
                    <a:pt x="207107" y="1023087"/>
                  </a:moveTo>
                  <a:lnTo>
                    <a:pt x="988621" y="1023385"/>
                  </a:lnTo>
                  <a:lnTo>
                    <a:pt x="1770134" y="1023087"/>
                  </a:lnTo>
                  <a:cubicBezTo>
                    <a:pt x="1794266" y="1024559"/>
                    <a:pt x="1809569" y="1033976"/>
                    <a:pt x="1816043" y="1046041"/>
                  </a:cubicBezTo>
                  <a:lnTo>
                    <a:pt x="1975838" y="1357686"/>
                  </a:lnTo>
                  <a:cubicBezTo>
                    <a:pt x="1980252" y="1367692"/>
                    <a:pt x="1974072" y="1389174"/>
                    <a:pt x="1959947" y="1390351"/>
                  </a:cubicBezTo>
                  <a:lnTo>
                    <a:pt x="989946" y="1390351"/>
                  </a:lnTo>
                  <a:lnTo>
                    <a:pt x="987297" y="1390351"/>
                  </a:lnTo>
                  <a:lnTo>
                    <a:pt x="17296" y="1390351"/>
                  </a:lnTo>
                  <a:cubicBezTo>
                    <a:pt x="3170" y="1389174"/>
                    <a:pt x="-3010" y="1367692"/>
                    <a:pt x="1404" y="1357686"/>
                  </a:cubicBezTo>
                  <a:lnTo>
                    <a:pt x="161200" y="1046041"/>
                  </a:lnTo>
                  <a:cubicBezTo>
                    <a:pt x="167674" y="1033976"/>
                    <a:pt x="182977" y="1024559"/>
                    <a:pt x="207107" y="1023087"/>
                  </a:cubicBezTo>
                  <a:close/>
                  <a:moveTo>
                    <a:pt x="849138" y="421612"/>
                  </a:moveTo>
                  <a:lnTo>
                    <a:pt x="1128141" y="421612"/>
                  </a:lnTo>
                  <a:lnTo>
                    <a:pt x="1122127" y="477135"/>
                  </a:lnTo>
                  <a:lnTo>
                    <a:pt x="910213" y="477135"/>
                  </a:lnTo>
                  <a:lnTo>
                    <a:pt x="915303" y="533583"/>
                  </a:lnTo>
                  <a:lnTo>
                    <a:pt x="1117499" y="533583"/>
                  </a:lnTo>
                  <a:lnTo>
                    <a:pt x="1102693" y="704317"/>
                  </a:lnTo>
                  <a:lnTo>
                    <a:pt x="988409" y="735317"/>
                  </a:lnTo>
                  <a:lnTo>
                    <a:pt x="875049" y="704317"/>
                  </a:lnTo>
                  <a:lnTo>
                    <a:pt x="866720" y="617331"/>
                  </a:lnTo>
                  <a:lnTo>
                    <a:pt x="922706" y="617331"/>
                  </a:lnTo>
                  <a:lnTo>
                    <a:pt x="926870" y="660361"/>
                  </a:lnTo>
                  <a:lnTo>
                    <a:pt x="988871" y="677943"/>
                  </a:lnTo>
                  <a:lnTo>
                    <a:pt x="1049946" y="659898"/>
                  </a:lnTo>
                  <a:lnTo>
                    <a:pt x="1056887" y="589569"/>
                  </a:lnTo>
                  <a:lnTo>
                    <a:pt x="863944" y="589569"/>
                  </a:lnTo>
                  <a:close/>
                  <a:moveTo>
                    <a:pt x="807947" y="365302"/>
                  </a:moveTo>
                  <a:lnTo>
                    <a:pt x="840311" y="751357"/>
                  </a:lnTo>
                  <a:lnTo>
                    <a:pt x="988546" y="794542"/>
                  </a:lnTo>
                  <a:lnTo>
                    <a:pt x="988546" y="794709"/>
                  </a:lnTo>
                  <a:lnTo>
                    <a:pt x="1136933" y="751357"/>
                  </a:lnTo>
                  <a:lnTo>
                    <a:pt x="1169297" y="365302"/>
                  </a:lnTo>
                  <a:lnTo>
                    <a:pt x="1016874" y="365302"/>
                  </a:lnTo>
                  <a:lnTo>
                    <a:pt x="988775" y="365356"/>
                  </a:lnTo>
                  <a:lnTo>
                    <a:pt x="988775" y="365302"/>
                  </a:lnTo>
                  <a:lnTo>
                    <a:pt x="988468" y="365302"/>
                  </a:lnTo>
                  <a:cubicBezTo>
                    <a:pt x="988469" y="365320"/>
                    <a:pt x="988469" y="365338"/>
                    <a:pt x="988469" y="365356"/>
                  </a:cubicBezTo>
                  <a:lnTo>
                    <a:pt x="960364" y="365302"/>
                  </a:lnTo>
                  <a:close/>
                  <a:moveTo>
                    <a:pt x="767051" y="328765"/>
                  </a:moveTo>
                  <a:lnTo>
                    <a:pt x="807779" y="328765"/>
                  </a:lnTo>
                  <a:lnTo>
                    <a:pt x="988372" y="328765"/>
                  </a:lnTo>
                  <a:lnTo>
                    <a:pt x="988871" y="328765"/>
                  </a:lnTo>
                  <a:lnTo>
                    <a:pt x="1171345" y="328765"/>
                  </a:lnTo>
                  <a:lnTo>
                    <a:pt x="1210192" y="328765"/>
                  </a:lnTo>
                  <a:lnTo>
                    <a:pt x="1169321" y="780661"/>
                  </a:lnTo>
                  <a:lnTo>
                    <a:pt x="988546" y="830259"/>
                  </a:lnTo>
                  <a:lnTo>
                    <a:pt x="988546" y="830612"/>
                  </a:lnTo>
                  <a:lnTo>
                    <a:pt x="807922" y="780661"/>
                  </a:lnTo>
                  <a:close/>
                  <a:moveTo>
                    <a:pt x="1101768" y="206402"/>
                  </a:moveTo>
                  <a:lnTo>
                    <a:pt x="1129877" y="206402"/>
                  </a:lnTo>
                  <a:lnTo>
                    <a:pt x="1129877" y="263140"/>
                  </a:lnTo>
                  <a:lnTo>
                    <a:pt x="1169610" y="263140"/>
                  </a:lnTo>
                  <a:lnTo>
                    <a:pt x="1169610" y="290728"/>
                  </a:lnTo>
                  <a:lnTo>
                    <a:pt x="1101768" y="290728"/>
                  </a:lnTo>
                  <a:close/>
                  <a:moveTo>
                    <a:pt x="992804" y="206402"/>
                  </a:moveTo>
                  <a:lnTo>
                    <a:pt x="1022300" y="206402"/>
                  </a:lnTo>
                  <a:lnTo>
                    <a:pt x="1040519" y="235899"/>
                  </a:lnTo>
                  <a:lnTo>
                    <a:pt x="1058564" y="206402"/>
                  </a:lnTo>
                  <a:lnTo>
                    <a:pt x="1087887" y="206402"/>
                  </a:lnTo>
                  <a:lnTo>
                    <a:pt x="1087887" y="290728"/>
                  </a:lnTo>
                  <a:lnTo>
                    <a:pt x="1059952" y="290728"/>
                  </a:lnTo>
                  <a:lnTo>
                    <a:pt x="1059952" y="248738"/>
                  </a:lnTo>
                  <a:lnTo>
                    <a:pt x="1040172" y="279450"/>
                  </a:lnTo>
                  <a:lnTo>
                    <a:pt x="1020565" y="248391"/>
                  </a:lnTo>
                  <a:lnTo>
                    <a:pt x="1020565" y="290728"/>
                  </a:lnTo>
                  <a:lnTo>
                    <a:pt x="992804" y="290728"/>
                  </a:lnTo>
                  <a:close/>
                  <a:moveTo>
                    <a:pt x="903099" y="206402"/>
                  </a:moveTo>
                  <a:lnTo>
                    <a:pt x="980832" y="206402"/>
                  </a:lnTo>
                  <a:lnTo>
                    <a:pt x="980832" y="234511"/>
                  </a:lnTo>
                  <a:lnTo>
                    <a:pt x="956020" y="234511"/>
                  </a:lnTo>
                  <a:lnTo>
                    <a:pt x="956020" y="290728"/>
                  </a:lnTo>
                  <a:lnTo>
                    <a:pt x="927564" y="290728"/>
                  </a:lnTo>
                  <a:lnTo>
                    <a:pt x="927564" y="234511"/>
                  </a:lnTo>
                  <a:lnTo>
                    <a:pt x="903099" y="234511"/>
                  </a:lnTo>
                  <a:close/>
                  <a:moveTo>
                    <a:pt x="808537" y="206402"/>
                  </a:moveTo>
                  <a:lnTo>
                    <a:pt x="836819" y="206402"/>
                  </a:lnTo>
                  <a:lnTo>
                    <a:pt x="836819" y="234511"/>
                  </a:lnTo>
                  <a:lnTo>
                    <a:pt x="862672" y="234511"/>
                  </a:lnTo>
                  <a:lnTo>
                    <a:pt x="862672" y="206402"/>
                  </a:lnTo>
                  <a:lnTo>
                    <a:pt x="890780" y="206402"/>
                  </a:lnTo>
                  <a:lnTo>
                    <a:pt x="890780" y="290728"/>
                  </a:lnTo>
                  <a:lnTo>
                    <a:pt x="862672" y="290728"/>
                  </a:lnTo>
                  <a:lnTo>
                    <a:pt x="862672" y="262793"/>
                  </a:lnTo>
                  <a:lnTo>
                    <a:pt x="836819" y="262793"/>
                  </a:lnTo>
                  <a:lnTo>
                    <a:pt x="836819" y="290728"/>
                  </a:lnTo>
                  <a:lnTo>
                    <a:pt x="808537" y="290728"/>
                  </a:lnTo>
                  <a:close/>
                  <a:moveTo>
                    <a:pt x="272911" y="106386"/>
                  </a:moveTo>
                  <a:lnTo>
                    <a:pt x="272911" y="900879"/>
                  </a:lnTo>
                  <a:lnTo>
                    <a:pt x="1698256" y="900879"/>
                  </a:lnTo>
                  <a:lnTo>
                    <a:pt x="1698256" y="106386"/>
                  </a:lnTo>
                  <a:close/>
                  <a:moveTo>
                    <a:pt x="194704" y="0"/>
                  </a:moveTo>
                  <a:lnTo>
                    <a:pt x="1776465" y="0"/>
                  </a:lnTo>
                  <a:cubicBezTo>
                    <a:pt x="1788708" y="0"/>
                    <a:pt x="1798632" y="9925"/>
                    <a:pt x="1798632" y="22168"/>
                  </a:cubicBezTo>
                  <a:lnTo>
                    <a:pt x="1798632" y="984106"/>
                  </a:lnTo>
                  <a:cubicBezTo>
                    <a:pt x="1798632" y="996350"/>
                    <a:pt x="1788708" y="1006274"/>
                    <a:pt x="1776465" y="1006274"/>
                  </a:cubicBezTo>
                  <a:lnTo>
                    <a:pt x="194704" y="1006274"/>
                  </a:lnTo>
                  <a:cubicBezTo>
                    <a:pt x="182460" y="1006274"/>
                    <a:pt x="172535" y="996350"/>
                    <a:pt x="172535" y="984106"/>
                  </a:cubicBezTo>
                  <a:lnTo>
                    <a:pt x="172535" y="22168"/>
                  </a:lnTo>
                  <a:cubicBezTo>
                    <a:pt x="172535" y="9925"/>
                    <a:pt x="182460" y="0"/>
                    <a:pt x="19470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9" name="Group 38"/>
          <p:cNvGrpSpPr/>
          <p:nvPr/>
        </p:nvGrpSpPr>
        <p:grpSpPr>
          <a:xfrm>
            <a:off x="774066" y="3030527"/>
            <a:ext cx="10749720" cy="900920"/>
            <a:chOff x="774066" y="3293640"/>
            <a:chExt cx="10749720" cy="900920"/>
          </a:xfrm>
        </p:grpSpPr>
        <p:sp>
          <p:nvSpPr>
            <p:cNvPr id="37" name="Rectangle 36"/>
            <p:cNvSpPr/>
            <p:nvPr/>
          </p:nvSpPr>
          <p:spPr bwMode="auto">
            <a:xfrm>
              <a:off x="774066" y="3293640"/>
              <a:ext cx="10749720" cy="9009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3600" dirty="0" smtClean="0">
                  <a:gradFill>
                    <a:gsLst>
                      <a:gs pos="0">
                        <a:srgbClr val="FFFFFF"/>
                      </a:gs>
                      <a:gs pos="100000">
                        <a:srgbClr val="FFFFFF"/>
                      </a:gs>
                    </a:gsLst>
                    <a:lin ang="5400000" scaled="0"/>
                  </a:gradFill>
                  <a:ea typeface="Segoe UI" pitchFamily="34" charset="0"/>
                  <a:cs typeface="Segoe UI" pitchFamily="34" charset="0"/>
                </a:rPr>
                <a:t>Services (SOAP/REST)</a:t>
              </a:r>
            </a:p>
          </p:txBody>
        </p:sp>
        <p:sp>
          <p:nvSpPr>
            <p:cNvPr id="24" name="Cloud Icon 02"/>
            <p:cNvSpPr>
              <a:spLocks noChangeAspect="1"/>
            </p:cNvSpPr>
            <p:nvPr/>
          </p:nvSpPr>
          <p:spPr bwMode="auto">
            <a:xfrm>
              <a:off x="961672" y="3469758"/>
              <a:ext cx="804006" cy="548683"/>
            </a:xfrm>
            <a:custGeom>
              <a:avLst/>
              <a:gdLst/>
              <a:ahLst/>
              <a:cxnLst/>
              <a:rect l="l" t="t" r="r" b="b"/>
              <a:pathLst>
                <a:path w="806079" h="550097">
                  <a:moveTo>
                    <a:pt x="513182" y="0"/>
                  </a:moveTo>
                  <a:cubicBezTo>
                    <a:pt x="617747" y="0"/>
                    <a:pt x="702514" y="84767"/>
                    <a:pt x="702514" y="189332"/>
                  </a:cubicBezTo>
                  <a:cubicBezTo>
                    <a:pt x="702514" y="206482"/>
                    <a:pt x="700234" y="223099"/>
                    <a:pt x="695191" y="238690"/>
                  </a:cubicBezTo>
                  <a:cubicBezTo>
                    <a:pt x="759875" y="257891"/>
                    <a:pt x="806079" y="318231"/>
                    <a:pt x="806079" y="389361"/>
                  </a:cubicBezTo>
                  <a:cubicBezTo>
                    <a:pt x="806079" y="478132"/>
                    <a:pt x="734115" y="550096"/>
                    <a:pt x="645344" y="550096"/>
                  </a:cubicBezTo>
                  <a:lnTo>
                    <a:pt x="645339" y="550095"/>
                  </a:lnTo>
                  <a:lnTo>
                    <a:pt x="160745" y="550095"/>
                  </a:lnTo>
                  <a:cubicBezTo>
                    <a:pt x="160742" y="550097"/>
                    <a:pt x="160738" y="550097"/>
                    <a:pt x="160735" y="550097"/>
                  </a:cubicBezTo>
                  <a:cubicBezTo>
                    <a:pt x="71964" y="550097"/>
                    <a:pt x="0" y="478133"/>
                    <a:pt x="0" y="389362"/>
                  </a:cubicBezTo>
                  <a:cubicBezTo>
                    <a:pt x="0" y="318387"/>
                    <a:pt x="46004" y="258155"/>
                    <a:pt x="110460" y="238777"/>
                  </a:cubicBezTo>
                  <a:cubicBezTo>
                    <a:pt x="104615" y="226580"/>
                    <a:pt x="102400" y="212977"/>
                    <a:pt x="102400" y="198856"/>
                  </a:cubicBezTo>
                  <a:cubicBezTo>
                    <a:pt x="102400" y="125869"/>
                    <a:pt x="161567" y="66702"/>
                    <a:pt x="234554" y="66702"/>
                  </a:cubicBezTo>
                  <a:cubicBezTo>
                    <a:pt x="277173" y="66702"/>
                    <a:pt x="315080" y="86876"/>
                    <a:pt x="337520" y="119528"/>
                  </a:cubicBezTo>
                  <a:cubicBezTo>
                    <a:pt x="365006" y="49446"/>
                    <a:pt x="433320" y="0"/>
                    <a:pt x="513182" y="0"/>
                  </a:cubicBezTo>
                  <a:close/>
                </a:path>
              </a:pathLst>
            </a:custGeom>
            <a:solidFill>
              <a:srgbClr val="3C454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z="2400" b="1" dirty="0" smtClean="0">
                <a:gradFill>
                  <a:gsLst>
                    <a:gs pos="0">
                      <a:srgbClr val="FFFFFF"/>
                    </a:gs>
                    <a:gs pos="100000">
                      <a:srgbClr val="FFFFFF"/>
                    </a:gs>
                  </a:gsLst>
                  <a:lin ang="5400000" scaled="0"/>
                </a:gradFill>
              </a:endParaRPr>
            </a:p>
          </p:txBody>
        </p:sp>
      </p:grpSp>
      <p:grpSp>
        <p:nvGrpSpPr>
          <p:cNvPr id="40" name="Group 39"/>
          <p:cNvGrpSpPr/>
          <p:nvPr/>
        </p:nvGrpSpPr>
        <p:grpSpPr>
          <a:xfrm>
            <a:off x="774066" y="1337475"/>
            <a:ext cx="10749720" cy="900920"/>
            <a:chOff x="774066" y="1646462"/>
            <a:chExt cx="10749720" cy="900920"/>
          </a:xfrm>
        </p:grpSpPr>
        <p:sp>
          <p:nvSpPr>
            <p:cNvPr id="38" name="Rectangle 37"/>
            <p:cNvSpPr/>
            <p:nvPr/>
          </p:nvSpPr>
          <p:spPr bwMode="auto">
            <a:xfrm>
              <a:off x="774066" y="1646462"/>
              <a:ext cx="10749720" cy="9009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3600" dirty="0" smtClean="0">
                  <a:gradFill>
                    <a:gsLst>
                      <a:gs pos="0">
                        <a:srgbClr val="FFFFFF"/>
                      </a:gs>
                      <a:gs pos="100000">
                        <a:srgbClr val="FFFFFF"/>
                      </a:gs>
                    </a:gsLst>
                    <a:lin ang="5400000" scaled="0"/>
                  </a:gradFill>
                  <a:ea typeface="Segoe UI" pitchFamily="34" charset="0"/>
                  <a:cs typeface="Segoe UI" pitchFamily="34" charset="0"/>
                </a:rPr>
                <a:t>Data Storage</a:t>
              </a:r>
            </a:p>
          </p:txBody>
        </p:sp>
        <p:sp>
          <p:nvSpPr>
            <p:cNvPr id="27" name="SQL Database Icon"/>
            <p:cNvSpPr>
              <a:spLocks noChangeAspect="1"/>
            </p:cNvSpPr>
            <p:nvPr/>
          </p:nvSpPr>
          <p:spPr>
            <a:xfrm>
              <a:off x="1145474" y="1825746"/>
              <a:ext cx="436402" cy="576891"/>
            </a:xfrm>
            <a:custGeom>
              <a:avLst/>
              <a:gdLst>
                <a:gd name="connsiteX0" fmla="*/ 221877 w 338942"/>
                <a:gd name="connsiteY0" fmla="*/ 278494 h 448056"/>
                <a:gd name="connsiteX1" fmla="*/ 239164 w 338942"/>
                <a:gd name="connsiteY1" fmla="*/ 278494 h 448056"/>
                <a:gd name="connsiteX2" fmla="*/ 256158 w 338942"/>
                <a:gd name="connsiteY2" fmla="*/ 283280 h 448056"/>
                <a:gd name="connsiteX3" fmla="*/ 262311 w 338942"/>
                <a:gd name="connsiteY3" fmla="*/ 296465 h 448056"/>
                <a:gd name="connsiteX4" fmla="*/ 256256 w 338942"/>
                <a:gd name="connsiteY4" fmla="*/ 310237 h 448056"/>
                <a:gd name="connsiteX5" fmla="*/ 238969 w 338942"/>
                <a:gd name="connsiteY5" fmla="*/ 315413 h 448056"/>
                <a:gd name="connsiteX6" fmla="*/ 221877 w 338942"/>
                <a:gd name="connsiteY6" fmla="*/ 315413 h 448056"/>
                <a:gd name="connsiteX7" fmla="*/ 79002 w 338942"/>
                <a:gd name="connsiteY7" fmla="*/ 224288 h 448056"/>
                <a:gd name="connsiteX8" fmla="*/ 94433 w 338942"/>
                <a:gd name="connsiteY8" fmla="*/ 224288 h 448056"/>
                <a:gd name="connsiteX9" fmla="*/ 127348 w 338942"/>
                <a:gd name="connsiteY9" fmla="*/ 236204 h 448056"/>
                <a:gd name="connsiteX10" fmla="*/ 138482 w 338942"/>
                <a:gd name="connsiteY10" fmla="*/ 267262 h 448056"/>
                <a:gd name="connsiteX11" fmla="*/ 127055 w 338942"/>
                <a:gd name="connsiteY11" fmla="*/ 300470 h 448056"/>
                <a:gd name="connsiteX12" fmla="*/ 94629 w 338942"/>
                <a:gd name="connsiteY12" fmla="*/ 313069 h 448056"/>
                <a:gd name="connsiteX13" fmla="*/ 79002 w 338942"/>
                <a:gd name="connsiteY13" fmla="*/ 313069 h 448056"/>
                <a:gd name="connsiteX14" fmla="*/ 221877 w 338942"/>
                <a:gd name="connsiteY14" fmla="*/ 221847 h 448056"/>
                <a:gd name="connsiteX15" fmla="*/ 233695 w 338942"/>
                <a:gd name="connsiteY15" fmla="*/ 221847 h 448056"/>
                <a:gd name="connsiteX16" fmla="*/ 256744 w 338942"/>
                <a:gd name="connsiteY16" fmla="*/ 237278 h 448056"/>
                <a:gd name="connsiteX17" fmla="*/ 251080 w 338942"/>
                <a:gd name="connsiteY17" fmla="*/ 250268 h 448056"/>
                <a:gd name="connsiteX18" fmla="*/ 235746 w 338942"/>
                <a:gd name="connsiteY18" fmla="*/ 255054 h 448056"/>
                <a:gd name="connsiteX19" fmla="*/ 221877 w 338942"/>
                <a:gd name="connsiteY19" fmla="*/ 255054 h 448056"/>
                <a:gd name="connsiteX20" fmla="*/ 190330 w 338942"/>
                <a:gd name="connsiteY20" fmla="*/ 198602 h 448056"/>
                <a:gd name="connsiteX21" fmla="*/ 190330 w 338942"/>
                <a:gd name="connsiteY21" fmla="*/ 338658 h 448056"/>
                <a:gd name="connsiteX22" fmla="*/ 244145 w 338942"/>
                <a:gd name="connsiteY22" fmla="*/ 338658 h 448056"/>
                <a:gd name="connsiteX23" fmla="*/ 281796 w 338942"/>
                <a:gd name="connsiteY23" fmla="*/ 327329 h 448056"/>
                <a:gd name="connsiteX24" fmla="*/ 295519 w 338942"/>
                <a:gd name="connsiteY24" fmla="*/ 296856 h 448056"/>
                <a:gd name="connsiteX25" fmla="*/ 286826 w 338942"/>
                <a:gd name="connsiteY25" fmla="*/ 274783 h 448056"/>
                <a:gd name="connsiteX26" fmla="*/ 262702 w 338942"/>
                <a:gd name="connsiteY26" fmla="*/ 263453 h 448056"/>
                <a:gd name="connsiteX27" fmla="*/ 262702 w 338942"/>
                <a:gd name="connsiteY27" fmla="*/ 263063 h 448056"/>
                <a:gd name="connsiteX28" fmla="*/ 281162 w 338942"/>
                <a:gd name="connsiteY28" fmla="*/ 252514 h 448056"/>
                <a:gd name="connsiteX29" fmla="*/ 289952 w 338942"/>
                <a:gd name="connsiteY29" fmla="*/ 231418 h 448056"/>
                <a:gd name="connsiteX30" fmla="*/ 278036 w 338942"/>
                <a:gd name="connsiteY30" fmla="*/ 207685 h 448056"/>
                <a:gd name="connsiteX31" fmla="*/ 241313 w 338942"/>
                <a:gd name="connsiteY31" fmla="*/ 198602 h 448056"/>
                <a:gd name="connsiteX32" fmla="*/ 47455 w 338942"/>
                <a:gd name="connsiteY32" fmla="*/ 198602 h 448056"/>
                <a:gd name="connsiteX33" fmla="*/ 47455 w 338942"/>
                <a:gd name="connsiteY33" fmla="*/ 338658 h 448056"/>
                <a:gd name="connsiteX34" fmla="*/ 97070 w 338942"/>
                <a:gd name="connsiteY34" fmla="*/ 338658 h 448056"/>
                <a:gd name="connsiteX35" fmla="*/ 151325 w 338942"/>
                <a:gd name="connsiteY35" fmla="*/ 319076 h 448056"/>
                <a:gd name="connsiteX36" fmla="*/ 171689 w 338942"/>
                <a:gd name="connsiteY36" fmla="*/ 266872 h 448056"/>
                <a:gd name="connsiteX37" fmla="*/ 97070 w 338942"/>
                <a:gd name="connsiteY37" fmla="*/ 198602 h 448056"/>
                <a:gd name="connsiteX38" fmla="*/ 169471 w 338942"/>
                <a:gd name="connsiteY38" fmla="*/ 21905 h 448056"/>
                <a:gd name="connsiteX39" fmla="*/ 47606 w 338942"/>
                <a:gd name="connsiteY39" fmla="*/ 61850 h 448056"/>
                <a:gd name="connsiteX40" fmla="*/ 169471 w 338942"/>
                <a:gd name="connsiteY40" fmla="*/ 101795 h 448056"/>
                <a:gd name="connsiteX41" fmla="*/ 291336 w 338942"/>
                <a:gd name="connsiteY41" fmla="*/ 61850 h 448056"/>
                <a:gd name="connsiteX42" fmla="*/ 169471 w 338942"/>
                <a:gd name="connsiteY42" fmla="*/ 21905 h 448056"/>
                <a:gd name="connsiteX43" fmla="*/ 169471 w 338942"/>
                <a:gd name="connsiteY43" fmla="*/ 0 h 448056"/>
                <a:gd name="connsiteX44" fmla="*/ 338942 w 338942"/>
                <a:gd name="connsiteY44" fmla="*/ 55550 h 448056"/>
                <a:gd name="connsiteX45" fmla="*/ 338942 w 338942"/>
                <a:gd name="connsiteY45" fmla="*/ 392507 h 448056"/>
                <a:gd name="connsiteX46" fmla="*/ 338942 w 338942"/>
                <a:gd name="connsiteY46" fmla="*/ 395783 h 448056"/>
                <a:gd name="connsiteX47" fmla="*/ 337934 w 338942"/>
                <a:gd name="connsiteY47" fmla="*/ 395783 h 448056"/>
                <a:gd name="connsiteX48" fmla="*/ 169471 w 338942"/>
                <a:gd name="connsiteY48" fmla="*/ 448056 h 448056"/>
                <a:gd name="connsiteX49" fmla="*/ 1008 w 338942"/>
                <a:gd name="connsiteY49" fmla="*/ 395783 h 448056"/>
                <a:gd name="connsiteX50" fmla="*/ 0 w 338942"/>
                <a:gd name="connsiteY50" fmla="*/ 395783 h 448056"/>
                <a:gd name="connsiteX51" fmla="*/ 0 w 338942"/>
                <a:gd name="connsiteY51" fmla="*/ 392507 h 448056"/>
                <a:gd name="connsiteX52" fmla="*/ 0 w 338942"/>
                <a:gd name="connsiteY52" fmla="*/ 55550 h 448056"/>
                <a:gd name="connsiteX53" fmla="*/ 169471 w 338942"/>
                <a:gd name="connsiteY53" fmla="*/ 0 h 44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338942" h="448056">
                  <a:moveTo>
                    <a:pt x="221877" y="278494"/>
                  </a:moveTo>
                  <a:lnTo>
                    <a:pt x="239164" y="278494"/>
                  </a:lnTo>
                  <a:cubicBezTo>
                    <a:pt x="246392" y="278494"/>
                    <a:pt x="252056" y="280090"/>
                    <a:pt x="256158" y="283280"/>
                  </a:cubicBezTo>
                  <a:cubicBezTo>
                    <a:pt x="260260" y="286471"/>
                    <a:pt x="262311" y="290866"/>
                    <a:pt x="262311" y="296465"/>
                  </a:cubicBezTo>
                  <a:cubicBezTo>
                    <a:pt x="262311" y="302195"/>
                    <a:pt x="260293" y="306786"/>
                    <a:pt x="256256" y="310237"/>
                  </a:cubicBezTo>
                  <a:cubicBezTo>
                    <a:pt x="252024" y="313687"/>
                    <a:pt x="246261" y="315413"/>
                    <a:pt x="238969" y="315413"/>
                  </a:cubicBezTo>
                  <a:lnTo>
                    <a:pt x="221877" y="315413"/>
                  </a:lnTo>
                  <a:close/>
                  <a:moveTo>
                    <a:pt x="79002" y="224288"/>
                  </a:moveTo>
                  <a:lnTo>
                    <a:pt x="94433" y="224288"/>
                  </a:lnTo>
                  <a:cubicBezTo>
                    <a:pt x="108628" y="224288"/>
                    <a:pt x="119599" y="228260"/>
                    <a:pt x="127348" y="236204"/>
                  </a:cubicBezTo>
                  <a:cubicBezTo>
                    <a:pt x="134770" y="243822"/>
                    <a:pt x="138482" y="254175"/>
                    <a:pt x="138482" y="267262"/>
                  </a:cubicBezTo>
                  <a:cubicBezTo>
                    <a:pt x="138482" y="281262"/>
                    <a:pt x="134673" y="292331"/>
                    <a:pt x="127055" y="300470"/>
                  </a:cubicBezTo>
                  <a:cubicBezTo>
                    <a:pt x="119241" y="308869"/>
                    <a:pt x="108433" y="313069"/>
                    <a:pt x="94629" y="313069"/>
                  </a:cubicBezTo>
                  <a:lnTo>
                    <a:pt x="79002" y="313069"/>
                  </a:lnTo>
                  <a:close/>
                  <a:moveTo>
                    <a:pt x="221877" y="221847"/>
                  </a:moveTo>
                  <a:lnTo>
                    <a:pt x="233695" y="221847"/>
                  </a:lnTo>
                  <a:cubicBezTo>
                    <a:pt x="249061" y="221847"/>
                    <a:pt x="256744" y="226990"/>
                    <a:pt x="256744" y="237278"/>
                  </a:cubicBezTo>
                  <a:cubicBezTo>
                    <a:pt x="256744" y="242748"/>
                    <a:pt x="254856" y="247078"/>
                    <a:pt x="251080" y="250268"/>
                  </a:cubicBezTo>
                  <a:cubicBezTo>
                    <a:pt x="247303" y="253459"/>
                    <a:pt x="242192" y="255054"/>
                    <a:pt x="235746" y="255054"/>
                  </a:cubicBezTo>
                  <a:lnTo>
                    <a:pt x="221877" y="255054"/>
                  </a:lnTo>
                  <a:close/>
                  <a:moveTo>
                    <a:pt x="190330" y="198602"/>
                  </a:moveTo>
                  <a:lnTo>
                    <a:pt x="190330" y="338658"/>
                  </a:lnTo>
                  <a:lnTo>
                    <a:pt x="244145" y="338658"/>
                  </a:lnTo>
                  <a:cubicBezTo>
                    <a:pt x="260098" y="338658"/>
                    <a:pt x="272648" y="334882"/>
                    <a:pt x="281796" y="327329"/>
                  </a:cubicBezTo>
                  <a:cubicBezTo>
                    <a:pt x="290945" y="319775"/>
                    <a:pt x="295519" y="309618"/>
                    <a:pt x="295519" y="296856"/>
                  </a:cubicBezTo>
                  <a:cubicBezTo>
                    <a:pt x="295519" y="288196"/>
                    <a:pt x="292621" y="280838"/>
                    <a:pt x="286826" y="274783"/>
                  </a:cubicBezTo>
                  <a:cubicBezTo>
                    <a:pt x="280836" y="268467"/>
                    <a:pt x="272795" y="264691"/>
                    <a:pt x="262702" y="263453"/>
                  </a:cubicBezTo>
                  <a:lnTo>
                    <a:pt x="262702" y="263063"/>
                  </a:lnTo>
                  <a:cubicBezTo>
                    <a:pt x="270060" y="261044"/>
                    <a:pt x="276213" y="257528"/>
                    <a:pt x="281162" y="252514"/>
                  </a:cubicBezTo>
                  <a:cubicBezTo>
                    <a:pt x="287022" y="246589"/>
                    <a:pt x="289952" y="239557"/>
                    <a:pt x="289952" y="231418"/>
                  </a:cubicBezTo>
                  <a:cubicBezTo>
                    <a:pt x="289952" y="221326"/>
                    <a:pt x="285980" y="213415"/>
                    <a:pt x="278036" y="207685"/>
                  </a:cubicBezTo>
                  <a:cubicBezTo>
                    <a:pt x="269637" y="201629"/>
                    <a:pt x="257396" y="198602"/>
                    <a:pt x="241313" y="198602"/>
                  </a:cubicBezTo>
                  <a:close/>
                  <a:moveTo>
                    <a:pt x="47455" y="198602"/>
                  </a:moveTo>
                  <a:lnTo>
                    <a:pt x="47455" y="338658"/>
                  </a:lnTo>
                  <a:lnTo>
                    <a:pt x="97070" y="338658"/>
                  </a:lnTo>
                  <a:cubicBezTo>
                    <a:pt x="119664" y="338658"/>
                    <a:pt x="137749" y="332131"/>
                    <a:pt x="151325" y="319076"/>
                  </a:cubicBezTo>
                  <a:cubicBezTo>
                    <a:pt x="164901" y="306021"/>
                    <a:pt x="171689" y="288619"/>
                    <a:pt x="171689" y="266872"/>
                  </a:cubicBezTo>
                  <a:cubicBezTo>
                    <a:pt x="171689" y="221358"/>
                    <a:pt x="146816" y="198602"/>
                    <a:pt x="97070" y="198602"/>
                  </a:cubicBezTo>
                  <a:close/>
                  <a:moveTo>
                    <a:pt x="169471" y="21905"/>
                  </a:moveTo>
                  <a:cubicBezTo>
                    <a:pt x="102167" y="21905"/>
                    <a:pt x="47606" y="39789"/>
                    <a:pt x="47606" y="61850"/>
                  </a:cubicBezTo>
                  <a:cubicBezTo>
                    <a:pt x="47606" y="83911"/>
                    <a:pt x="102167" y="101795"/>
                    <a:pt x="169471" y="101795"/>
                  </a:cubicBezTo>
                  <a:cubicBezTo>
                    <a:pt x="236775" y="101795"/>
                    <a:pt x="291336" y="83911"/>
                    <a:pt x="291336" y="61850"/>
                  </a:cubicBezTo>
                  <a:cubicBezTo>
                    <a:pt x="291336" y="39789"/>
                    <a:pt x="236775" y="21905"/>
                    <a:pt x="169471" y="21905"/>
                  </a:cubicBezTo>
                  <a:close/>
                  <a:moveTo>
                    <a:pt x="169471" y="0"/>
                  </a:moveTo>
                  <a:cubicBezTo>
                    <a:pt x="263067" y="0"/>
                    <a:pt x="338942" y="24870"/>
                    <a:pt x="338942" y="55550"/>
                  </a:cubicBezTo>
                  <a:lnTo>
                    <a:pt x="338942" y="392507"/>
                  </a:lnTo>
                  <a:lnTo>
                    <a:pt x="338942" y="395783"/>
                  </a:lnTo>
                  <a:lnTo>
                    <a:pt x="337934" y="395783"/>
                  </a:lnTo>
                  <a:cubicBezTo>
                    <a:pt x="333263" y="425005"/>
                    <a:pt x="259580" y="448056"/>
                    <a:pt x="169471" y="448056"/>
                  </a:cubicBezTo>
                  <a:cubicBezTo>
                    <a:pt x="79363" y="448056"/>
                    <a:pt x="5680" y="425005"/>
                    <a:pt x="1008" y="395783"/>
                  </a:cubicBezTo>
                  <a:lnTo>
                    <a:pt x="0" y="395783"/>
                  </a:lnTo>
                  <a:lnTo>
                    <a:pt x="0" y="392507"/>
                  </a:lnTo>
                  <a:lnTo>
                    <a:pt x="0" y="55550"/>
                  </a:lnTo>
                  <a:cubicBezTo>
                    <a:pt x="0" y="24870"/>
                    <a:pt x="75875" y="0"/>
                    <a:pt x="169471" y="0"/>
                  </a:cubicBezTo>
                  <a:close/>
                </a:path>
              </a:pathLst>
            </a:cu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endParaRPr lang="en-US" sz="800" dirty="0">
                <a:solidFill>
                  <a:schemeClr val="tx2"/>
                </a:solidFill>
              </a:endParaRPr>
            </a:p>
          </p:txBody>
        </p:sp>
      </p:grpSp>
      <p:grpSp>
        <p:nvGrpSpPr>
          <p:cNvPr id="48" name="Group 47"/>
          <p:cNvGrpSpPr/>
          <p:nvPr/>
        </p:nvGrpSpPr>
        <p:grpSpPr>
          <a:xfrm>
            <a:off x="1680648" y="4057650"/>
            <a:ext cx="9613084" cy="765357"/>
            <a:chOff x="1680648" y="4057650"/>
            <a:chExt cx="9613084" cy="765357"/>
          </a:xfrm>
          <a:solidFill>
            <a:schemeClr val="accent3"/>
          </a:solidFill>
        </p:grpSpPr>
        <p:sp>
          <p:nvSpPr>
            <p:cNvPr id="41" name="Up-Down Arrow 40"/>
            <p:cNvSpPr/>
            <p:nvPr/>
          </p:nvSpPr>
          <p:spPr bwMode="auto">
            <a:xfrm>
              <a:off x="6450049" y="4057650"/>
              <a:ext cx="484632" cy="765357"/>
            </a:xfrm>
            <a:prstGeom prst="upDown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2" name="Up-Down Arrow 41"/>
            <p:cNvSpPr/>
            <p:nvPr/>
          </p:nvSpPr>
          <p:spPr bwMode="auto">
            <a:xfrm>
              <a:off x="4763987" y="4057650"/>
              <a:ext cx="484632" cy="765357"/>
            </a:xfrm>
            <a:prstGeom prst="upDown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3" name="Up-Down Arrow 42"/>
            <p:cNvSpPr/>
            <p:nvPr/>
          </p:nvSpPr>
          <p:spPr bwMode="auto">
            <a:xfrm>
              <a:off x="3286265" y="4057650"/>
              <a:ext cx="484632" cy="765357"/>
            </a:xfrm>
            <a:prstGeom prst="upDown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4" name="Up-Down Arrow 43"/>
            <p:cNvSpPr/>
            <p:nvPr/>
          </p:nvSpPr>
          <p:spPr bwMode="auto">
            <a:xfrm>
              <a:off x="1680648" y="4057650"/>
              <a:ext cx="484632" cy="765357"/>
            </a:xfrm>
            <a:prstGeom prst="upDown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5" name="Up-Down Arrow 44"/>
            <p:cNvSpPr/>
            <p:nvPr/>
          </p:nvSpPr>
          <p:spPr bwMode="auto">
            <a:xfrm>
              <a:off x="7625680" y="4057650"/>
              <a:ext cx="484632" cy="765357"/>
            </a:xfrm>
            <a:prstGeom prst="upDown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6" name="Up-Down Arrow 45"/>
            <p:cNvSpPr/>
            <p:nvPr/>
          </p:nvSpPr>
          <p:spPr bwMode="auto">
            <a:xfrm>
              <a:off x="9211237" y="4057650"/>
              <a:ext cx="484632" cy="765357"/>
            </a:xfrm>
            <a:prstGeom prst="upDown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7" name="Up-Down Arrow 46"/>
            <p:cNvSpPr/>
            <p:nvPr/>
          </p:nvSpPr>
          <p:spPr bwMode="auto">
            <a:xfrm>
              <a:off x="10809100" y="4057650"/>
              <a:ext cx="484632" cy="765357"/>
            </a:xfrm>
            <a:prstGeom prst="upDown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49" name="Up-Down Arrow 48"/>
          <p:cNvSpPr/>
          <p:nvPr/>
        </p:nvSpPr>
        <p:spPr bwMode="auto">
          <a:xfrm>
            <a:off x="5853256" y="2254276"/>
            <a:ext cx="484632" cy="765357"/>
          </a:xfrm>
          <a:prstGeom prst="upDown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63517222"/>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solidFill>
                  <a:schemeClr val="bg1"/>
                </a:solidFill>
              </a:rPr>
              <a:t>Multi-Client Architecture</a:t>
            </a:r>
            <a:endParaRPr lang="en-US" dirty="0">
              <a:solidFill>
                <a:schemeClr val="bg1"/>
              </a:solidFill>
            </a:endParaRPr>
          </a:p>
        </p:txBody>
      </p:sp>
      <p:sp>
        <p:nvSpPr>
          <p:cNvPr id="4" name="TextBox 3"/>
          <p:cNvSpPr txBox="1"/>
          <p:nvPr/>
        </p:nvSpPr>
        <p:spPr>
          <a:xfrm>
            <a:off x="0" y="6396335"/>
            <a:ext cx="3606800" cy="461665"/>
          </a:xfrm>
          <a:prstGeom prst="rect">
            <a:avLst/>
          </a:prstGeom>
          <a:noFill/>
        </p:spPr>
        <p:txBody>
          <a:bodyPr wrap="square" lIns="182880" tIns="146304" rIns="182880" bIns="146304" rtlCol="0">
            <a:spAutoFit/>
          </a:bodyPr>
          <a:lstStyle/>
          <a:p>
            <a:pPr>
              <a:lnSpc>
                <a:spcPct val="90000"/>
              </a:lnSpc>
            </a:pPr>
            <a:r>
              <a:rPr lang="en-US" sz="1200" dirty="0" smtClean="0">
                <a:gradFill>
                  <a:gsLst>
                    <a:gs pos="2917">
                      <a:schemeClr val="tx1"/>
                    </a:gs>
                    <a:gs pos="30000">
                      <a:schemeClr val="tx1"/>
                    </a:gs>
                  </a:gsLst>
                  <a:lin ang="5400000" scaled="0"/>
                </a:gradFill>
              </a:rPr>
              <a:t>Photo Credit:  Paul Underhill (</a:t>
            </a:r>
            <a:r>
              <a:rPr lang="en-US" sz="1200" dirty="0" smtClean="0">
                <a:gradFill>
                  <a:gsLst>
                    <a:gs pos="2917">
                      <a:schemeClr val="tx1"/>
                    </a:gs>
                    <a:gs pos="30000">
                      <a:schemeClr val="tx1"/>
                    </a:gs>
                  </a:gsLst>
                  <a:lin ang="5400000" scaled="0"/>
                </a:gradFill>
                <a:hlinkClick r:id="rId4"/>
              </a:rPr>
              <a:t>link</a:t>
            </a:r>
            <a:r>
              <a:rPr lang="en-US" sz="1200" dirty="0" smtClean="0">
                <a:gradFill>
                  <a:gsLst>
                    <a:gs pos="2917">
                      <a:schemeClr val="tx1"/>
                    </a:gs>
                    <a:gs pos="30000">
                      <a:schemeClr val="tx1"/>
                    </a:gs>
                  </a:gsLst>
                  <a:lin ang="5400000" scaled="0"/>
                </a:gradFill>
              </a:rPr>
              <a:t>)</a:t>
            </a:r>
          </a:p>
        </p:txBody>
      </p:sp>
    </p:spTree>
    <p:extLst>
      <p:ext uri="{BB962C8B-B14F-4D97-AF65-F5344CB8AC3E}">
        <p14:creationId xmlns:p14="http://schemas.microsoft.com/office/powerpoint/2010/main" val="2904997128"/>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21" name="Group 20"/>
          <p:cNvGrpSpPr/>
          <p:nvPr/>
        </p:nvGrpSpPr>
        <p:grpSpPr>
          <a:xfrm>
            <a:off x="431308" y="402980"/>
            <a:ext cx="11043613" cy="889209"/>
            <a:chOff x="431308" y="402980"/>
            <a:chExt cx="11043613" cy="889209"/>
          </a:xfrm>
        </p:grpSpPr>
        <p:sp>
          <p:nvSpPr>
            <p:cNvPr id="4" name="SQL Database Icon"/>
            <p:cNvSpPr>
              <a:spLocks noChangeAspect="1"/>
            </p:cNvSpPr>
            <p:nvPr/>
          </p:nvSpPr>
          <p:spPr>
            <a:xfrm>
              <a:off x="10845130" y="431316"/>
              <a:ext cx="629791" cy="832537"/>
            </a:xfrm>
            <a:custGeom>
              <a:avLst/>
              <a:gdLst>
                <a:gd name="connsiteX0" fmla="*/ 221877 w 338942"/>
                <a:gd name="connsiteY0" fmla="*/ 278494 h 448056"/>
                <a:gd name="connsiteX1" fmla="*/ 239164 w 338942"/>
                <a:gd name="connsiteY1" fmla="*/ 278494 h 448056"/>
                <a:gd name="connsiteX2" fmla="*/ 256158 w 338942"/>
                <a:gd name="connsiteY2" fmla="*/ 283280 h 448056"/>
                <a:gd name="connsiteX3" fmla="*/ 262311 w 338942"/>
                <a:gd name="connsiteY3" fmla="*/ 296465 h 448056"/>
                <a:gd name="connsiteX4" fmla="*/ 256256 w 338942"/>
                <a:gd name="connsiteY4" fmla="*/ 310237 h 448056"/>
                <a:gd name="connsiteX5" fmla="*/ 238969 w 338942"/>
                <a:gd name="connsiteY5" fmla="*/ 315413 h 448056"/>
                <a:gd name="connsiteX6" fmla="*/ 221877 w 338942"/>
                <a:gd name="connsiteY6" fmla="*/ 315413 h 448056"/>
                <a:gd name="connsiteX7" fmla="*/ 79002 w 338942"/>
                <a:gd name="connsiteY7" fmla="*/ 224288 h 448056"/>
                <a:gd name="connsiteX8" fmla="*/ 94433 w 338942"/>
                <a:gd name="connsiteY8" fmla="*/ 224288 h 448056"/>
                <a:gd name="connsiteX9" fmla="*/ 127348 w 338942"/>
                <a:gd name="connsiteY9" fmla="*/ 236204 h 448056"/>
                <a:gd name="connsiteX10" fmla="*/ 138482 w 338942"/>
                <a:gd name="connsiteY10" fmla="*/ 267262 h 448056"/>
                <a:gd name="connsiteX11" fmla="*/ 127055 w 338942"/>
                <a:gd name="connsiteY11" fmla="*/ 300470 h 448056"/>
                <a:gd name="connsiteX12" fmla="*/ 94629 w 338942"/>
                <a:gd name="connsiteY12" fmla="*/ 313069 h 448056"/>
                <a:gd name="connsiteX13" fmla="*/ 79002 w 338942"/>
                <a:gd name="connsiteY13" fmla="*/ 313069 h 448056"/>
                <a:gd name="connsiteX14" fmla="*/ 221877 w 338942"/>
                <a:gd name="connsiteY14" fmla="*/ 221847 h 448056"/>
                <a:gd name="connsiteX15" fmla="*/ 233695 w 338942"/>
                <a:gd name="connsiteY15" fmla="*/ 221847 h 448056"/>
                <a:gd name="connsiteX16" fmla="*/ 256744 w 338942"/>
                <a:gd name="connsiteY16" fmla="*/ 237278 h 448056"/>
                <a:gd name="connsiteX17" fmla="*/ 251080 w 338942"/>
                <a:gd name="connsiteY17" fmla="*/ 250268 h 448056"/>
                <a:gd name="connsiteX18" fmla="*/ 235746 w 338942"/>
                <a:gd name="connsiteY18" fmla="*/ 255054 h 448056"/>
                <a:gd name="connsiteX19" fmla="*/ 221877 w 338942"/>
                <a:gd name="connsiteY19" fmla="*/ 255054 h 448056"/>
                <a:gd name="connsiteX20" fmla="*/ 190330 w 338942"/>
                <a:gd name="connsiteY20" fmla="*/ 198602 h 448056"/>
                <a:gd name="connsiteX21" fmla="*/ 190330 w 338942"/>
                <a:gd name="connsiteY21" fmla="*/ 338658 h 448056"/>
                <a:gd name="connsiteX22" fmla="*/ 244145 w 338942"/>
                <a:gd name="connsiteY22" fmla="*/ 338658 h 448056"/>
                <a:gd name="connsiteX23" fmla="*/ 281796 w 338942"/>
                <a:gd name="connsiteY23" fmla="*/ 327329 h 448056"/>
                <a:gd name="connsiteX24" fmla="*/ 295519 w 338942"/>
                <a:gd name="connsiteY24" fmla="*/ 296856 h 448056"/>
                <a:gd name="connsiteX25" fmla="*/ 286826 w 338942"/>
                <a:gd name="connsiteY25" fmla="*/ 274783 h 448056"/>
                <a:gd name="connsiteX26" fmla="*/ 262702 w 338942"/>
                <a:gd name="connsiteY26" fmla="*/ 263453 h 448056"/>
                <a:gd name="connsiteX27" fmla="*/ 262702 w 338942"/>
                <a:gd name="connsiteY27" fmla="*/ 263063 h 448056"/>
                <a:gd name="connsiteX28" fmla="*/ 281162 w 338942"/>
                <a:gd name="connsiteY28" fmla="*/ 252514 h 448056"/>
                <a:gd name="connsiteX29" fmla="*/ 289952 w 338942"/>
                <a:gd name="connsiteY29" fmla="*/ 231418 h 448056"/>
                <a:gd name="connsiteX30" fmla="*/ 278036 w 338942"/>
                <a:gd name="connsiteY30" fmla="*/ 207685 h 448056"/>
                <a:gd name="connsiteX31" fmla="*/ 241313 w 338942"/>
                <a:gd name="connsiteY31" fmla="*/ 198602 h 448056"/>
                <a:gd name="connsiteX32" fmla="*/ 47455 w 338942"/>
                <a:gd name="connsiteY32" fmla="*/ 198602 h 448056"/>
                <a:gd name="connsiteX33" fmla="*/ 47455 w 338942"/>
                <a:gd name="connsiteY33" fmla="*/ 338658 h 448056"/>
                <a:gd name="connsiteX34" fmla="*/ 97070 w 338942"/>
                <a:gd name="connsiteY34" fmla="*/ 338658 h 448056"/>
                <a:gd name="connsiteX35" fmla="*/ 151325 w 338942"/>
                <a:gd name="connsiteY35" fmla="*/ 319076 h 448056"/>
                <a:gd name="connsiteX36" fmla="*/ 171689 w 338942"/>
                <a:gd name="connsiteY36" fmla="*/ 266872 h 448056"/>
                <a:gd name="connsiteX37" fmla="*/ 97070 w 338942"/>
                <a:gd name="connsiteY37" fmla="*/ 198602 h 448056"/>
                <a:gd name="connsiteX38" fmla="*/ 169471 w 338942"/>
                <a:gd name="connsiteY38" fmla="*/ 21905 h 448056"/>
                <a:gd name="connsiteX39" fmla="*/ 47606 w 338942"/>
                <a:gd name="connsiteY39" fmla="*/ 61850 h 448056"/>
                <a:gd name="connsiteX40" fmla="*/ 169471 w 338942"/>
                <a:gd name="connsiteY40" fmla="*/ 101795 h 448056"/>
                <a:gd name="connsiteX41" fmla="*/ 291336 w 338942"/>
                <a:gd name="connsiteY41" fmla="*/ 61850 h 448056"/>
                <a:gd name="connsiteX42" fmla="*/ 169471 w 338942"/>
                <a:gd name="connsiteY42" fmla="*/ 21905 h 448056"/>
                <a:gd name="connsiteX43" fmla="*/ 169471 w 338942"/>
                <a:gd name="connsiteY43" fmla="*/ 0 h 448056"/>
                <a:gd name="connsiteX44" fmla="*/ 338942 w 338942"/>
                <a:gd name="connsiteY44" fmla="*/ 55550 h 448056"/>
                <a:gd name="connsiteX45" fmla="*/ 338942 w 338942"/>
                <a:gd name="connsiteY45" fmla="*/ 392507 h 448056"/>
                <a:gd name="connsiteX46" fmla="*/ 338942 w 338942"/>
                <a:gd name="connsiteY46" fmla="*/ 395783 h 448056"/>
                <a:gd name="connsiteX47" fmla="*/ 337934 w 338942"/>
                <a:gd name="connsiteY47" fmla="*/ 395783 h 448056"/>
                <a:gd name="connsiteX48" fmla="*/ 169471 w 338942"/>
                <a:gd name="connsiteY48" fmla="*/ 448056 h 448056"/>
                <a:gd name="connsiteX49" fmla="*/ 1008 w 338942"/>
                <a:gd name="connsiteY49" fmla="*/ 395783 h 448056"/>
                <a:gd name="connsiteX50" fmla="*/ 0 w 338942"/>
                <a:gd name="connsiteY50" fmla="*/ 395783 h 448056"/>
                <a:gd name="connsiteX51" fmla="*/ 0 w 338942"/>
                <a:gd name="connsiteY51" fmla="*/ 392507 h 448056"/>
                <a:gd name="connsiteX52" fmla="*/ 0 w 338942"/>
                <a:gd name="connsiteY52" fmla="*/ 55550 h 448056"/>
                <a:gd name="connsiteX53" fmla="*/ 169471 w 338942"/>
                <a:gd name="connsiteY53" fmla="*/ 0 h 44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338942" h="448056">
                  <a:moveTo>
                    <a:pt x="221877" y="278494"/>
                  </a:moveTo>
                  <a:lnTo>
                    <a:pt x="239164" y="278494"/>
                  </a:lnTo>
                  <a:cubicBezTo>
                    <a:pt x="246392" y="278494"/>
                    <a:pt x="252056" y="280090"/>
                    <a:pt x="256158" y="283280"/>
                  </a:cubicBezTo>
                  <a:cubicBezTo>
                    <a:pt x="260260" y="286471"/>
                    <a:pt x="262311" y="290866"/>
                    <a:pt x="262311" y="296465"/>
                  </a:cubicBezTo>
                  <a:cubicBezTo>
                    <a:pt x="262311" y="302195"/>
                    <a:pt x="260293" y="306786"/>
                    <a:pt x="256256" y="310237"/>
                  </a:cubicBezTo>
                  <a:cubicBezTo>
                    <a:pt x="252024" y="313687"/>
                    <a:pt x="246261" y="315413"/>
                    <a:pt x="238969" y="315413"/>
                  </a:cubicBezTo>
                  <a:lnTo>
                    <a:pt x="221877" y="315413"/>
                  </a:lnTo>
                  <a:close/>
                  <a:moveTo>
                    <a:pt x="79002" y="224288"/>
                  </a:moveTo>
                  <a:lnTo>
                    <a:pt x="94433" y="224288"/>
                  </a:lnTo>
                  <a:cubicBezTo>
                    <a:pt x="108628" y="224288"/>
                    <a:pt x="119599" y="228260"/>
                    <a:pt x="127348" y="236204"/>
                  </a:cubicBezTo>
                  <a:cubicBezTo>
                    <a:pt x="134770" y="243822"/>
                    <a:pt x="138482" y="254175"/>
                    <a:pt x="138482" y="267262"/>
                  </a:cubicBezTo>
                  <a:cubicBezTo>
                    <a:pt x="138482" y="281262"/>
                    <a:pt x="134673" y="292331"/>
                    <a:pt x="127055" y="300470"/>
                  </a:cubicBezTo>
                  <a:cubicBezTo>
                    <a:pt x="119241" y="308869"/>
                    <a:pt x="108433" y="313069"/>
                    <a:pt x="94629" y="313069"/>
                  </a:cubicBezTo>
                  <a:lnTo>
                    <a:pt x="79002" y="313069"/>
                  </a:lnTo>
                  <a:close/>
                  <a:moveTo>
                    <a:pt x="221877" y="221847"/>
                  </a:moveTo>
                  <a:lnTo>
                    <a:pt x="233695" y="221847"/>
                  </a:lnTo>
                  <a:cubicBezTo>
                    <a:pt x="249061" y="221847"/>
                    <a:pt x="256744" y="226990"/>
                    <a:pt x="256744" y="237278"/>
                  </a:cubicBezTo>
                  <a:cubicBezTo>
                    <a:pt x="256744" y="242748"/>
                    <a:pt x="254856" y="247078"/>
                    <a:pt x="251080" y="250268"/>
                  </a:cubicBezTo>
                  <a:cubicBezTo>
                    <a:pt x="247303" y="253459"/>
                    <a:pt x="242192" y="255054"/>
                    <a:pt x="235746" y="255054"/>
                  </a:cubicBezTo>
                  <a:lnTo>
                    <a:pt x="221877" y="255054"/>
                  </a:lnTo>
                  <a:close/>
                  <a:moveTo>
                    <a:pt x="190330" y="198602"/>
                  </a:moveTo>
                  <a:lnTo>
                    <a:pt x="190330" y="338658"/>
                  </a:lnTo>
                  <a:lnTo>
                    <a:pt x="244145" y="338658"/>
                  </a:lnTo>
                  <a:cubicBezTo>
                    <a:pt x="260098" y="338658"/>
                    <a:pt x="272648" y="334882"/>
                    <a:pt x="281796" y="327329"/>
                  </a:cubicBezTo>
                  <a:cubicBezTo>
                    <a:pt x="290945" y="319775"/>
                    <a:pt x="295519" y="309618"/>
                    <a:pt x="295519" y="296856"/>
                  </a:cubicBezTo>
                  <a:cubicBezTo>
                    <a:pt x="295519" y="288196"/>
                    <a:pt x="292621" y="280838"/>
                    <a:pt x="286826" y="274783"/>
                  </a:cubicBezTo>
                  <a:cubicBezTo>
                    <a:pt x="280836" y="268467"/>
                    <a:pt x="272795" y="264691"/>
                    <a:pt x="262702" y="263453"/>
                  </a:cubicBezTo>
                  <a:lnTo>
                    <a:pt x="262702" y="263063"/>
                  </a:lnTo>
                  <a:cubicBezTo>
                    <a:pt x="270060" y="261044"/>
                    <a:pt x="276213" y="257528"/>
                    <a:pt x="281162" y="252514"/>
                  </a:cubicBezTo>
                  <a:cubicBezTo>
                    <a:pt x="287022" y="246589"/>
                    <a:pt x="289952" y="239557"/>
                    <a:pt x="289952" y="231418"/>
                  </a:cubicBezTo>
                  <a:cubicBezTo>
                    <a:pt x="289952" y="221326"/>
                    <a:pt x="285980" y="213415"/>
                    <a:pt x="278036" y="207685"/>
                  </a:cubicBezTo>
                  <a:cubicBezTo>
                    <a:pt x="269637" y="201629"/>
                    <a:pt x="257396" y="198602"/>
                    <a:pt x="241313" y="198602"/>
                  </a:cubicBezTo>
                  <a:close/>
                  <a:moveTo>
                    <a:pt x="47455" y="198602"/>
                  </a:moveTo>
                  <a:lnTo>
                    <a:pt x="47455" y="338658"/>
                  </a:lnTo>
                  <a:lnTo>
                    <a:pt x="97070" y="338658"/>
                  </a:lnTo>
                  <a:cubicBezTo>
                    <a:pt x="119664" y="338658"/>
                    <a:pt x="137749" y="332131"/>
                    <a:pt x="151325" y="319076"/>
                  </a:cubicBezTo>
                  <a:cubicBezTo>
                    <a:pt x="164901" y="306021"/>
                    <a:pt x="171689" y="288619"/>
                    <a:pt x="171689" y="266872"/>
                  </a:cubicBezTo>
                  <a:cubicBezTo>
                    <a:pt x="171689" y="221358"/>
                    <a:pt x="146816" y="198602"/>
                    <a:pt x="97070" y="198602"/>
                  </a:cubicBezTo>
                  <a:close/>
                  <a:moveTo>
                    <a:pt x="169471" y="21905"/>
                  </a:moveTo>
                  <a:cubicBezTo>
                    <a:pt x="102167" y="21905"/>
                    <a:pt x="47606" y="39789"/>
                    <a:pt x="47606" y="61850"/>
                  </a:cubicBezTo>
                  <a:cubicBezTo>
                    <a:pt x="47606" y="83911"/>
                    <a:pt x="102167" y="101795"/>
                    <a:pt x="169471" y="101795"/>
                  </a:cubicBezTo>
                  <a:cubicBezTo>
                    <a:pt x="236775" y="101795"/>
                    <a:pt x="291336" y="83911"/>
                    <a:pt x="291336" y="61850"/>
                  </a:cubicBezTo>
                  <a:cubicBezTo>
                    <a:pt x="291336" y="39789"/>
                    <a:pt x="236775" y="21905"/>
                    <a:pt x="169471" y="21905"/>
                  </a:cubicBezTo>
                  <a:close/>
                  <a:moveTo>
                    <a:pt x="169471" y="0"/>
                  </a:moveTo>
                  <a:cubicBezTo>
                    <a:pt x="263067" y="0"/>
                    <a:pt x="338942" y="24870"/>
                    <a:pt x="338942" y="55550"/>
                  </a:cubicBezTo>
                  <a:lnTo>
                    <a:pt x="338942" y="392507"/>
                  </a:lnTo>
                  <a:lnTo>
                    <a:pt x="338942" y="395783"/>
                  </a:lnTo>
                  <a:lnTo>
                    <a:pt x="337934" y="395783"/>
                  </a:lnTo>
                  <a:cubicBezTo>
                    <a:pt x="333263" y="425005"/>
                    <a:pt x="259580" y="448056"/>
                    <a:pt x="169471" y="448056"/>
                  </a:cubicBezTo>
                  <a:cubicBezTo>
                    <a:pt x="79363" y="448056"/>
                    <a:pt x="5680" y="425005"/>
                    <a:pt x="1008" y="395783"/>
                  </a:cubicBezTo>
                  <a:lnTo>
                    <a:pt x="0" y="395783"/>
                  </a:lnTo>
                  <a:lnTo>
                    <a:pt x="0" y="392507"/>
                  </a:lnTo>
                  <a:lnTo>
                    <a:pt x="0" y="55550"/>
                  </a:lnTo>
                  <a:cubicBezTo>
                    <a:pt x="0" y="24870"/>
                    <a:pt x="75875" y="0"/>
                    <a:pt x="169471" y="0"/>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endParaRPr lang="en-US" sz="800" dirty="0">
                <a:solidFill>
                  <a:schemeClr val="tx2"/>
                </a:solidFill>
              </a:endParaRPr>
            </a:p>
          </p:txBody>
        </p:sp>
        <p:sp>
          <p:nvSpPr>
            <p:cNvPr id="6" name="Cloud Services Icon"/>
            <p:cNvSpPr>
              <a:spLocks noChangeAspect="1"/>
            </p:cNvSpPr>
            <p:nvPr/>
          </p:nvSpPr>
          <p:spPr>
            <a:xfrm>
              <a:off x="6519640" y="443710"/>
              <a:ext cx="955820" cy="807749"/>
            </a:xfrm>
            <a:custGeom>
              <a:avLst/>
              <a:gdLst>
                <a:gd name="connsiteX0" fmla="*/ 1288941 w 3334427"/>
                <a:gd name="connsiteY0" fmla="*/ 1538005 h 2817885"/>
                <a:gd name="connsiteX1" fmla="*/ 1444454 w 3334427"/>
                <a:gd name="connsiteY1" fmla="*/ 1693518 h 2817885"/>
                <a:gd name="connsiteX2" fmla="*/ 1288941 w 3334427"/>
                <a:gd name="connsiteY2" fmla="*/ 1849031 h 2817885"/>
                <a:gd name="connsiteX3" fmla="*/ 1133428 w 3334427"/>
                <a:gd name="connsiteY3" fmla="*/ 1693518 h 2817885"/>
                <a:gd name="connsiteX4" fmla="*/ 1288941 w 3334427"/>
                <a:gd name="connsiteY4" fmla="*/ 1538005 h 2817885"/>
                <a:gd name="connsiteX5" fmla="*/ 1256190 w 3334427"/>
                <a:gd name="connsiteY5" fmla="*/ 1221811 h 2817885"/>
                <a:gd name="connsiteX6" fmla="*/ 1228064 w 3334427"/>
                <a:gd name="connsiteY6" fmla="*/ 1349135 h 2817885"/>
                <a:gd name="connsiteX7" fmla="*/ 1218299 w 3334427"/>
                <a:gd name="connsiteY7" fmla="*/ 1350119 h 2817885"/>
                <a:gd name="connsiteX8" fmla="*/ 1092962 w 3334427"/>
                <a:gd name="connsiteY8" fmla="*/ 1402861 h 2817885"/>
                <a:gd name="connsiteX9" fmla="*/ 1088718 w 3334427"/>
                <a:gd name="connsiteY9" fmla="*/ 1406363 h 2817885"/>
                <a:gd name="connsiteX10" fmla="*/ 979011 w 3334427"/>
                <a:gd name="connsiteY10" fmla="*/ 1336354 h 2817885"/>
                <a:gd name="connsiteX11" fmla="*/ 932235 w 3334427"/>
                <a:gd name="connsiteY11" fmla="*/ 1383131 h 2817885"/>
                <a:gd name="connsiteX12" fmla="*/ 1002209 w 3334427"/>
                <a:gd name="connsiteY12" fmla="*/ 1492783 h 2817885"/>
                <a:gd name="connsiteX13" fmla="*/ 998285 w 3334427"/>
                <a:gd name="connsiteY13" fmla="*/ 1497539 h 2817885"/>
                <a:gd name="connsiteX14" fmla="*/ 945543 w 3334427"/>
                <a:gd name="connsiteY14" fmla="*/ 1622876 h 2817885"/>
                <a:gd name="connsiteX15" fmla="*/ 944625 w 3334427"/>
                <a:gd name="connsiteY15" fmla="*/ 1631978 h 2817885"/>
                <a:gd name="connsiteX16" fmla="*/ 817235 w 3334427"/>
                <a:gd name="connsiteY16" fmla="*/ 1660118 h 2817885"/>
                <a:gd name="connsiteX17" fmla="*/ 817234 w 3334427"/>
                <a:gd name="connsiteY17" fmla="*/ 1726269 h 2817885"/>
                <a:gd name="connsiteX18" fmla="*/ 944558 w 3334427"/>
                <a:gd name="connsiteY18" fmla="*/ 1754394 h 2817885"/>
                <a:gd name="connsiteX19" fmla="*/ 945543 w 3334427"/>
                <a:gd name="connsiteY19" fmla="*/ 1764160 h 2817885"/>
                <a:gd name="connsiteX20" fmla="*/ 998285 w 3334427"/>
                <a:gd name="connsiteY20" fmla="*/ 1889497 h 2817885"/>
                <a:gd name="connsiteX21" fmla="*/ 1001786 w 3334427"/>
                <a:gd name="connsiteY21" fmla="*/ 1893741 h 2817885"/>
                <a:gd name="connsiteX22" fmla="*/ 931776 w 3334427"/>
                <a:gd name="connsiteY22" fmla="*/ 2003448 h 2817885"/>
                <a:gd name="connsiteX23" fmla="*/ 978553 w 3334427"/>
                <a:gd name="connsiteY23" fmla="*/ 2050224 h 2817885"/>
                <a:gd name="connsiteX24" fmla="*/ 1088206 w 3334427"/>
                <a:gd name="connsiteY24" fmla="*/ 1980250 h 2817885"/>
                <a:gd name="connsiteX25" fmla="*/ 1092962 w 3334427"/>
                <a:gd name="connsiteY25" fmla="*/ 1984175 h 2817885"/>
                <a:gd name="connsiteX26" fmla="*/ 1218299 w 3334427"/>
                <a:gd name="connsiteY26" fmla="*/ 2036917 h 2817885"/>
                <a:gd name="connsiteX27" fmla="*/ 1227403 w 3334427"/>
                <a:gd name="connsiteY27" fmla="*/ 2037834 h 2817885"/>
                <a:gd name="connsiteX28" fmla="*/ 1255542 w 3334427"/>
                <a:gd name="connsiteY28" fmla="*/ 2165224 h 2817885"/>
                <a:gd name="connsiteX29" fmla="*/ 1321693 w 3334427"/>
                <a:gd name="connsiteY29" fmla="*/ 2165224 h 2817885"/>
                <a:gd name="connsiteX30" fmla="*/ 1349819 w 3334427"/>
                <a:gd name="connsiteY30" fmla="*/ 2037901 h 2817885"/>
                <a:gd name="connsiteX31" fmla="*/ 1359583 w 3334427"/>
                <a:gd name="connsiteY31" fmla="*/ 2036917 h 2817885"/>
                <a:gd name="connsiteX32" fmla="*/ 1484920 w 3334427"/>
                <a:gd name="connsiteY32" fmla="*/ 1984175 h 2817885"/>
                <a:gd name="connsiteX33" fmla="*/ 1489163 w 3334427"/>
                <a:gd name="connsiteY33" fmla="*/ 1980674 h 2817885"/>
                <a:gd name="connsiteX34" fmla="*/ 1598871 w 3334427"/>
                <a:gd name="connsiteY34" fmla="*/ 2050683 h 2817885"/>
                <a:gd name="connsiteX35" fmla="*/ 1645646 w 3334427"/>
                <a:gd name="connsiteY35" fmla="*/ 2003907 h 2817885"/>
                <a:gd name="connsiteX36" fmla="*/ 1575673 w 3334427"/>
                <a:gd name="connsiteY36" fmla="*/ 1894254 h 2817885"/>
                <a:gd name="connsiteX37" fmla="*/ 1579598 w 3334427"/>
                <a:gd name="connsiteY37" fmla="*/ 1889497 h 2817885"/>
                <a:gd name="connsiteX38" fmla="*/ 1632340 w 3334427"/>
                <a:gd name="connsiteY38" fmla="*/ 1764160 h 2817885"/>
                <a:gd name="connsiteX39" fmla="*/ 1633258 w 3334427"/>
                <a:gd name="connsiteY39" fmla="*/ 1755058 h 2817885"/>
                <a:gd name="connsiteX40" fmla="*/ 1760648 w 3334427"/>
                <a:gd name="connsiteY40" fmla="*/ 1726917 h 2817885"/>
                <a:gd name="connsiteX41" fmla="*/ 1760649 w 3334427"/>
                <a:gd name="connsiteY41" fmla="*/ 1660766 h 2817885"/>
                <a:gd name="connsiteX42" fmla="*/ 1633324 w 3334427"/>
                <a:gd name="connsiteY42" fmla="*/ 1632641 h 2817885"/>
                <a:gd name="connsiteX43" fmla="*/ 1632340 w 3334427"/>
                <a:gd name="connsiteY43" fmla="*/ 1622876 h 2817885"/>
                <a:gd name="connsiteX44" fmla="*/ 1579598 w 3334427"/>
                <a:gd name="connsiteY44" fmla="*/ 1497539 h 2817885"/>
                <a:gd name="connsiteX45" fmla="*/ 1576097 w 3334427"/>
                <a:gd name="connsiteY45" fmla="*/ 1493295 h 2817885"/>
                <a:gd name="connsiteX46" fmla="*/ 1646105 w 3334427"/>
                <a:gd name="connsiteY46" fmla="*/ 1383589 h 2817885"/>
                <a:gd name="connsiteX47" fmla="*/ 1599329 w 3334427"/>
                <a:gd name="connsiteY47" fmla="*/ 1336813 h 2817885"/>
                <a:gd name="connsiteX48" fmla="*/ 1489677 w 3334427"/>
                <a:gd name="connsiteY48" fmla="*/ 1406786 h 2817885"/>
                <a:gd name="connsiteX49" fmla="*/ 1484920 w 3334427"/>
                <a:gd name="connsiteY49" fmla="*/ 1402861 h 2817885"/>
                <a:gd name="connsiteX50" fmla="*/ 1359583 w 3334427"/>
                <a:gd name="connsiteY50" fmla="*/ 1350119 h 2817885"/>
                <a:gd name="connsiteX51" fmla="*/ 1350481 w 3334427"/>
                <a:gd name="connsiteY51" fmla="*/ 1349202 h 2817885"/>
                <a:gd name="connsiteX52" fmla="*/ 1322342 w 3334427"/>
                <a:gd name="connsiteY52" fmla="*/ 1221811 h 2817885"/>
                <a:gd name="connsiteX53" fmla="*/ 2115711 w 3334427"/>
                <a:gd name="connsiteY53" fmla="*/ 1016035 h 2817885"/>
                <a:gd name="connsiteX54" fmla="*/ 2271224 w 3334427"/>
                <a:gd name="connsiteY54" fmla="*/ 1171548 h 2817885"/>
                <a:gd name="connsiteX55" fmla="*/ 2115711 w 3334427"/>
                <a:gd name="connsiteY55" fmla="*/ 1327061 h 2817885"/>
                <a:gd name="connsiteX56" fmla="*/ 1960198 w 3334427"/>
                <a:gd name="connsiteY56" fmla="*/ 1171548 h 2817885"/>
                <a:gd name="connsiteX57" fmla="*/ 2115711 w 3334427"/>
                <a:gd name="connsiteY57" fmla="*/ 1016035 h 2817885"/>
                <a:gd name="connsiteX58" fmla="*/ 2082960 w 3334427"/>
                <a:gd name="connsiteY58" fmla="*/ 699841 h 2817885"/>
                <a:gd name="connsiteX59" fmla="*/ 2054834 w 3334427"/>
                <a:gd name="connsiteY59" fmla="*/ 827165 h 2817885"/>
                <a:gd name="connsiteX60" fmla="*/ 2045069 w 3334427"/>
                <a:gd name="connsiteY60" fmla="*/ 828149 h 2817885"/>
                <a:gd name="connsiteX61" fmla="*/ 1919732 w 3334427"/>
                <a:gd name="connsiteY61" fmla="*/ 880891 h 2817885"/>
                <a:gd name="connsiteX62" fmla="*/ 1915488 w 3334427"/>
                <a:gd name="connsiteY62" fmla="*/ 884393 h 2817885"/>
                <a:gd name="connsiteX63" fmla="*/ 1805781 w 3334427"/>
                <a:gd name="connsiteY63" fmla="*/ 814384 h 2817885"/>
                <a:gd name="connsiteX64" fmla="*/ 1759005 w 3334427"/>
                <a:gd name="connsiteY64" fmla="*/ 861161 h 2817885"/>
                <a:gd name="connsiteX65" fmla="*/ 1828979 w 3334427"/>
                <a:gd name="connsiteY65" fmla="*/ 970813 h 2817885"/>
                <a:gd name="connsiteX66" fmla="*/ 1825055 w 3334427"/>
                <a:gd name="connsiteY66" fmla="*/ 975569 h 2817885"/>
                <a:gd name="connsiteX67" fmla="*/ 1772313 w 3334427"/>
                <a:gd name="connsiteY67" fmla="*/ 1100906 h 2817885"/>
                <a:gd name="connsiteX68" fmla="*/ 1771395 w 3334427"/>
                <a:gd name="connsiteY68" fmla="*/ 1110008 h 2817885"/>
                <a:gd name="connsiteX69" fmla="*/ 1644005 w 3334427"/>
                <a:gd name="connsiteY69" fmla="*/ 1138148 h 2817885"/>
                <a:gd name="connsiteX70" fmla="*/ 1644004 w 3334427"/>
                <a:gd name="connsiteY70" fmla="*/ 1204299 h 2817885"/>
                <a:gd name="connsiteX71" fmla="*/ 1771328 w 3334427"/>
                <a:gd name="connsiteY71" fmla="*/ 1232424 h 2817885"/>
                <a:gd name="connsiteX72" fmla="*/ 1772313 w 3334427"/>
                <a:gd name="connsiteY72" fmla="*/ 1242190 h 2817885"/>
                <a:gd name="connsiteX73" fmla="*/ 1825055 w 3334427"/>
                <a:gd name="connsiteY73" fmla="*/ 1367527 h 2817885"/>
                <a:gd name="connsiteX74" fmla="*/ 1828556 w 3334427"/>
                <a:gd name="connsiteY74" fmla="*/ 1371771 h 2817885"/>
                <a:gd name="connsiteX75" fmla="*/ 1758546 w 3334427"/>
                <a:gd name="connsiteY75" fmla="*/ 1481478 h 2817885"/>
                <a:gd name="connsiteX76" fmla="*/ 1805323 w 3334427"/>
                <a:gd name="connsiteY76" fmla="*/ 1528254 h 2817885"/>
                <a:gd name="connsiteX77" fmla="*/ 1914976 w 3334427"/>
                <a:gd name="connsiteY77" fmla="*/ 1458280 h 2817885"/>
                <a:gd name="connsiteX78" fmla="*/ 1919732 w 3334427"/>
                <a:gd name="connsiteY78" fmla="*/ 1462205 h 2817885"/>
                <a:gd name="connsiteX79" fmla="*/ 2045069 w 3334427"/>
                <a:gd name="connsiteY79" fmla="*/ 1514947 h 2817885"/>
                <a:gd name="connsiteX80" fmla="*/ 2054173 w 3334427"/>
                <a:gd name="connsiteY80" fmla="*/ 1515864 h 2817885"/>
                <a:gd name="connsiteX81" fmla="*/ 2082312 w 3334427"/>
                <a:gd name="connsiteY81" fmla="*/ 1643254 h 2817885"/>
                <a:gd name="connsiteX82" fmla="*/ 2148463 w 3334427"/>
                <a:gd name="connsiteY82" fmla="*/ 1643254 h 2817885"/>
                <a:gd name="connsiteX83" fmla="*/ 2176589 w 3334427"/>
                <a:gd name="connsiteY83" fmla="*/ 1515931 h 2817885"/>
                <a:gd name="connsiteX84" fmla="*/ 2186353 w 3334427"/>
                <a:gd name="connsiteY84" fmla="*/ 1514947 h 2817885"/>
                <a:gd name="connsiteX85" fmla="*/ 2311690 w 3334427"/>
                <a:gd name="connsiteY85" fmla="*/ 1462205 h 2817885"/>
                <a:gd name="connsiteX86" fmla="*/ 2315933 w 3334427"/>
                <a:gd name="connsiteY86" fmla="*/ 1458704 h 2817885"/>
                <a:gd name="connsiteX87" fmla="*/ 2425641 w 3334427"/>
                <a:gd name="connsiteY87" fmla="*/ 1528713 h 2817885"/>
                <a:gd name="connsiteX88" fmla="*/ 2472416 w 3334427"/>
                <a:gd name="connsiteY88" fmla="*/ 1481937 h 2817885"/>
                <a:gd name="connsiteX89" fmla="*/ 2402443 w 3334427"/>
                <a:gd name="connsiteY89" fmla="*/ 1372284 h 2817885"/>
                <a:gd name="connsiteX90" fmla="*/ 2406368 w 3334427"/>
                <a:gd name="connsiteY90" fmla="*/ 1367527 h 2817885"/>
                <a:gd name="connsiteX91" fmla="*/ 2459110 w 3334427"/>
                <a:gd name="connsiteY91" fmla="*/ 1242190 h 2817885"/>
                <a:gd name="connsiteX92" fmla="*/ 2460028 w 3334427"/>
                <a:gd name="connsiteY92" fmla="*/ 1233088 h 2817885"/>
                <a:gd name="connsiteX93" fmla="*/ 2587418 w 3334427"/>
                <a:gd name="connsiteY93" fmla="*/ 1204947 h 2817885"/>
                <a:gd name="connsiteX94" fmla="*/ 2587419 w 3334427"/>
                <a:gd name="connsiteY94" fmla="*/ 1138796 h 2817885"/>
                <a:gd name="connsiteX95" fmla="*/ 2460094 w 3334427"/>
                <a:gd name="connsiteY95" fmla="*/ 1110671 h 2817885"/>
                <a:gd name="connsiteX96" fmla="*/ 2459110 w 3334427"/>
                <a:gd name="connsiteY96" fmla="*/ 1100906 h 2817885"/>
                <a:gd name="connsiteX97" fmla="*/ 2406368 w 3334427"/>
                <a:gd name="connsiteY97" fmla="*/ 975569 h 2817885"/>
                <a:gd name="connsiteX98" fmla="*/ 2402867 w 3334427"/>
                <a:gd name="connsiteY98" fmla="*/ 971325 h 2817885"/>
                <a:gd name="connsiteX99" fmla="*/ 2472875 w 3334427"/>
                <a:gd name="connsiteY99" fmla="*/ 861619 h 2817885"/>
                <a:gd name="connsiteX100" fmla="*/ 2426099 w 3334427"/>
                <a:gd name="connsiteY100" fmla="*/ 814843 h 2817885"/>
                <a:gd name="connsiteX101" fmla="*/ 2316447 w 3334427"/>
                <a:gd name="connsiteY101" fmla="*/ 884816 h 2817885"/>
                <a:gd name="connsiteX102" fmla="*/ 2311690 w 3334427"/>
                <a:gd name="connsiteY102" fmla="*/ 880891 h 2817885"/>
                <a:gd name="connsiteX103" fmla="*/ 2186353 w 3334427"/>
                <a:gd name="connsiteY103" fmla="*/ 828149 h 2817885"/>
                <a:gd name="connsiteX104" fmla="*/ 2177251 w 3334427"/>
                <a:gd name="connsiteY104" fmla="*/ 827232 h 2817885"/>
                <a:gd name="connsiteX105" fmla="*/ 2149112 w 3334427"/>
                <a:gd name="connsiteY105" fmla="*/ 699841 h 2817885"/>
                <a:gd name="connsiteX106" fmla="*/ 2115077 w 3334427"/>
                <a:gd name="connsiteY106" fmla="*/ 0 h 2817885"/>
                <a:gd name="connsiteX107" fmla="*/ 2908548 w 3334427"/>
                <a:gd name="connsiteY107" fmla="*/ 793471 h 2817885"/>
                <a:gd name="connsiteX108" fmla="*/ 2872875 w 3334427"/>
                <a:gd name="connsiteY108" fmla="*/ 1029425 h 2817885"/>
                <a:gd name="connsiteX109" fmla="*/ 2865385 w 3334427"/>
                <a:gd name="connsiteY109" fmla="*/ 1048435 h 2817885"/>
                <a:gd name="connsiteX110" fmla="*/ 2969193 w 3334427"/>
                <a:gd name="connsiteY110" fmla="*/ 1080658 h 2817885"/>
                <a:gd name="connsiteX111" fmla="*/ 3334427 w 3334427"/>
                <a:gd name="connsiteY111" fmla="*/ 1631669 h 2817885"/>
                <a:gd name="connsiteX112" fmla="*/ 2736422 w 3334427"/>
                <a:gd name="connsiteY112" fmla="*/ 2229674 h 2817885"/>
                <a:gd name="connsiteX113" fmla="*/ 2586971 w 3334427"/>
                <a:gd name="connsiteY113" fmla="*/ 2210847 h 2817885"/>
                <a:gd name="connsiteX114" fmla="*/ 2539957 w 3334427"/>
                <a:gd name="connsiteY114" fmla="*/ 2195594 h 2817885"/>
                <a:gd name="connsiteX115" fmla="*/ 2540132 w 3334427"/>
                <a:gd name="connsiteY115" fmla="*/ 2196159 h 2817885"/>
                <a:gd name="connsiteX116" fmla="*/ 2547732 w 3334427"/>
                <a:gd name="connsiteY116" fmla="*/ 2271548 h 2817885"/>
                <a:gd name="connsiteX117" fmla="*/ 2173657 w 3334427"/>
                <a:gd name="connsiteY117" fmla="*/ 2645623 h 2817885"/>
                <a:gd name="connsiteX118" fmla="*/ 1863468 w 3334427"/>
                <a:gd name="connsiteY118" fmla="*/ 2480697 h 2817885"/>
                <a:gd name="connsiteX119" fmla="*/ 1857542 w 3334427"/>
                <a:gd name="connsiteY119" fmla="*/ 2469779 h 2817885"/>
                <a:gd name="connsiteX120" fmla="*/ 1809360 w 3334427"/>
                <a:gd name="connsiteY120" fmla="*/ 2558549 h 2817885"/>
                <a:gd name="connsiteX121" fmla="*/ 1321606 w 3334427"/>
                <a:gd name="connsiteY121" fmla="*/ 2817885 h 2817885"/>
                <a:gd name="connsiteX122" fmla="*/ 733395 w 3334427"/>
                <a:gd name="connsiteY122" fmla="*/ 2229674 h 2817885"/>
                <a:gd name="connsiteX123" fmla="*/ 736863 w 3334427"/>
                <a:gd name="connsiteY123" fmla="*/ 2195267 h 2817885"/>
                <a:gd name="connsiteX124" fmla="*/ 718524 w 3334427"/>
                <a:gd name="connsiteY124" fmla="*/ 2200960 h 2817885"/>
                <a:gd name="connsiteX125" fmla="*/ 598005 w 3334427"/>
                <a:gd name="connsiteY125" fmla="*/ 2213109 h 2817885"/>
                <a:gd name="connsiteX126" fmla="*/ 0 w 3334427"/>
                <a:gd name="connsiteY126" fmla="*/ 1615104 h 2817885"/>
                <a:gd name="connsiteX127" fmla="*/ 477486 w 3334427"/>
                <a:gd name="connsiteY127" fmla="*/ 1029248 h 2817885"/>
                <a:gd name="connsiteX128" fmla="*/ 483507 w 3334427"/>
                <a:gd name="connsiteY128" fmla="*/ 1028642 h 2817885"/>
                <a:gd name="connsiteX129" fmla="*/ 451215 w 3334427"/>
                <a:gd name="connsiteY129" fmla="*/ 959422 h 2817885"/>
                <a:gd name="connsiteX130" fmla="*/ 420758 w 3334427"/>
                <a:gd name="connsiteY130" fmla="*/ 786843 h 2817885"/>
                <a:gd name="connsiteX131" fmla="*/ 922684 w 3334427"/>
                <a:gd name="connsiteY131" fmla="*/ 284917 h 2817885"/>
                <a:gd name="connsiteX132" fmla="*/ 1351945 w 3334427"/>
                <a:gd name="connsiteY132" fmla="*/ 526576 h 2817885"/>
                <a:gd name="connsiteX133" fmla="*/ 1363631 w 3334427"/>
                <a:gd name="connsiteY133" fmla="*/ 550110 h 2817885"/>
                <a:gd name="connsiteX134" fmla="*/ 1383961 w 3334427"/>
                <a:gd name="connsiteY134" fmla="*/ 484616 h 2817885"/>
                <a:gd name="connsiteX135" fmla="*/ 2115077 w 3334427"/>
                <a:gd name="connsiteY135" fmla="*/ 0 h 2817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3334427" h="2817885">
                  <a:moveTo>
                    <a:pt x="1288941" y="1538005"/>
                  </a:moveTo>
                  <a:cubicBezTo>
                    <a:pt x="1374828" y="1538005"/>
                    <a:pt x="1444454" y="1607631"/>
                    <a:pt x="1444454" y="1693518"/>
                  </a:cubicBezTo>
                  <a:cubicBezTo>
                    <a:pt x="1444454" y="1779405"/>
                    <a:pt x="1374828" y="1849031"/>
                    <a:pt x="1288941" y="1849031"/>
                  </a:cubicBezTo>
                  <a:cubicBezTo>
                    <a:pt x="1203054" y="1849031"/>
                    <a:pt x="1133428" y="1779405"/>
                    <a:pt x="1133428" y="1693518"/>
                  </a:cubicBezTo>
                  <a:cubicBezTo>
                    <a:pt x="1133428" y="1607631"/>
                    <a:pt x="1203054" y="1538005"/>
                    <a:pt x="1288941" y="1538005"/>
                  </a:cubicBezTo>
                  <a:close/>
                  <a:moveTo>
                    <a:pt x="1256190" y="1221811"/>
                  </a:moveTo>
                  <a:lnTo>
                    <a:pt x="1228064" y="1349135"/>
                  </a:lnTo>
                  <a:lnTo>
                    <a:pt x="1218299" y="1350119"/>
                  </a:lnTo>
                  <a:cubicBezTo>
                    <a:pt x="1172663" y="1359458"/>
                    <a:pt x="1130258" y="1377665"/>
                    <a:pt x="1092962" y="1402861"/>
                  </a:cubicBezTo>
                  <a:lnTo>
                    <a:pt x="1088718" y="1406363"/>
                  </a:lnTo>
                  <a:lnTo>
                    <a:pt x="979011" y="1336354"/>
                  </a:lnTo>
                  <a:lnTo>
                    <a:pt x="932235" y="1383131"/>
                  </a:lnTo>
                  <a:lnTo>
                    <a:pt x="1002209" y="1492783"/>
                  </a:lnTo>
                  <a:lnTo>
                    <a:pt x="998285" y="1497539"/>
                  </a:lnTo>
                  <a:cubicBezTo>
                    <a:pt x="973088" y="1534835"/>
                    <a:pt x="954881" y="1577240"/>
                    <a:pt x="945543" y="1622876"/>
                  </a:cubicBezTo>
                  <a:lnTo>
                    <a:pt x="944625" y="1631978"/>
                  </a:lnTo>
                  <a:lnTo>
                    <a:pt x="817235" y="1660118"/>
                  </a:lnTo>
                  <a:lnTo>
                    <a:pt x="817234" y="1726269"/>
                  </a:lnTo>
                  <a:lnTo>
                    <a:pt x="944558" y="1754394"/>
                  </a:lnTo>
                  <a:lnTo>
                    <a:pt x="945543" y="1764160"/>
                  </a:lnTo>
                  <a:cubicBezTo>
                    <a:pt x="954881" y="1809796"/>
                    <a:pt x="973088" y="1852202"/>
                    <a:pt x="998285" y="1889497"/>
                  </a:cubicBezTo>
                  <a:lnTo>
                    <a:pt x="1001786" y="1893741"/>
                  </a:lnTo>
                  <a:lnTo>
                    <a:pt x="931776" y="2003448"/>
                  </a:lnTo>
                  <a:lnTo>
                    <a:pt x="978553" y="2050224"/>
                  </a:lnTo>
                  <a:lnTo>
                    <a:pt x="1088206" y="1980250"/>
                  </a:lnTo>
                  <a:lnTo>
                    <a:pt x="1092962" y="1984175"/>
                  </a:lnTo>
                  <a:cubicBezTo>
                    <a:pt x="1130258" y="2009371"/>
                    <a:pt x="1172663" y="2027578"/>
                    <a:pt x="1218299" y="2036917"/>
                  </a:cubicBezTo>
                  <a:lnTo>
                    <a:pt x="1227403" y="2037834"/>
                  </a:lnTo>
                  <a:lnTo>
                    <a:pt x="1255542" y="2165224"/>
                  </a:lnTo>
                  <a:lnTo>
                    <a:pt x="1321693" y="2165224"/>
                  </a:lnTo>
                  <a:lnTo>
                    <a:pt x="1349819" y="2037901"/>
                  </a:lnTo>
                  <a:lnTo>
                    <a:pt x="1359583" y="2036917"/>
                  </a:lnTo>
                  <a:cubicBezTo>
                    <a:pt x="1405219" y="2027578"/>
                    <a:pt x="1447625" y="2009371"/>
                    <a:pt x="1484920" y="1984175"/>
                  </a:cubicBezTo>
                  <a:lnTo>
                    <a:pt x="1489163" y="1980674"/>
                  </a:lnTo>
                  <a:lnTo>
                    <a:pt x="1598871" y="2050683"/>
                  </a:lnTo>
                  <a:lnTo>
                    <a:pt x="1645646" y="2003907"/>
                  </a:lnTo>
                  <a:lnTo>
                    <a:pt x="1575673" y="1894254"/>
                  </a:lnTo>
                  <a:lnTo>
                    <a:pt x="1579598" y="1889497"/>
                  </a:lnTo>
                  <a:cubicBezTo>
                    <a:pt x="1604794" y="1852202"/>
                    <a:pt x="1623001" y="1809796"/>
                    <a:pt x="1632340" y="1764160"/>
                  </a:cubicBezTo>
                  <a:lnTo>
                    <a:pt x="1633258" y="1755058"/>
                  </a:lnTo>
                  <a:lnTo>
                    <a:pt x="1760648" y="1726917"/>
                  </a:lnTo>
                  <a:lnTo>
                    <a:pt x="1760649" y="1660766"/>
                  </a:lnTo>
                  <a:lnTo>
                    <a:pt x="1633324" y="1632641"/>
                  </a:lnTo>
                  <a:lnTo>
                    <a:pt x="1632340" y="1622876"/>
                  </a:lnTo>
                  <a:cubicBezTo>
                    <a:pt x="1623001" y="1577240"/>
                    <a:pt x="1604794" y="1534835"/>
                    <a:pt x="1579598" y="1497539"/>
                  </a:cubicBezTo>
                  <a:lnTo>
                    <a:pt x="1576097" y="1493295"/>
                  </a:lnTo>
                  <a:lnTo>
                    <a:pt x="1646105" y="1383589"/>
                  </a:lnTo>
                  <a:lnTo>
                    <a:pt x="1599329" y="1336813"/>
                  </a:lnTo>
                  <a:lnTo>
                    <a:pt x="1489677" y="1406786"/>
                  </a:lnTo>
                  <a:lnTo>
                    <a:pt x="1484920" y="1402861"/>
                  </a:lnTo>
                  <a:cubicBezTo>
                    <a:pt x="1447625" y="1377665"/>
                    <a:pt x="1405219" y="1359458"/>
                    <a:pt x="1359583" y="1350119"/>
                  </a:cubicBezTo>
                  <a:lnTo>
                    <a:pt x="1350481" y="1349202"/>
                  </a:lnTo>
                  <a:lnTo>
                    <a:pt x="1322342" y="1221811"/>
                  </a:lnTo>
                  <a:close/>
                  <a:moveTo>
                    <a:pt x="2115711" y="1016035"/>
                  </a:moveTo>
                  <a:cubicBezTo>
                    <a:pt x="2201598" y="1016035"/>
                    <a:pt x="2271224" y="1085661"/>
                    <a:pt x="2271224" y="1171548"/>
                  </a:cubicBezTo>
                  <a:cubicBezTo>
                    <a:pt x="2271224" y="1257435"/>
                    <a:pt x="2201598" y="1327061"/>
                    <a:pt x="2115711" y="1327061"/>
                  </a:cubicBezTo>
                  <a:cubicBezTo>
                    <a:pt x="2029824" y="1327061"/>
                    <a:pt x="1960198" y="1257435"/>
                    <a:pt x="1960198" y="1171548"/>
                  </a:cubicBezTo>
                  <a:cubicBezTo>
                    <a:pt x="1960198" y="1085661"/>
                    <a:pt x="2029824" y="1016035"/>
                    <a:pt x="2115711" y="1016035"/>
                  </a:cubicBezTo>
                  <a:close/>
                  <a:moveTo>
                    <a:pt x="2082960" y="699841"/>
                  </a:moveTo>
                  <a:lnTo>
                    <a:pt x="2054834" y="827165"/>
                  </a:lnTo>
                  <a:lnTo>
                    <a:pt x="2045069" y="828149"/>
                  </a:lnTo>
                  <a:cubicBezTo>
                    <a:pt x="1999433" y="837488"/>
                    <a:pt x="1957028" y="855695"/>
                    <a:pt x="1919732" y="880891"/>
                  </a:cubicBezTo>
                  <a:lnTo>
                    <a:pt x="1915488" y="884393"/>
                  </a:lnTo>
                  <a:lnTo>
                    <a:pt x="1805781" y="814384"/>
                  </a:lnTo>
                  <a:lnTo>
                    <a:pt x="1759005" y="861161"/>
                  </a:lnTo>
                  <a:lnTo>
                    <a:pt x="1828979" y="970813"/>
                  </a:lnTo>
                  <a:lnTo>
                    <a:pt x="1825055" y="975569"/>
                  </a:lnTo>
                  <a:cubicBezTo>
                    <a:pt x="1799858" y="1012865"/>
                    <a:pt x="1781651" y="1055270"/>
                    <a:pt x="1772313" y="1100906"/>
                  </a:cubicBezTo>
                  <a:lnTo>
                    <a:pt x="1771395" y="1110008"/>
                  </a:lnTo>
                  <a:lnTo>
                    <a:pt x="1644005" y="1138148"/>
                  </a:lnTo>
                  <a:lnTo>
                    <a:pt x="1644004" y="1204299"/>
                  </a:lnTo>
                  <a:lnTo>
                    <a:pt x="1771328" y="1232424"/>
                  </a:lnTo>
                  <a:lnTo>
                    <a:pt x="1772313" y="1242190"/>
                  </a:lnTo>
                  <a:cubicBezTo>
                    <a:pt x="1781651" y="1287826"/>
                    <a:pt x="1799858" y="1330232"/>
                    <a:pt x="1825055" y="1367527"/>
                  </a:cubicBezTo>
                  <a:lnTo>
                    <a:pt x="1828556" y="1371771"/>
                  </a:lnTo>
                  <a:lnTo>
                    <a:pt x="1758546" y="1481478"/>
                  </a:lnTo>
                  <a:lnTo>
                    <a:pt x="1805323" y="1528254"/>
                  </a:lnTo>
                  <a:lnTo>
                    <a:pt x="1914976" y="1458280"/>
                  </a:lnTo>
                  <a:lnTo>
                    <a:pt x="1919732" y="1462205"/>
                  </a:lnTo>
                  <a:cubicBezTo>
                    <a:pt x="1957028" y="1487401"/>
                    <a:pt x="1999433" y="1505608"/>
                    <a:pt x="2045069" y="1514947"/>
                  </a:cubicBezTo>
                  <a:lnTo>
                    <a:pt x="2054173" y="1515864"/>
                  </a:lnTo>
                  <a:lnTo>
                    <a:pt x="2082312" y="1643254"/>
                  </a:lnTo>
                  <a:lnTo>
                    <a:pt x="2148463" y="1643254"/>
                  </a:lnTo>
                  <a:lnTo>
                    <a:pt x="2176589" y="1515931"/>
                  </a:lnTo>
                  <a:lnTo>
                    <a:pt x="2186353" y="1514947"/>
                  </a:lnTo>
                  <a:cubicBezTo>
                    <a:pt x="2231989" y="1505608"/>
                    <a:pt x="2274395" y="1487401"/>
                    <a:pt x="2311690" y="1462205"/>
                  </a:cubicBezTo>
                  <a:lnTo>
                    <a:pt x="2315933" y="1458704"/>
                  </a:lnTo>
                  <a:lnTo>
                    <a:pt x="2425641" y="1528713"/>
                  </a:lnTo>
                  <a:lnTo>
                    <a:pt x="2472416" y="1481937"/>
                  </a:lnTo>
                  <a:lnTo>
                    <a:pt x="2402443" y="1372284"/>
                  </a:lnTo>
                  <a:lnTo>
                    <a:pt x="2406368" y="1367527"/>
                  </a:lnTo>
                  <a:cubicBezTo>
                    <a:pt x="2431564" y="1330232"/>
                    <a:pt x="2449771" y="1287826"/>
                    <a:pt x="2459110" y="1242190"/>
                  </a:cubicBezTo>
                  <a:lnTo>
                    <a:pt x="2460028" y="1233088"/>
                  </a:lnTo>
                  <a:lnTo>
                    <a:pt x="2587418" y="1204947"/>
                  </a:lnTo>
                  <a:lnTo>
                    <a:pt x="2587419" y="1138796"/>
                  </a:lnTo>
                  <a:lnTo>
                    <a:pt x="2460094" y="1110671"/>
                  </a:lnTo>
                  <a:lnTo>
                    <a:pt x="2459110" y="1100906"/>
                  </a:lnTo>
                  <a:cubicBezTo>
                    <a:pt x="2449771" y="1055270"/>
                    <a:pt x="2431564" y="1012865"/>
                    <a:pt x="2406368" y="975569"/>
                  </a:cubicBezTo>
                  <a:lnTo>
                    <a:pt x="2402867" y="971325"/>
                  </a:lnTo>
                  <a:lnTo>
                    <a:pt x="2472875" y="861619"/>
                  </a:lnTo>
                  <a:lnTo>
                    <a:pt x="2426099" y="814843"/>
                  </a:lnTo>
                  <a:lnTo>
                    <a:pt x="2316447" y="884816"/>
                  </a:lnTo>
                  <a:lnTo>
                    <a:pt x="2311690" y="880891"/>
                  </a:lnTo>
                  <a:cubicBezTo>
                    <a:pt x="2274395" y="855695"/>
                    <a:pt x="2231989" y="837488"/>
                    <a:pt x="2186353" y="828149"/>
                  </a:cubicBezTo>
                  <a:lnTo>
                    <a:pt x="2177251" y="827232"/>
                  </a:lnTo>
                  <a:lnTo>
                    <a:pt x="2149112" y="699841"/>
                  </a:lnTo>
                  <a:close/>
                  <a:moveTo>
                    <a:pt x="2115077" y="0"/>
                  </a:moveTo>
                  <a:cubicBezTo>
                    <a:pt x="2553299" y="0"/>
                    <a:pt x="2908548" y="355249"/>
                    <a:pt x="2908548" y="793471"/>
                  </a:cubicBezTo>
                  <a:cubicBezTo>
                    <a:pt x="2908548" y="875638"/>
                    <a:pt x="2896059" y="954887"/>
                    <a:pt x="2872875" y="1029425"/>
                  </a:cubicBezTo>
                  <a:lnTo>
                    <a:pt x="2865385" y="1048435"/>
                  </a:lnTo>
                  <a:lnTo>
                    <a:pt x="2969193" y="1080658"/>
                  </a:lnTo>
                  <a:cubicBezTo>
                    <a:pt x="3183826" y="1171440"/>
                    <a:pt x="3334427" y="1383967"/>
                    <a:pt x="3334427" y="1631669"/>
                  </a:cubicBezTo>
                  <a:cubicBezTo>
                    <a:pt x="3334427" y="1961938"/>
                    <a:pt x="3066691" y="2229674"/>
                    <a:pt x="2736422" y="2229674"/>
                  </a:cubicBezTo>
                  <a:cubicBezTo>
                    <a:pt x="2684818" y="2229674"/>
                    <a:pt x="2634740" y="2223138"/>
                    <a:pt x="2586971" y="2210847"/>
                  </a:cubicBezTo>
                  <a:lnTo>
                    <a:pt x="2539957" y="2195594"/>
                  </a:lnTo>
                  <a:lnTo>
                    <a:pt x="2540132" y="2196159"/>
                  </a:lnTo>
                  <a:cubicBezTo>
                    <a:pt x="2545115" y="2220510"/>
                    <a:pt x="2547732" y="2245724"/>
                    <a:pt x="2547732" y="2271548"/>
                  </a:cubicBezTo>
                  <a:cubicBezTo>
                    <a:pt x="2547732" y="2478144"/>
                    <a:pt x="2380253" y="2645623"/>
                    <a:pt x="2173657" y="2645623"/>
                  </a:cubicBezTo>
                  <a:cubicBezTo>
                    <a:pt x="2044535" y="2645623"/>
                    <a:pt x="1930692" y="2580202"/>
                    <a:pt x="1863468" y="2480697"/>
                  </a:cubicBezTo>
                  <a:lnTo>
                    <a:pt x="1857542" y="2469779"/>
                  </a:lnTo>
                  <a:lnTo>
                    <a:pt x="1809360" y="2558549"/>
                  </a:lnTo>
                  <a:cubicBezTo>
                    <a:pt x="1703654" y="2715014"/>
                    <a:pt x="1524644" y="2817885"/>
                    <a:pt x="1321606" y="2817885"/>
                  </a:cubicBezTo>
                  <a:cubicBezTo>
                    <a:pt x="996746" y="2817885"/>
                    <a:pt x="733395" y="2554534"/>
                    <a:pt x="733395" y="2229674"/>
                  </a:cubicBezTo>
                  <a:lnTo>
                    <a:pt x="736863" y="2195267"/>
                  </a:lnTo>
                  <a:lnTo>
                    <a:pt x="718524" y="2200960"/>
                  </a:lnTo>
                  <a:cubicBezTo>
                    <a:pt x="679595" y="2208926"/>
                    <a:pt x="639289" y="2213109"/>
                    <a:pt x="598005" y="2213109"/>
                  </a:cubicBezTo>
                  <a:cubicBezTo>
                    <a:pt x="267736" y="2213109"/>
                    <a:pt x="0" y="1945373"/>
                    <a:pt x="0" y="1615104"/>
                  </a:cubicBezTo>
                  <a:cubicBezTo>
                    <a:pt x="0" y="1326119"/>
                    <a:pt x="204985" y="1085010"/>
                    <a:pt x="477486" y="1029248"/>
                  </a:cubicBezTo>
                  <a:lnTo>
                    <a:pt x="483507" y="1028642"/>
                  </a:lnTo>
                  <a:lnTo>
                    <a:pt x="451215" y="959422"/>
                  </a:lnTo>
                  <a:cubicBezTo>
                    <a:pt x="431511" y="905609"/>
                    <a:pt x="420758" y="847482"/>
                    <a:pt x="420758" y="786843"/>
                  </a:cubicBezTo>
                  <a:cubicBezTo>
                    <a:pt x="420758" y="509637"/>
                    <a:pt x="645478" y="284917"/>
                    <a:pt x="922684" y="284917"/>
                  </a:cubicBezTo>
                  <a:cubicBezTo>
                    <a:pt x="1104601" y="284917"/>
                    <a:pt x="1263913" y="381696"/>
                    <a:pt x="1351945" y="526576"/>
                  </a:cubicBezTo>
                  <a:lnTo>
                    <a:pt x="1363631" y="550110"/>
                  </a:lnTo>
                  <a:lnTo>
                    <a:pt x="1383961" y="484616"/>
                  </a:lnTo>
                  <a:cubicBezTo>
                    <a:pt x="1504417" y="199828"/>
                    <a:pt x="1786411" y="0"/>
                    <a:pt x="2115077" y="0"/>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16" name="HDInsight Icon"/>
            <p:cNvSpPr>
              <a:spLocks noChangeAspect="1"/>
            </p:cNvSpPr>
            <p:nvPr/>
          </p:nvSpPr>
          <p:spPr>
            <a:xfrm>
              <a:off x="8750324" y="429376"/>
              <a:ext cx="819943" cy="836416"/>
            </a:xfrm>
            <a:custGeom>
              <a:avLst/>
              <a:gdLst>
                <a:gd name="connsiteX0" fmla="*/ 1588738 w 4072037"/>
                <a:gd name="connsiteY0" fmla="*/ 3292794 h 4153852"/>
                <a:gd name="connsiteX1" fmla="*/ 1933251 w 4072037"/>
                <a:gd name="connsiteY1" fmla="*/ 3292794 h 4153852"/>
                <a:gd name="connsiteX2" fmla="*/ 1933251 w 4072037"/>
                <a:gd name="connsiteY2" fmla="*/ 3526474 h 4153852"/>
                <a:gd name="connsiteX3" fmla="*/ 1588738 w 4072037"/>
                <a:gd name="connsiteY3" fmla="*/ 3526474 h 4153852"/>
                <a:gd name="connsiteX4" fmla="*/ 1038478 w 4072037"/>
                <a:gd name="connsiteY4" fmla="*/ 2835594 h 4153852"/>
                <a:gd name="connsiteX5" fmla="*/ 1365218 w 4072037"/>
                <a:gd name="connsiteY5" fmla="*/ 2835594 h 4153852"/>
                <a:gd name="connsiteX6" fmla="*/ 1365218 w 4072037"/>
                <a:gd name="connsiteY6" fmla="*/ 3069274 h 4153852"/>
                <a:gd name="connsiteX7" fmla="*/ 840634 w 4072037"/>
                <a:gd name="connsiteY7" fmla="*/ 3069274 h 4153852"/>
                <a:gd name="connsiteX8" fmla="*/ 2156771 w 4072037"/>
                <a:gd name="connsiteY8" fmla="*/ 2378394 h 4153852"/>
                <a:gd name="connsiteX9" fmla="*/ 2375211 w 4072037"/>
                <a:gd name="connsiteY9" fmla="*/ 2378394 h 4153852"/>
                <a:gd name="connsiteX10" fmla="*/ 2375211 w 4072037"/>
                <a:gd name="connsiteY10" fmla="*/ 3069274 h 4153852"/>
                <a:gd name="connsiteX11" fmla="*/ 2156771 w 4072037"/>
                <a:gd name="connsiteY11" fmla="*/ 3069274 h 4153852"/>
                <a:gd name="connsiteX12" fmla="*/ 1425564 w 4072037"/>
                <a:gd name="connsiteY12" fmla="*/ 2378394 h 4153852"/>
                <a:gd name="connsiteX13" fmla="*/ 1933251 w 4072037"/>
                <a:gd name="connsiteY13" fmla="*/ 2378394 h 4153852"/>
                <a:gd name="connsiteX14" fmla="*/ 1933251 w 4072037"/>
                <a:gd name="connsiteY14" fmla="*/ 3069274 h 4153852"/>
                <a:gd name="connsiteX15" fmla="*/ 1588738 w 4072037"/>
                <a:gd name="connsiteY15" fmla="*/ 3069274 h 4153852"/>
                <a:gd name="connsiteX16" fmla="*/ 1588738 w 4072037"/>
                <a:gd name="connsiteY16" fmla="*/ 2612074 h 4153852"/>
                <a:gd name="connsiteX17" fmla="*/ 1587811 w 4072037"/>
                <a:gd name="connsiteY17" fmla="*/ 2612074 h 4153852"/>
                <a:gd name="connsiteX18" fmla="*/ 1365218 w 4072037"/>
                <a:gd name="connsiteY18" fmla="*/ 2612074 h 4153852"/>
                <a:gd name="connsiteX19" fmla="*/ 1227720 w 4072037"/>
                <a:gd name="connsiteY19" fmla="*/ 2612074 h 4153852"/>
                <a:gd name="connsiteX20" fmla="*/ 3539294 w 4072037"/>
                <a:gd name="connsiteY20" fmla="*/ 1958529 h 4153852"/>
                <a:gd name="connsiteX21" fmla="*/ 4072037 w 4072037"/>
                <a:gd name="connsiteY21" fmla="*/ 2267521 h 4153852"/>
                <a:gd name="connsiteX22" fmla="*/ 3539294 w 4072037"/>
                <a:gd name="connsiteY22" fmla="*/ 2576512 h 4153852"/>
                <a:gd name="connsiteX23" fmla="*/ 3539294 w 4072037"/>
                <a:gd name="connsiteY23" fmla="*/ 2378963 h 4153852"/>
                <a:gd name="connsiteX24" fmla="*/ 3175311 w 4072037"/>
                <a:gd name="connsiteY24" fmla="*/ 2378963 h 4153852"/>
                <a:gd name="connsiteX25" fmla="*/ 3175311 w 4072037"/>
                <a:gd name="connsiteY25" fmla="*/ 3638862 h 4153852"/>
                <a:gd name="connsiteX26" fmla="*/ 3175311 w 4072037"/>
                <a:gd name="connsiteY26" fmla="*/ 3669236 h 4153852"/>
                <a:gd name="connsiteX27" fmla="*/ 3165871 w 4072037"/>
                <a:gd name="connsiteY27" fmla="*/ 3669236 h 4153852"/>
                <a:gd name="connsiteX28" fmla="*/ 1587656 w 4072037"/>
                <a:gd name="connsiteY28" fmla="*/ 4153852 h 4153852"/>
                <a:gd name="connsiteX29" fmla="*/ 9441 w 4072037"/>
                <a:gd name="connsiteY29" fmla="*/ 3669236 h 4153852"/>
                <a:gd name="connsiteX30" fmla="*/ 0 w 4072037"/>
                <a:gd name="connsiteY30" fmla="*/ 3669236 h 4153852"/>
                <a:gd name="connsiteX31" fmla="*/ 0 w 4072037"/>
                <a:gd name="connsiteY31" fmla="*/ 3638862 h 4153852"/>
                <a:gd name="connsiteX32" fmla="*/ 0 w 4072037"/>
                <a:gd name="connsiteY32" fmla="*/ 2835594 h 4153852"/>
                <a:gd name="connsiteX33" fmla="*/ 745607 w 4072037"/>
                <a:gd name="connsiteY33" fmla="*/ 2835594 h 4153852"/>
                <a:gd name="connsiteX34" fmla="*/ 564990 w 4072037"/>
                <a:gd name="connsiteY34" fmla="*/ 3048928 h 4153852"/>
                <a:gd name="connsiteX35" fmla="*/ 565533 w 4072037"/>
                <a:gd name="connsiteY35" fmla="*/ 3049388 h 4153852"/>
                <a:gd name="connsiteX36" fmla="*/ 358375 w 4072037"/>
                <a:gd name="connsiteY36" fmla="*/ 3294070 h 4153852"/>
                <a:gd name="connsiteX37" fmla="*/ 650312 w 4072037"/>
                <a:gd name="connsiteY37" fmla="*/ 3294070 h 4153852"/>
                <a:gd name="connsiteX38" fmla="*/ 651392 w 4072037"/>
                <a:gd name="connsiteY38" fmla="*/ 3292794 h 4153852"/>
                <a:gd name="connsiteX39" fmla="*/ 1365218 w 4072037"/>
                <a:gd name="connsiteY39" fmla="*/ 3292794 h 4153852"/>
                <a:gd name="connsiteX40" fmla="*/ 1365218 w 4072037"/>
                <a:gd name="connsiteY40" fmla="*/ 3526474 h 4153852"/>
                <a:gd name="connsiteX41" fmla="*/ 1361751 w 4072037"/>
                <a:gd name="connsiteY41" fmla="*/ 3526474 h 4153852"/>
                <a:gd name="connsiteX42" fmla="*/ 1361751 w 4072037"/>
                <a:gd name="connsiteY42" fmla="*/ 3749994 h 4153852"/>
                <a:gd name="connsiteX43" fmla="*/ 1365218 w 4072037"/>
                <a:gd name="connsiteY43" fmla="*/ 3749994 h 4153852"/>
                <a:gd name="connsiteX44" fmla="*/ 1588738 w 4072037"/>
                <a:gd name="connsiteY44" fmla="*/ 3749994 h 4153852"/>
                <a:gd name="connsiteX45" fmla="*/ 1933251 w 4072037"/>
                <a:gd name="connsiteY45" fmla="*/ 3749994 h 4153852"/>
                <a:gd name="connsiteX46" fmla="*/ 2156771 w 4072037"/>
                <a:gd name="connsiteY46" fmla="*/ 3749994 h 4153852"/>
                <a:gd name="connsiteX47" fmla="*/ 2156771 w 4072037"/>
                <a:gd name="connsiteY47" fmla="*/ 3526474 h 4153852"/>
                <a:gd name="connsiteX48" fmla="*/ 2156771 w 4072037"/>
                <a:gd name="connsiteY48" fmla="*/ 3292794 h 4153852"/>
                <a:gd name="connsiteX49" fmla="*/ 2375211 w 4072037"/>
                <a:gd name="connsiteY49" fmla="*/ 3292794 h 4153852"/>
                <a:gd name="connsiteX50" fmla="*/ 2598731 w 4072037"/>
                <a:gd name="connsiteY50" fmla="*/ 3292794 h 4153852"/>
                <a:gd name="connsiteX51" fmla="*/ 2598731 w 4072037"/>
                <a:gd name="connsiteY51" fmla="*/ 3069274 h 4153852"/>
                <a:gd name="connsiteX52" fmla="*/ 2598731 w 4072037"/>
                <a:gd name="connsiteY52" fmla="*/ 2378394 h 4153852"/>
                <a:gd name="connsiteX53" fmla="*/ 3175311 w 4072037"/>
                <a:gd name="connsiteY53" fmla="*/ 2378394 h 4153852"/>
                <a:gd name="connsiteX54" fmla="*/ 3175311 w 4072037"/>
                <a:gd name="connsiteY54" fmla="*/ 2156077 h 4153852"/>
                <a:gd name="connsiteX55" fmla="*/ 3539294 w 4072037"/>
                <a:gd name="connsiteY55" fmla="*/ 2156077 h 4153852"/>
                <a:gd name="connsiteX56" fmla="*/ 1933251 w 4072037"/>
                <a:gd name="connsiteY56" fmla="*/ 1778749 h 4153852"/>
                <a:gd name="connsiteX57" fmla="*/ 1933251 w 4072037"/>
                <a:gd name="connsiteY57" fmla="*/ 2154874 h 4153852"/>
                <a:gd name="connsiteX58" fmla="*/ 1614806 w 4072037"/>
                <a:gd name="connsiteY58" fmla="*/ 2154874 h 4153852"/>
                <a:gd name="connsiteX59" fmla="*/ 2156771 w 4072037"/>
                <a:gd name="connsiteY59" fmla="*/ 1776416 h 4153852"/>
                <a:gd name="connsiteX60" fmla="*/ 2375211 w 4072037"/>
                <a:gd name="connsiteY60" fmla="*/ 1776416 h 4153852"/>
                <a:gd name="connsiteX61" fmla="*/ 2375211 w 4072037"/>
                <a:gd name="connsiteY61" fmla="*/ 2154874 h 4153852"/>
                <a:gd name="connsiteX62" fmla="*/ 2156771 w 4072037"/>
                <a:gd name="connsiteY62" fmla="*/ 2154874 h 4153852"/>
                <a:gd name="connsiteX63" fmla="*/ 719131 w 4072037"/>
                <a:gd name="connsiteY63" fmla="*/ 1776416 h 4153852"/>
                <a:gd name="connsiteX64" fmla="*/ 1642355 w 4072037"/>
                <a:gd name="connsiteY64" fmla="*/ 1776416 h 4153852"/>
                <a:gd name="connsiteX65" fmla="*/ 1321935 w 4072037"/>
                <a:gd name="connsiteY65" fmla="*/ 2154874 h 4153852"/>
                <a:gd name="connsiteX66" fmla="*/ 719131 w 4072037"/>
                <a:gd name="connsiteY66" fmla="*/ 2154874 h 4153852"/>
                <a:gd name="connsiteX67" fmla="*/ 1587656 w 4072037"/>
                <a:gd name="connsiteY67" fmla="*/ 203080 h 4153852"/>
                <a:gd name="connsiteX68" fmla="*/ 445989 w 4072037"/>
                <a:gd name="connsiteY68" fmla="*/ 573403 h 4153852"/>
                <a:gd name="connsiteX69" fmla="*/ 1587656 w 4072037"/>
                <a:gd name="connsiteY69" fmla="*/ 943727 h 4153852"/>
                <a:gd name="connsiteX70" fmla="*/ 2729323 w 4072037"/>
                <a:gd name="connsiteY70" fmla="*/ 573403 h 4153852"/>
                <a:gd name="connsiteX71" fmla="*/ 1587656 w 4072037"/>
                <a:gd name="connsiteY71" fmla="*/ 203080 h 4153852"/>
                <a:gd name="connsiteX72" fmla="*/ 1587656 w 4072037"/>
                <a:gd name="connsiteY72" fmla="*/ 0 h 4153852"/>
                <a:gd name="connsiteX73" fmla="*/ 3175311 w 4072037"/>
                <a:gd name="connsiteY73" fmla="*/ 514990 h 4153852"/>
                <a:gd name="connsiteX74" fmla="*/ 3175311 w 4072037"/>
                <a:gd name="connsiteY74" fmla="*/ 2154874 h 4153852"/>
                <a:gd name="connsiteX75" fmla="*/ 2598731 w 4072037"/>
                <a:gd name="connsiteY75" fmla="*/ 2154874 h 4153852"/>
                <a:gd name="connsiteX76" fmla="*/ 2598731 w 4072037"/>
                <a:gd name="connsiteY76" fmla="*/ 1776416 h 4153852"/>
                <a:gd name="connsiteX77" fmla="*/ 2598731 w 4072037"/>
                <a:gd name="connsiteY77" fmla="*/ 1552896 h 4153852"/>
                <a:gd name="connsiteX78" fmla="*/ 2375211 w 4072037"/>
                <a:gd name="connsiteY78" fmla="*/ 1552896 h 4153852"/>
                <a:gd name="connsiteX79" fmla="*/ 2156771 w 4072037"/>
                <a:gd name="connsiteY79" fmla="*/ 1552896 h 4153852"/>
                <a:gd name="connsiteX80" fmla="*/ 2156771 w 4072037"/>
                <a:gd name="connsiteY80" fmla="*/ 1514742 h 4153852"/>
                <a:gd name="connsiteX81" fmla="*/ 2157289 w 4072037"/>
                <a:gd name="connsiteY81" fmla="*/ 1514130 h 4153852"/>
                <a:gd name="connsiteX82" fmla="*/ 2157289 w 4072037"/>
                <a:gd name="connsiteY82" fmla="*/ 1168211 h 4153852"/>
                <a:gd name="connsiteX83" fmla="*/ 2156323 w 4072037"/>
                <a:gd name="connsiteY83" fmla="*/ 1169352 h 4153852"/>
                <a:gd name="connsiteX84" fmla="*/ 2156321 w 4072037"/>
                <a:gd name="connsiteY84" fmla="*/ 1169352 h 4153852"/>
                <a:gd name="connsiteX85" fmla="*/ 1933251 w 4072037"/>
                <a:gd name="connsiteY85" fmla="*/ 1432826 h 4153852"/>
                <a:gd name="connsiteX86" fmla="*/ 1933251 w 4072037"/>
                <a:gd name="connsiteY86" fmla="*/ 1432829 h 4153852"/>
                <a:gd name="connsiteX87" fmla="*/ 1831597 w 4072037"/>
                <a:gd name="connsiteY87" fmla="*/ 1552896 h 4153852"/>
                <a:gd name="connsiteX88" fmla="*/ 719131 w 4072037"/>
                <a:gd name="connsiteY88" fmla="*/ 1552896 h 4153852"/>
                <a:gd name="connsiteX89" fmla="*/ 495611 w 4072037"/>
                <a:gd name="connsiteY89" fmla="*/ 1552896 h 4153852"/>
                <a:gd name="connsiteX90" fmla="*/ 495611 w 4072037"/>
                <a:gd name="connsiteY90" fmla="*/ 1776416 h 4153852"/>
                <a:gd name="connsiteX91" fmla="*/ 495611 w 4072037"/>
                <a:gd name="connsiteY91" fmla="*/ 2154874 h 4153852"/>
                <a:gd name="connsiteX92" fmla="*/ 495611 w 4072037"/>
                <a:gd name="connsiteY92" fmla="*/ 2378394 h 4153852"/>
                <a:gd name="connsiteX93" fmla="*/ 719131 w 4072037"/>
                <a:gd name="connsiteY93" fmla="*/ 2378394 h 4153852"/>
                <a:gd name="connsiteX94" fmla="*/ 1132693 w 4072037"/>
                <a:gd name="connsiteY94" fmla="*/ 2378394 h 4153852"/>
                <a:gd name="connsiteX95" fmla="*/ 934849 w 4072037"/>
                <a:gd name="connsiteY95" fmla="*/ 2612074 h 4153852"/>
                <a:gd name="connsiteX96" fmla="*/ 0 w 4072037"/>
                <a:gd name="connsiteY96" fmla="*/ 2612074 h 4153852"/>
                <a:gd name="connsiteX97" fmla="*/ 0 w 4072037"/>
                <a:gd name="connsiteY97" fmla="*/ 514990 h 4153852"/>
                <a:gd name="connsiteX98" fmla="*/ 1587656 w 4072037"/>
                <a:gd name="connsiteY98" fmla="*/ 0 h 4153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4072037" h="4153852">
                  <a:moveTo>
                    <a:pt x="1588738" y="3292794"/>
                  </a:moveTo>
                  <a:lnTo>
                    <a:pt x="1933251" y="3292794"/>
                  </a:lnTo>
                  <a:lnTo>
                    <a:pt x="1933251" y="3526474"/>
                  </a:lnTo>
                  <a:lnTo>
                    <a:pt x="1588738" y="3526474"/>
                  </a:lnTo>
                  <a:close/>
                  <a:moveTo>
                    <a:pt x="1038478" y="2835594"/>
                  </a:moveTo>
                  <a:lnTo>
                    <a:pt x="1365218" y="2835594"/>
                  </a:lnTo>
                  <a:lnTo>
                    <a:pt x="1365218" y="3069274"/>
                  </a:lnTo>
                  <a:lnTo>
                    <a:pt x="840634" y="3069274"/>
                  </a:lnTo>
                  <a:close/>
                  <a:moveTo>
                    <a:pt x="2156771" y="2378394"/>
                  </a:moveTo>
                  <a:lnTo>
                    <a:pt x="2375211" y="2378394"/>
                  </a:lnTo>
                  <a:lnTo>
                    <a:pt x="2375211" y="3069274"/>
                  </a:lnTo>
                  <a:lnTo>
                    <a:pt x="2156771" y="3069274"/>
                  </a:lnTo>
                  <a:close/>
                  <a:moveTo>
                    <a:pt x="1425564" y="2378394"/>
                  </a:moveTo>
                  <a:lnTo>
                    <a:pt x="1933251" y="2378394"/>
                  </a:lnTo>
                  <a:lnTo>
                    <a:pt x="1933251" y="3069274"/>
                  </a:lnTo>
                  <a:lnTo>
                    <a:pt x="1588738" y="3069274"/>
                  </a:lnTo>
                  <a:lnTo>
                    <a:pt x="1588738" y="2612074"/>
                  </a:lnTo>
                  <a:lnTo>
                    <a:pt x="1587811" y="2612074"/>
                  </a:lnTo>
                  <a:lnTo>
                    <a:pt x="1365218" y="2612074"/>
                  </a:lnTo>
                  <a:lnTo>
                    <a:pt x="1227720" y="2612074"/>
                  </a:lnTo>
                  <a:close/>
                  <a:moveTo>
                    <a:pt x="3539294" y="1958529"/>
                  </a:moveTo>
                  <a:lnTo>
                    <a:pt x="4072037" y="2267521"/>
                  </a:lnTo>
                  <a:lnTo>
                    <a:pt x="3539294" y="2576512"/>
                  </a:lnTo>
                  <a:lnTo>
                    <a:pt x="3539294" y="2378963"/>
                  </a:lnTo>
                  <a:lnTo>
                    <a:pt x="3175311" y="2378963"/>
                  </a:lnTo>
                  <a:lnTo>
                    <a:pt x="3175311" y="3638862"/>
                  </a:lnTo>
                  <a:lnTo>
                    <a:pt x="3175311" y="3669236"/>
                  </a:lnTo>
                  <a:lnTo>
                    <a:pt x="3165871" y="3669236"/>
                  </a:lnTo>
                  <a:cubicBezTo>
                    <a:pt x="3122109" y="3940150"/>
                    <a:pt x="2431821" y="4153852"/>
                    <a:pt x="1587656" y="4153852"/>
                  </a:cubicBezTo>
                  <a:cubicBezTo>
                    <a:pt x="743490" y="4153852"/>
                    <a:pt x="53206" y="3940150"/>
                    <a:pt x="9441" y="3669236"/>
                  </a:cubicBezTo>
                  <a:lnTo>
                    <a:pt x="0" y="3669236"/>
                  </a:lnTo>
                  <a:lnTo>
                    <a:pt x="0" y="3638862"/>
                  </a:lnTo>
                  <a:lnTo>
                    <a:pt x="0" y="2835594"/>
                  </a:lnTo>
                  <a:lnTo>
                    <a:pt x="745607" y="2835594"/>
                  </a:lnTo>
                  <a:lnTo>
                    <a:pt x="564990" y="3048928"/>
                  </a:lnTo>
                  <a:lnTo>
                    <a:pt x="565533" y="3049388"/>
                  </a:lnTo>
                  <a:lnTo>
                    <a:pt x="358375" y="3294070"/>
                  </a:lnTo>
                  <a:lnTo>
                    <a:pt x="650312" y="3294070"/>
                  </a:lnTo>
                  <a:lnTo>
                    <a:pt x="651392" y="3292794"/>
                  </a:lnTo>
                  <a:lnTo>
                    <a:pt x="1365218" y="3292794"/>
                  </a:lnTo>
                  <a:lnTo>
                    <a:pt x="1365218" y="3526474"/>
                  </a:lnTo>
                  <a:lnTo>
                    <a:pt x="1361751" y="3526474"/>
                  </a:lnTo>
                  <a:lnTo>
                    <a:pt x="1361751" y="3749994"/>
                  </a:lnTo>
                  <a:lnTo>
                    <a:pt x="1365218" y="3749994"/>
                  </a:lnTo>
                  <a:lnTo>
                    <a:pt x="1588738" y="3749994"/>
                  </a:lnTo>
                  <a:lnTo>
                    <a:pt x="1933251" y="3749994"/>
                  </a:lnTo>
                  <a:lnTo>
                    <a:pt x="2156771" y="3749994"/>
                  </a:lnTo>
                  <a:lnTo>
                    <a:pt x="2156771" y="3526474"/>
                  </a:lnTo>
                  <a:lnTo>
                    <a:pt x="2156771" y="3292794"/>
                  </a:lnTo>
                  <a:lnTo>
                    <a:pt x="2375211" y="3292794"/>
                  </a:lnTo>
                  <a:lnTo>
                    <a:pt x="2598731" y="3292794"/>
                  </a:lnTo>
                  <a:lnTo>
                    <a:pt x="2598731" y="3069274"/>
                  </a:lnTo>
                  <a:lnTo>
                    <a:pt x="2598731" y="2378394"/>
                  </a:lnTo>
                  <a:lnTo>
                    <a:pt x="3175311" y="2378394"/>
                  </a:lnTo>
                  <a:lnTo>
                    <a:pt x="3175311" y="2156077"/>
                  </a:lnTo>
                  <a:lnTo>
                    <a:pt x="3539294" y="2156077"/>
                  </a:lnTo>
                  <a:close/>
                  <a:moveTo>
                    <a:pt x="1933251" y="1778749"/>
                  </a:moveTo>
                  <a:lnTo>
                    <a:pt x="1933251" y="2154874"/>
                  </a:lnTo>
                  <a:lnTo>
                    <a:pt x="1614806" y="2154874"/>
                  </a:lnTo>
                  <a:close/>
                  <a:moveTo>
                    <a:pt x="2156771" y="1776416"/>
                  </a:moveTo>
                  <a:lnTo>
                    <a:pt x="2375211" y="1776416"/>
                  </a:lnTo>
                  <a:lnTo>
                    <a:pt x="2375211" y="2154874"/>
                  </a:lnTo>
                  <a:lnTo>
                    <a:pt x="2156771" y="2154874"/>
                  </a:lnTo>
                  <a:close/>
                  <a:moveTo>
                    <a:pt x="719131" y="1776416"/>
                  </a:moveTo>
                  <a:lnTo>
                    <a:pt x="1642355" y="1776416"/>
                  </a:lnTo>
                  <a:lnTo>
                    <a:pt x="1321935" y="2154874"/>
                  </a:lnTo>
                  <a:lnTo>
                    <a:pt x="719131" y="2154874"/>
                  </a:lnTo>
                  <a:close/>
                  <a:moveTo>
                    <a:pt x="1587656" y="203080"/>
                  </a:moveTo>
                  <a:cubicBezTo>
                    <a:pt x="957130" y="203080"/>
                    <a:pt x="445989" y="368879"/>
                    <a:pt x="445989" y="573403"/>
                  </a:cubicBezTo>
                  <a:cubicBezTo>
                    <a:pt x="445989" y="777928"/>
                    <a:pt x="957130" y="943727"/>
                    <a:pt x="1587656" y="943727"/>
                  </a:cubicBezTo>
                  <a:cubicBezTo>
                    <a:pt x="2218182" y="943727"/>
                    <a:pt x="2729323" y="777928"/>
                    <a:pt x="2729323" y="573403"/>
                  </a:cubicBezTo>
                  <a:cubicBezTo>
                    <a:pt x="2729323" y="368879"/>
                    <a:pt x="2218182" y="203080"/>
                    <a:pt x="1587656" y="203080"/>
                  </a:cubicBezTo>
                  <a:close/>
                  <a:moveTo>
                    <a:pt x="1587656" y="0"/>
                  </a:moveTo>
                  <a:cubicBezTo>
                    <a:pt x="2464494" y="0"/>
                    <a:pt x="3175311" y="230568"/>
                    <a:pt x="3175311" y="514990"/>
                  </a:cubicBezTo>
                  <a:lnTo>
                    <a:pt x="3175311" y="2154874"/>
                  </a:lnTo>
                  <a:lnTo>
                    <a:pt x="2598731" y="2154874"/>
                  </a:lnTo>
                  <a:lnTo>
                    <a:pt x="2598731" y="1776416"/>
                  </a:lnTo>
                  <a:lnTo>
                    <a:pt x="2598731" y="1552896"/>
                  </a:lnTo>
                  <a:lnTo>
                    <a:pt x="2375211" y="1552896"/>
                  </a:lnTo>
                  <a:lnTo>
                    <a:pt x="2156771" y="1552896"/>
                  </a:lnTo>
                  <a:lnTo>
                    <a:pt x="2156771" y="1514742"/>
                  </a:lnTo>
                  <a:lnTo>
                    <a:pt x="2157289" y="1514130"/>
                  </a:lnTo>
                  <a:lnTo>
                    <a:pt x="2157289" y="1168211"/>
                  </a:lnTo>
                  <a:lnTo>
                    <a:pt x="2156323" y="1169352"/>
                  </a:lnTo>
                  <a:lnTo>
                    <a:pt x="2156321" y="1169352"/>
                  </a:lnTo>
                  <a:lnTo>
                    <a:pt x="1933251" y="1432826"/>
                  </a:lnTo>
                  <a:lnTo>
                    <a:pt x="1933251" y="1432829"/>
                  </a:lnTo>
                  <a:lnTo>
                    <a:pt x="1831597" y="1552896"/>
                  </a:lnTo>
                  <a:lnTo>
                    <a:pt x="719131" y="1552896"/>
                  </a:lnTo>
                  <a:lnTo>
                    <a:pt x="495611" y="1552896"/>
                  </a:lnTo>
                  <a:lnTo>
                    <a:pt x="495611" y="1776416"/>
                  </a:lnTo>
                  <a:lnTo>
                    <a:pt x="495611" y="2154874"/>
                  </a:lnTo>
                  <a:lnTo>
                    <a:pt x="495611" y="2378394"/>
                  </a:lnTo>
                  <a:lnTo>
                    <a:pt x="719131" y="2378394"/>
                  </a:lnTo>
                  <a:lnTo>
                    <a:pt x="1132693" y="2378394"/>
                  </a:lnTo>
                  <a:lnTo>
                    <a:pt x="934849" y="2612074"/>
                  </a:lnTo>
                  <a:lnTo>
                    <a:pt x="0" y="2612074"/>
                  </a:lnTo>
                  <a:lnTo>
                    <a:pt x="0" y="514990"/>
                  </a:lnTo>
                  <a:cubicBezTo>
                    <a:pt x="0" y="230568"/>
                    <a:pt x="710817" y="0"/>
                    <a:pt x="1587656" y="0"/>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9" name="Mobile Services Icon"/>
            <p:cNvSpPr>
              <a:spLocks noChangeAspect="1"/>
            </p:cNvSpPr>
            <p:nvPr/>
          </p:nvSpPr>
          <p:spPr>
            <a:xfrm>
              <a:off x="4614985" y="402980"/>
              <a:ext cx="629791" cy="889209"/>
            </a:xfrm>
            <a:custGeom>
              <a:avLst/>
              <a:gdLst/>
              <a:ahLst/>
              <a:cxnLst/>
              <a:rect l="l" t="t" r="r" b="b"/>
              <a:pathLst>
                <a:path w="2575560" h="3794760">
                  <a:moveTo>
                    <a:pt x="1075399" y="3354705"/>
                  </a:moveTo>
                  <a:cubicBezTo>
                    <a:pt x="1012904" y="3354705"/>
                    <a:pt x="962241" y="3405368"/>
                    <a:pt x="962241" y="3467863"/>
                  </a:cubicBezTo>
                  <a:cubicBezTo>
                    <a:pt x="962241" y="3530358"/>
                    <a:pt x="1012904" y="3581021"/>
                    <a:pt x="1075399" y="3581021"/>
                  </a:cubicBezTo>
                  <a:lnTo>
                    <a:pt x="1500161" y="3581021"/>
                  </a:lnTo>
                  <a:cubicBezTo>
                    <a:pt x="1562656" y="3581021"/>
                    <a:pt x="1613319" y="3530358"/>
                    <a:pt x="1613319" y="3467863"/>
                  </a:cubicBezTo>
                  <a:cubicBezTo>
                    <a:pt x="1613319" y="3405368"/>
                    <a:pt x="1562656" y="3354705"/>
                    <a:pt x="1500161" y="3354705"/>
                  </a:cubicBezTo>
                  <a:close/>
                  <a:moveTo>
                    <a:pt x="1843022" y="1664517"/>
                  </a:moveTo>
                  <a:lnTo>
                    <a:pt x="1843022" y="2232936"/>
                  </a:lnTo>
                  <a:lnTo>
                    <a:pt x="1372553" y="2526918"/>
                  </a:lnTo>
                  <a:lnTo>
                    <a:pt x="1372553" y="1958498"/>
                  </a:lnTo>
                  <a:close/>
                  <a:moveTo>
                    <a:pt x="732539" y="1664517"/>
                  </a:moveTo>
                  <a:lnTo>
                    <a:pt x="1203008" y="1958498"/>
                  </a:lnTo>
                  <a:lnTo>
                    <a:pt x="1203008" y="2526918"/>
                  </a:lnTo>
                  <a:lnTo>
                    <a:pt x="732539" y="2232936"/>
                  </a:lnTo>
                  <a:close/>
                  <a:moveTo>
                    <a:pt x="1285777" y="1176401"/>
                  </a:moveTo>
                  <a:lnTo>
                    <a:pt x="1843022" y="1517481"/>
                  </a:lnTo>
                  <a:lnTo>
                    <a:pt x="1289783" y="1856111"/>
                  </a:lnTo>
                  <a:lnTo>
                    <a:pt x="732539" y="1515030"/>
                  </a:lnTo>
                  <a:close/>
                  <a:moveTo>
                    <a:pt x="211455" y="480060"/>
                  </a:moveTo>
                  <a:lnTo>
                    <a:pt x="211455" y="3211351"/>
                  </a:lnTo>
                  <a:lnTo>
                    <a:pt x="2364105" y="3211351"/>
                  </a:lnTo>
                  <a:lnTo>
                    <a:pt x="2364105" y="480060"/>
                  </a:lnTo>
                  <a:close/>
                  <a:moveTo>
                    <a:pt x="835534" y="167640"/>
                  </a:moveTo>
                  <a:cubicBezTo>
                    <a:pt x="802287" y="167640"/>
                    <a:pt x="775335" y="194592"/>
                    <a:pt x="775335" y="227839"/>
                  </a:cubicBezTo>
                  <a:cubicBezTo>
                    <a:pt x="775335" y="261086"/>
                    <a:pt x="802287" y="288038"/>
                    <a:pt x="835534" y="288038"/>
                  </a:cubicBezTo>
                  <a:lnTo>
                    <a:pt x="1740026" y="288038"/>
                  </a:lnTo>
                  <a:cubicBezTo>
                    <a:pt x="1773273" y="288038"/>
                    <a:pt x="1800225" y="261086"/>
                    <a:pt x="1800225" y="227839"/>
                  </a:cubicBezTo>
                  <a:cubicBezTo>
                    <a:pt x="1800225" y="194592"/>
                    <a:pt x="1773273" y="167640"/>
                    <a:pt x="1740026" y="167640"/>
                  </a:cubicBezTo>
                  <a:close/>
                  <a:moveTo>
                    <a:pt x="225052" y="0"/>
                  </a:moveTo>
                  <a:lnTo>
                    <a:pt x="2350508" y="0"/>
                  </a:lnTo>
                  <a:cubicBezTo>
                    <a:pt x="2474801" y="0"/>
                    <a:pt x="2575560" y="100759"/>
                    <a:pt x="2575560" y="225052"/>
                  </a:cubicBezTo>
                  <a:lnTo>
                    <a:pt x="2575560" y="3569708"/>
                  </a:lnTo>
                  <a:cubicBezTo>
                    <a:pt x="2575560" y="3694001"/>
                    <a:pt x="2474801" y="3794760"/>
                    <a:pt x="2350508" y="3794760"/>
                  </a:cubicBezTo>
                  <a:lnTo>
                    <a:pt x="225052" y="3794760"/>
                  </a:lnTo>
                  <a:cubicBezTo>
                    <a:pt x="100759" y="3794760"/>
                    <a:pt x="0" y="3694001"/>
                    <a:pt x="0" y="3569708"/>
                  </a:cubicBezTo>
                  <a:lnTo>
                    <a:pt x="0" y="225052"/>
                  </a:lnTo>
                  <a:cubicBezTo>
                    <a:pt x="0" y="100759"/>
                    <a:pt x="100759" y="0"/>
                    <a:pt x="225052" y="0"/>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18" name="Storage Icon"/>
            <p:cNvSpPr>
              <a:spLocks noChangeAspect="1"/>
            </p:cNvSpPr>
            <p:nvPr/>
          </p:nvSpPr>
          <p:spPr>
            <a:xfrm>
              <a:off x="2497582" y="497983"/>
              <a:ext cx="842539" cy="699203"/>
            </a:xfrm>
            <a:custGeom>
              <a:avLst/>
              <a:gdLst>
                <a:gd name="connsiteX0" fmla="*/ 2252121 w 3083700"/>
                <a:gd name="connsiteY0" fmla="*/ 2007454 h 2559086"/>
                <a:gd name="connsiteX1" fmla="*/ 2252121 w 3083700"/>
                <a:gd name="connsiteY1" fmla="*/ 2359879 h 2559086"/>
                <a:gd name="connsiteX2" fmla="*/ 2878866 w 3083700"/>
                <a:gd name="connsiteY2" fmla="*/ 2359879 h 2559086"/>
                <a:gd name="connsiteX3" fmla="*/ 2878866 w 3083700"/>
                <a:gd name="connsiteY3" fmla="*/ 2007454 h 2559086"/>
                <a:gd name="connsiteX4" fmla="*/ 1569692 w 3083700"/>
                <a:gd name="connsiteY4" fmla="*/ 2007454 h 2559086"/>
                <a:gd name="connsiteX5" fmla="*/ 1569692 w 3083700"/>
                <a:gd name="connsiteY5" fmla="*/ 2359879 h 2559086"/>
                <a:gd name="connsiteX6" fmla="*/ 2196437 w 3083700"/>
                <a:gd name="connsiteY6" fmla="*/ 2359879 h 2559086"/>
                <a:gd name="connsiteX7" fmla="*/ 2196437 w 3083700"/>
                <a:gd name="connsiteY7" fmla="*/ 2007454 h 2559086"/>
                <a:gd name="connsiteX8" fmla="*/ 887263 w 3083700"/>
                <a:gd name="connsiteY8" fmla="*/ 2007454 h 2559086"/>
                <a:gd name="connsiteX9" fmla="*/ 887263 w 3083700"/>
                <a:gd name="connsiteY9" fmla="*/ 2359879 h 2559086"/>
                <a:gd name="connsiteX10" fmla="*/ 1514008 w 3083700"/>
                <a:gd name="connsiteY10" fmla="*/ 2359879 h 2559086"/>
                <a:gd name="connsiteX11" fmla="*/ 1514008 w 3083700"/>
                <a:gd name="connsiteY11" fmla="*/ 2007454 h 2559086"/>
                <a:gd name="connsiteX12" fmla="*/ 204834 w 3083700"/>
                <a:gd name="connsiteY12" fmla="*/ 2007454 h 2559086"/>
                <a:gd name="connsiteX13" fmla="*/ 204834 w 3083700"/>
                <a:gd name="connsiteY13" fmla="*/ 2359879 h 2559086"/>
                <a:gd name="connsiteX14" fmla="*/ 831579 w 3083700"/>
                <a:gd name="connsiteY14" fmla="*/ 2359879 h 2559086"/>
                <a:gd name="connsiteX15" fmla="*/ 831579 w 3083700"/>
                <a:gd name="connsiteY15" fmla="*/ 2007454 h 2559086"/>
                <a:gd name="connsiteX16" fmla="*/ 2252121 w 3083700"/>
                <a:gd name="connsiteY16" fmla="*/ 1570202 h 2559086"/>
                <a:gd name="connsiteX17" fmla="*/ 2252121 w 3083700"/>
                <a:gd name="connsiteY17" fmla="*/ 1922627 h 2559086"/>
                <a:gd name="connsiteX18" fmla="*/ 2878866 w 3083700"/>
                <a:gd name="connsiteY18" fmla="*/ 1922627 h 2559086"/>
                <a:gd name="connsiteX19" fmla="*/ 2878866 w 3083700"/>
                <a:gd name="connsiteY19" fmla="*/ 1570202 h 2559086"/>
                <a:gd name="connsiteX20" fmla="*/ 1569692 w 3083700"/>
                <a:gd name="connsiteY20" fmla="*/ 1570202 h 2559086"/>
                <a:gd name="connsiteX21" fmla="*/ 1569692 w 3083700"/>
                <a:gd name="connsiteY21" fmla="*/ 1922627 h 2559086"/>
                <a:gd name="connsiteX22" fmla="*/ 2196437 w 3083700"/>
                <a:gd name="connsiteY22" fmla="*/ 1922627 h 2559086"/>
                <a:gd name="connsiteX23" fmla="*/ 2196437 w 3083700"/>
                <a:gd name="connsiteY23" fmla="*/ 1570202 h 2559086"/>
                <a:gd name="connsiteX24" fmla="*/ 887263 w 3083700"/>
                <a:gd name="connsiteY24" fmla="*/ 1570202 h 2559086"/>
                <a:gd name="connsiteX25" fmla="*/ 887263 w 3083700"/>
                <a:gd name="connsiteY25" fmla="*/ 1922627 h 2559086"/>
                <a:gd name="connsiteX26" fmla="*/ 1514008 w 3083700"/>
                <a:gd name="connsiteY26" fmla="*/ 1922627 h 2559086"/>
                <a:gd name="connsiteX27" fmla="*/ 1514008 w 3083700"/>
                <a:gd name="connsiteY27" fmla="*/ 1570202 h 2559086"/>
                <a:gd name="connsiteX28" fmla="*/ 204834 w 3083700"/>
                <a:gd name="connsiteY28" fmla="*/ 1570202 h 2559086"/>
                <a:gd name="connsiteX29" fmla="*/ 204834 w 3083700"/>
                <a:gd name="connsiteY29" fmla="*/ 1922627 h 2559086"/>
                <a:gd name="connsiteX30" fmla="*/ 831579 w 3083700"/>
                <a:gd name="connsiteY30" fmla="*/ 1922627 h 2559086"/>
                <a:gd name="connsiteX31" fmla="*/ 831579 w 3083700"/>
                <a:gd name="connsiteY31" fmla="*/ 1570202 h 2559086"/>
                <a:gd name="connsiteX32" fmla="*/ 2252121 w 3083700"/>
                <a:gd name="connsiteY32" fmla="*/ 1132950 h 2559086"/>
                <a:gd name="connsiteX33" fmla="*/ 2252121 w 3083700"/>
                <a:gd name="connsiteY33" fmla="*/ 1485375 h 2559086"/>
                <a:gd name="connsiteX34" fmla="*/ 2878866 w 3083700"/>
                <a:gd name="connsiteY34" fmla="*/ 1485375 h 2559086"/>
                <a:gd name="connsiteX35" fmla="*/ 2878866 w 3083700"/>
                <a:gd name="connsiteY35" fmla="*/ 1132950 h 2559086"/>
                <a:gd name="connsiteX36" fmla="*/ 1569692 w 3083700"/>
                <a:gd name="connsiteY36" fmla="*/ 1132950 h 2559086"/>
                <a:gd name="connsiteX37" fmla="*/ 1569692 w 3083700"/>
                <a:gd name="connsiteY37" fmla="*/ 1485375 h 2559086"/>
                <a:gd name="connsiteX38" fmla="*/ 2196437 w 3083700"/>
                <a:gd name="connsiteY38" fmla="*/ 1485375 h 2559086"/>
                <a:gd name="connsiteX39" fmla="*/ 2196437 w 3083700"/>
                <a:gd name="connsiteY39" fmla="*/ 1132950 h 2559086"/>
                <a:gd name="connsiteX40" fmla="*/ 887263 w 3083700"/>
                <a:gd name="connsiteY40" fmla="*/ 1132950 h 2559086"/>
                <a:gd name="connsiteX41" fmla="*/ 887263 w 3083700"/>
                <a:gd name="connsiteY41" fmla="*/ 1485375 h 2559086"/>
                <a:gd name="connsiteX42" fmla="*/ 1514008 w 3083700"/>
                <a:gd name="connsiteY42" fmla="*/ 1485375 h 2559086"/>
                <a:gd name="connsiteX43" fmla="*/ 1514008 w 3083700"/>
                <a:gd name="connsiteY43" fmla="*/ 1132950 h 2559086"/>
                <a:gd name="connsiteX44" fmla="*/ 204834 w 3083700"/>
                <a:gd name="connsiteY44" fmla="*/ 1132950 h 2559086"/>
                <a:gd name="connsiteX45" fmla="*/ 204834 w 3083700"/>
                <a:gd name="connsiteY45" fmla="*/ 1485375 h 2559086"/>
                <a:gd name="connsiteX46" fmla="*/ 831579 w 3083700"/>
                <a:gd name="connsiteY46" fmla="*/ 1485375 h 2559086"/>
                <a:gd name="connsiteX47" fmla="*/ 831579 w 3083700"/>
                <a:gd name="connsiteY47" fmla="*/ 1132950 h 2559086"/>
                <a:gd name="connsiteX48" fmla="*/ 2252121 w 3083700"/>
                <a:gd name="connsiteY48" fmla="*/ 695698 h 2559086"/>
                <a:gd name="connsiteX49" fmla="*/ 2252121 w 3083700"/>
                <a:gd name="connsiteY49" fmla="*/ 1048123 h 2559086"/>
                <a:gd name="connsiteX50" fmla="*/ 2878866 w 3083700"/>
                <a:gd name="connsiteY50" fmla="*/ 1048123 h 2559086"/>
                <a:gd name="connsiteX51" fmla="*/ 2878866 w 3083700"/>
                <a:gd name="connsiteY51" fmla="*/ 695698 h 2559086"/>
                <a:gd name="connsiteX52" fmla="*/ 1569692 w 3083700"/>
                <a:gd name="connsiteY52" fmla="*/ 695698 h 2559086"/>
                <a:gd name="connsiteX53" fmla="*/ 1569692 w 3083700"/>
                <a:gd name="connsiteY53" fmla="*/ 1048123 h 2559086"/>
                <a:gd name="connsiteX54" fmla="*/ 2196437 w 3083700"/>
                <a:gd name="connsiteY54" fmla="*/ 1048123 h 2559086"/>
                <a:gd name="connsiteX55" fmla="*/ 2196437 w 3083700"/>
                <a:gd name="connsiteY55" fmla="*/ 695698 h 2559086"/>
                <a:gd name="connsiteX56" fmla="*/ 887263 w 3083700"/>
                <a:gd name="connsiteY56" fmla="*/ 695698 h 2559086"/>
                <a:gd name="connsiteX57" fmla="*/ 887263 w 3083700"/>
                <a:gd name="connsiteY57" fmla="*/ 1048123 h 2559086"/>
                <a:gd name="connsiteX58" fmla="*/ 1514008 w 3083700"/>
                <a:gd name="connsiteY58" fmla="*/ 1048123 h 2559086"/>
                <a:gd name="connsiteX59" fmla="*/ 1514008 w 3083700"/>
                <a:gd name="connsiteY59" fmla="*/ 695698 h 2559086"/>
                <a:gd name="connsiteX60" fmla="*/ 204834 w 3083700"/>
                <a:gd name="connsiteY60" fmla="*/ 695698 h 2559086"/>
                <a:gd name="connsiteX61" fmla="*/ 204834 w 3083700"/>
                <a:gd name="connsiteY61" fmla="*/ 1048123 h 2559086"/>
                <a:gd name="connsiteX62" fmla="*/ 831579 w 3083700"/>
                <a:gd name="connsiteY62" fmla="*/ 1048123 h 2559086"/>
                <a:gd name="connsiteX63" fmla="*/ 831579 w 3083700"/>
                <a:gd name="connsiteY63" fmla="*/ 695698 h 2559086"/>
                <a:gd name="connsiteX64" fmla="*/ 130744 w 3083700"/>
                <a:gd name="connsiteY64" fmla="*/ 0 h 2559086"/>
                <a:gd name="connsiteX65" fmla="*/ 2952956 w 3083700"/>
                <a:gd name="connsiteY65" fmla="*/ 0 h 2559086"/>
                <a:gd name="connsiteX66" fmla="*/ 3083700 w 3083700"/>
                <a:gd name="connsiteY66" fmla="*/ 130744 h 2559086"/>
                <a:gd name="connsiteX67" fmla="*/ 3083700 w 3083700"/>
                <a:gd name="connsiteY67" fmla="*/ 2428342 h 2559086"/>
                <a:gd name="connsiteX68" fmla="*/ 2952956 w 3083700"/>
                <a:gd name="connsiteY68" fmla="*/ 2559086 h 2559086"/>
                <a:gd name="connsiteX69" fmla="*/ 130744 w 3083700"/>
                <a:gd name="connsiteY69" fmla="*/ 2559086 h 2559086"/>
                <a:gd name="connsiteX70" fmla="*/ 0 w 3083700"/>
                <a:gd name="connsiteY70" fmla="*/ 2428342 h 2559086"/>
                <a:gd name="connsiteX71" fmla="*/ 0 w 3083700"/>
                <a:gd name="connsiteY71" fmla="*/ 130744 h 2559086"/>
                <a:gd name="connsiteX72" fmla="*/ 130744 w 3083700"/>
                <a:gd name="connsiteY72" fmla="*/ 0 h 2559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083700" h="2559086">
                  <a:moveTo>
                    <a:pt x="2252121" y="2007454"/>
                  </a:moveTo>
                  <a:lnTo>
                    <a:pt x="2252121" y="2359879"/>
                  </a:lnTo>
                  <a:lnTo>
                    <a:pt x="2878866" y="2359879"/>
                  </a:lnTo>
                  <a:lnTo>
                    <a:pt x="2878866" y="2007454"/>
                  </a:lnTo>
                  <a:close/>
                  <a:moveTo>
                    <a:pt x="1569692" y="2007454"/>
                  </a:moveTo>
                  <a:lnTo>
                    <a:pt x="1569692" y="2359879"/>
                  </a:lnTo>
                  <a:lnTo>
                    <a:pt x="2196437" y="2359879"/>
                  </a:lnTo>
                  <a:lnTo>
                    <a:pt x="2196437" y="2007454"/>
                  </a:lnTo>
                  <a:close/>
                  <a:moveTo>
                    <a:pt x="887263" y="2007454"/>
                  </a:moveTo>
                  <a:lnTo>
                    <a:pt x="887263" y="2359879"/>
                  </a:lnTo>
                  <a:lnTo>
                    <a:pt x="1514008" y="2359879"/>
                  </a:lnTo>
                  <a:lnTo>
                    <a:pt x="1514008" y="2007454"/>
                  </a:lnTo>
                  <a:close/>
                  <a:moveTo>
                    <a:pt x="204834" y="2007454"/>
                  </a:moveTo>
                  <a:lnTo>
                    <a:pt x="204834" y="2359879"/>
                  </a:lnTo>
                  <a:lnTo>
                    <a:pt x="831579" y="2359879"/>
                  </a:lnTo>
                  <a:lnTo>
                    <a:pt x="831579" y="2007454"/>
                  </a:lnTo>
                  <a:close/>
                  <a:moveTo>
                    <a:pt x="2252121" y="1570202"/>
                  </a:moveTo>
                  <a:lnTo>
                    <a:pt x="2252121" y="1922627"/>
                  </a:lnTo>
                  <a:lnTo>
                    <a:pt x="2878866" y="1922627"/>
                  </a:lnTo>
                  <a:lnTo>
                    <a:pt x="2878866" y="1570202"/>
                  </a:lnTo>
                  <a:close/>
                  <a:moveTo>
                    <a:pt x="1569692" y="1570202"/>
                  </a:moveTo>
                  <a:lnTo>
                    <a:pt x="1569692" y="1922627"/>
                  </a:lnTo>
                  <a:lnTo>
                    <a:pt x="2196437" y="1922627"/>
                  </a:lnTo>
                  <a:lnTo>
                    <a:pt x="2196437" y="1570202"/>
                  </a:lnTo>
                  <a:close/>
                  <a:moveTo>
                    <a:pt x="887263" y="1570202"/>
                  </a:moveTo>
                  <a:lnTo>
                    <a:pt x="887263" y="1922627"/>
                  </a:lnTo>
                  <a:lnTo>
                    <a:pt x="1514008" y="1922627"/>
                  </a:lnTo>
                  <a:lnTo>
                    <a:pt x="1514008" y="1570202"/>
                  </a:lnTo>
                  <a:close/>
                  <a:moveTo>
                    <a:pt x="204834" y="1570202"/>
                  </a:moveTo>
                  <a:lnTo>
                    <a:pt x="204834" y="1922627"/>
                  </a:lnTo>
                  <a:lnTo>
                    <a:pt x="831579" y="1922627"/>
                  </a:lnTo>
                  <a:lnTo>
                    <a:pt x="831579" y="1570202"/>
                  </a:lnTo>
                  <a:close/>
                  <a:moveTo>
                    <a:pt x="2252121" y="1132950"/>
                  </a:moveTo>
                  <a:lnTo>
                    <a:pt x="2252121" y="1485375"/>
                  </a:lnTo>
                  <a:lnTo>
                    <a:pt x="2878866" y="1485375"/>
                  </a:lnTo>
                  <a:lnTo>
                    <a:pt x="2878866" y="1132950"/>
                  </a:lnTo>
                  <a:close/>
                  <a:moveTo>
                    <a:pt x="1569692" y="1132950"/>
                  </a:moveTo>
                  <a:lnTo>
                    <a:pt x="1569692" y="1485375"/>
                  </a:lnTo>
                  <a:lnTo>
                    <a:pt x="2196437" y="1485375"/>
                  </a:lnTo>
                  <a:lnTo>
                    <a:pt x="2196437" y="1132950"/>
                  </a:lnTo>
                  <a:close/>
                  <a:moveTo>
                    <a:pt x="887263" y="1132950"/>
                  </a:moveTo>
                  <a:lnTo>
                    <a:pt x="887263" y="1485375"/>
                  </a:lnTo>
                  <a:lnTo>
                    <a:pt x="1514008" y="1485375"/>
                  </a:lnTo>
                  <a:lnTo>
                    <a:pt x="1514008" y="1132950"/>
                  </a:lnTo>
                  <a:close/>
                  <a:moveTo>
                    <a:pt x="204834" y="1132950"/>
                  </a:moveTo>
                  <a:lnTo>
                    <a:pt x="204834" y="1485375"/>
                  </a:lnTo>
                  <a:lnTo>
                    <a:pt x="831579" y="1485375"/>
                  </a:lnTo>
                  <a:lnTo>
                    <a:pt x="831579" y="1132950"/>
                  </a:lnTo>
                  <a:close/>
                  <a:moveTo>
                    <a:pt x="2252121" y="695698"/>
                  </a:moveTo>
                  <a:lnTo>
                    <a:pt x="2252121" y="1048123"/>
                  </a:lnTo>
                  <a:lnTo>
                    <a:pt x="2878866" y="1048123"/>
                  </a:lnTo>
                  <a:lnTo>
                    <a:pt x="2878866" y="695698"/>
                  </a:lnTo>
                  <a:close/>
                  <a:moveTo>
                    <a:pt x="1569692" y="695698"/>
                  </a:moveTo>
                  <a:lnTo>
                    <a:pt x="1569692" y="1048123"/>
                  </a:lnTo>
                  <a:lnTo>
                    <a:pt x="2196437" y="1048123"/>
                  </a:lnTo>
                  <a:lnTo>
                    <a:pt x="2196437" y="695698"/>
                  </a:lnTo>
                  <a:close/>
                  <a:moveTo>
                    <a:pt x="887263" y="695698"/>
                  </a:moveTo>
                  <a:lnTo>
                    <a:pt x="887263" y="1048123"/>
                  </a:lnTo>
                  <a:lnTo>
                    <a:pt x="1514008" y="1048123"/>
                  </a:lnTo>
                  <a:lnTo>
                    <a:pt x="1514008" y="695698"/>
                  </a:lnTo>
                  <a:close/>
                  <a:moveTo>
                    <a:pt x="204834" y="695698"/>
                  </a:moveTo>
                  <a:lnTo>
                    <a:pt x="204834" y="1048123"/>
                  </a:lnTo>
                  <a:lnTo>
                    <a:pt x="831579" y="1048123"/>
                  </a:lnTo>
                  <a:lnTo>
                    <a:pt x="831579" y="695698"/>
                  </a:lnTo>
                  <a:close/>
                  <a:moveTo>
                    <a:pt x="130744" y="0"/>
                  </a:moveTo>
                  <a:lnTo>
                    <a:pt x="2952956" y="0"/>
                  </a:lnTo>
                  <a:cubicBezTo>
                    <a:pt x="3025164" y="0"/>
                    <a:pt x="3083700" y="58536"/>
                    <a:pt x="3083700" y="130744"/>
                  </a:cubicBezTo>
                  <a:lnTo>
                    <a:pt x="3083700" y="2428342"/>
                  </a:lnTo>
                  <a:cubicBezTo>
                    <a:pt x="3083700" y="2500550"/>
                    <a:pt x="3025164" y="2559086"/>
                    <a:pt x="2952956" y="2559086"/>
                  </a:cubicBezTo>
                  <a:lnTo>
                    <a:pt x="130744" y="2559086"/>
                  </a:lnTo>
                  <a:cubicBezTo>
                    <a:pt x="58536" y="2559086"/>
                    <a:pt x="0" y="2500550"/>
                    <a:pt x="0" y="2428342"/>
                  </a:cubicBezTo>
                  <a:lnTo>
                    <a:pt x="0" y="130744"/>
                  </a:lnTo>
                  <a:cubicBezTo>
                    <a:pt x="0" y="58536"/>
                    <a:pt x="58536" y="0"/>
                    <a:pt x="130744" y="0"/>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12" name="Virtual Machine Icon"/>
            <p:cNvSpPr>
              <a:spLocks noChangeAspect="1"/>
            </p:cNvSpPr>
            <p:nvPr/>
          </p:nvSpPr>
          <p:spPr>
            <a:xfrm>
              <a:off x="431308" y="479947"/>
              <a:ext cx="791410" cy="735275"/>
            </a:xfrm>
            <a:custGeom>
              <a:avLst/>
              <a:gdLst>
                <a:gd name="connsiteX0" fmla="*/ 669199 w 963385"/>
                <a:gd name="connsiteY0" fmla="*/ 282190 h 895047"/>
                <a:gd name="connsiteX1" fmla="*/ 669199 w 963385"/>
                <a:gd name="connsiteY1" fmla="*/ 458516 h 895047"/>
                <a:gd name="connsiteX2" fmla="*/ 509179 w 963385"/>
                <a:gd name="connsiteY2" fmla="*/ 560705 h 895047"/>
                <a:gd name="connsiteX3" fmla="*/ 509179 w 963385"/>
                <a:gd name="connsiteY3" fmla="*/ 374361 h 895047"/>
                <a:gd name="connsiteX4" fmla="*/ 326299 w 963385"/>
                <a:gd name="connsiteY4" fmla="*/ 282190 h 895047"/>
                <a:gd name="connsiteX5" fmla="*/ 486319 w 963385"/>
                <a:gd name="connsiteY5" fmla="*/ 374361 h 895047"/>
                <a:gd name="connsiteX6" fmla="*/ 486319 w 963385"/>
                <a:gd name="connsiteY6" fmla="*/ 560705 h 895047"/>
                <a:gd name="connsiteX7" fmla="*/ 326299 w 963385"/>
                <a:gd name="connsiteY7" fmla="*/ 458516 h 895047"/>
                <a:gd name="connsiteX8" fmla="*/ 505369 w 963385"/>
                <a:gd name="connsiteY8" fmla="*/ 173990 h 895047"/>
                <a:gd name="connsiteX9" fmla="*/ 648244 w 963385"/>
                <a:gd name="connsiteY9" fmla="*/ 258146 h 895047"/>
                <a:gd name="connsiteX10" fmla="*/ 497749 w 963385"/>
                <a:gd name="connsiteY10" fmla="*/ 344305 h 895047"/>
                <a:gd name="connsiteX11" fmla="*/ 347254 w 963385"/>
                <a:gd name="connsiteY11" fmla="*/ 252135 h 895047"/>
                <a:gd name="connsiteX12" fmla="*/ 72572 w 963385"/>
                <a:gd name="connsiteY12" fmla="*/ 74446 h 895047"/>
                <a:gd name="connsiteX13" fmla="*/ 72572 w 963385"/>
                <a:gd name="connsiteY13" fmla="*/ 621514 h 895047"/>
                <a:gd name="connsiteX14" fmla="*/ 890814 w 963385"/>
                <a:gd name="connsiteY14" fmla="*/ 621514 h 895047"/>
                <a:gd name="connsiteX15" fmla="*/ 890814 w 963385"/>
                <a:gd name="connsiteY15" fmla="*/ 74446 h 895047"/>
                <a:gd name="connsiteX16" fmla="*/ 0 w 963385"/>
                <a:gd name="connsiteY16" fmla="*/ 0 h 895047"/>
                <a:gd name="connsiteX17" fmla="*/ 963385 w 963385"/>
                <a:gd name="connsiteY17" fmla="*/ 0 h 895047"/>
                <a:gd name="connsiteX18" fmla="*/ 963385 w 963385"/>
                <a:gd name="connsiteY18" fmla="*/ 695325 h 895047"/>
                <a:gd name="connsiteX19" fmla="*/ 654276 w 963385"/>
                <a:gd name="connsiteY19" fmla="*/ 695325 h 895047"/>
                <a:gd name="connsiteX20" fmla="*/ 601324 w 963385"/>
                <a:gd name="connsiteY20" fmla="*/ 730424 h 895047"/>
                <a:gd name="connsiteX21" fmla="*/ 596808 w 963385"/>
                <a:gd name="connsiteY21" fmla="*/ 752793 h 895047"/>
                <a:gd name="connsiteX22" fmla="*/ 601324 w 963385"/>
                <a:gd name="connsiteY22" fmla="*/ 775161 h 895047"/>
                <a:gd name="connsiteX23" fmla="*/ 654276 w 963385"/>
                <a:gd name="connsiteY23" fmla="*/ 810260 h 895047"/>
                <a:gd name="connsiteX24" fmla="*/ 890814 w 963385"/>
                <a:gd name="connsiteY24" fmla="*/ 810261 h 895047"/>
                <a:gd name="connsiteX25" fmla="*/ 890814 w 963385"/>
                <a:gd name="connsiteY25" fmla="*/ 895047 h 895047"/>
                <a:gd name="connsiteX26" fmla="*/ 72572 w 963385"/>
                <a:gd name="connsiteY26" fmla="*/ 895047 h 895047"/>
                <a:gd name="connsiteX27" fmla="*/ 72572 w 963385"/>
                <a:gd name="connsiteY27" fmla="*/ 810261 h 895047"/>
                <a:gd name="connsiteX28" fmla="*/ 297405 w 963385"/>
                <a:gd name="connsiteY28" fmla="*/ 810261 h 895047"/>
                <a:gd name="connsiteX29" fmla="*/ 309991 w 963385"/>
                <a:gd name="connsiteY29" fmla="*/ 807720 h 895047"/>
                <a:gd name="connsiteX30" fmla="*/ 311332 w 963385"/>
                <a:gd name="connsiteY30" fmla="*/ 807720 h 895047"/>
                <a:gd name="connsiteX31" fmla="*/ 311332 w 963385"/>
                <a:gd name="connsiteY31" fmla="*/ 807449 h 895047"/>
                <a:gd name="connsiteX32" fmla="*/ 319775 w 963385"/>
                <a:gd name="connsiteY32" fmla="*/ 805745 h 895047"/>
                <a:gd name="connsiteX33" fmla="*/ 354873 w 963385"/>
                <a:gd name="connsiteY33" fmla="*/ 752793 h 895047"/>
                <a:gd name="connsiteX34" fmla="*/ 354874 w 963385"/>
                <a:gd name="connsiteY34" fmla="*/ 752793 h 895047"/>
                <a:gd name="connsiteX35" fmla="*/ 319776 w 963385"/>
                <a:gd name="connsiteY35" fmla="*/ 699841 h 895047"/>
                <a:gd name="connsiteX36" fmla="*/ 311332 w 963385"/>
                <a:gd name="connsiteY36" fmla="*/ 698137 h 895047"/>
                <a:gd name="connsiteX37" fmla="*/ 311332 w 963385"/>
                <a:gd name="connsiteY37" fmla="*/ 695959 h 895047"/>
                <a:gd name="connsiteX38" fmla="*/ 300547 w 963385"/>
                <a:gd name="connsiteY38" fmla="*/ 695959 h 895047"/>
                <a:gd name="connsiteX39" fmla="*/ 297406 w 963385"/>
                <a:gd name="connsiteY39" fmla="*/ 695325 h 895047"/>
                <a:gd name="connsiteX40" fmla="*/ 0 w 963385"/>
                <a:gd name="connsiteY40" fmla="*/ 695325 h 895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963385" h="895047">
                  <a:moveTo>
                    <a:pt x="669199" y="282190"/>
                  </a:moveTo>
                  <a:lnTo>
                    <a:pt x="669199" y="458516"/>
                  </a:lnTo>
                  <a:lnTo>
                    <a:pt x="509179" y="560705"/>
                  </a:lnTo>
                  <a:lnTo>
                    <a:pt x="509179" y="374361"/>
                  </a:lnTo>
                  <a:close/>
                  <a:moveTo>
                    <a:pt x="326299" y="282190"/>
                  </a:moveTo>
                  <a:lnTo>
                    <a:pt x="486319" y="374361"/>
                  </a:lnTo>
                  <a:lnTo>
                    <a:pt x="486319" y="560705"/>
                  </a:lnTo>
                  <a:lnTo>
                    <a:pt x="326299" y="458516"/>
                  </a:lnTo>
                  <a:close/>
                  <a:moveTo>
                    <a:pt x="505369" y="173990"/>
                  </a:moveTo>
                  <a:lnTo>
                    <a:pt x="648244" y="258146"/>
                  </a:lnTo>
                  <a:lnTo>
                    <a:pt x="497749" y="344305"/>
                  </a:lnTo>
                  <a:lnTo>
                    <a:pt x="347254" y="252135"/>
                  </a:lnTo>
                  <a:close/>
                  <a:moveTo>
                    <a:pt x="72572" y="74446"/>
                  </a:moveTo>
                  <a:lnTo>
                    <a:pt x="72572" y="621514"/>
                  </a:lnTo>
                  <a:lnTo>
                    <a:pt x="890814" y="621514"/>
                  </a:lnTo>
                  <a:lnTo>
                    <a:pt x="890814" y="74446"/>
                  </a:lnTo>
                  <a:close/>
                  <a:moveTo>
                    <a:pt x="0" y="0"/>
                  </a:moveTo>
                  <a:lnTo>
                    <a:pt x="963385" y="0"/>
                  </a:lnTo>
                  <a:lnTo>
                    <a:pt x="963385" y="695325"/>
                  </a:lnTo>
                  <a:lnTo>
                    <a:pt x="654276" y="695325"/>
                  </a:lnTo>
                  <a:cubicBezTo>
                    <a:pt x="630472" y="695325"/>
                    <a:pt x="610048" y="709798"/>
                    <a:pt x="601324" y="730424"/>
                  </a:cubicBezTo>
                  <a:lnTo>
                    <a:pt x="596808" y="752793"/>
                  </a:lnTo>
                  <a:lnTo>
                    <a:pt x="601324" y="775161"/>
                  </a:lnTo>
                  <a:cubicBezTo>
                    <a:pt x="610048" y="795788"/>
                    <a:pt x="630472" y="810260"/>
                    <a:pt x="654276" y="810260"/>
                  </a:cubicBezTo>
                  <a:lnTo>
                    <a:pt x="890814" y="810261"/>
                  </a:lnTo>
                  <a:lnTo>
                    <a:pt x="890814" y="895047"/>
                  </a:lnTo>
                  <a:lnTo>
                    <a:pt x="72572" y="895047"/>
                  </a:lnTo>
                  <a:lnTo>
                    <a:pt x="72572" y="810261"/>
                  </a:lnTo>
                  <a:lnTo>
                    <a:pt x="297405" y="810261"/>
                  </a:lnTo>
                  <a:lnTo>
                    <a:pt x="309991" y="807720"/>
                  </a:lnTo>
                  <a:lnTo>
                    <a:pt x="311332" y="807720"/>
                  </a:lnTo>
                  <a:lnTo>
                    <a:pt x="311332" y="807449"/>
                  </a:lnTo>
                  <a:lnTo>
                    <a:pt x="319775" y="805745"/>
                  </a:lnTo>
                  <a:cubicBezTo>
                    <a:pt x="340401" y="797021"/>
                    <a:pt x="354873" y="776597"/>
                    <a:pt x="354873" y="752793"/>
                  </a:cubicBezTo>
                  <a:lnTo>
                    <a:pt x="354874" y="752793"/>
                  </a:lnTo>
                  <a:cubicBezTo>
                    <a:pt x="354874" y="728989"/>
                    <a:pt x="340402" y="708565"/>
                    <a:pt x="319776" y="699841"/>
                  </a:cubicBezTo>
                  <a:lnTo>
                    <a:pt x="311332" y="698137"/>
                  </a:lnTo>
                  <a:lnTo>
                    <a:pt x="311332" y="695959"/>
                  </a:lnTo>
                  <a:lnTo>
                    <a:pt x="300547" y="695959"/>
                  </a:lnTo>
                  <a:lnTo>
                    <a:pt x="297406" y="695325"/>
                  </a:lnTo>
                  <a:lnTo>
                    <a:pt x="0" y="695325"/>
                  </a:ln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sz="3200"/>
            </a:p>
          </p:txBody>
        </p:sp>
      </p:grpSp>
      <p:grpSp>
        <p:nvGrpSpPr>
          <p:cNvPr id="20" name="Group 19"/>
          <p:cNvGrpSpPr/>
          <p:nvPr/>
        </p:nvGrpSpPr>
        <p:grpSpPr>
          <a:xfrm>
            <a:off x="402797" y="5684552"/>
            <a:ext cx="11176494" cy="920589"/>
            <a:chOff x="402797" y="5684552"/>
            <a:chExt cx="11176494" cy="920589"/>
          </a:xfrm>
        </p:grpSpPr>
        <p:sp>
          <p:nvSpPr>
            <p:cNvPr id="7" name="Add-Ons Icon"/>
            <p:cNvSpPr>
              <a:spLocks noChangeAspect="1"/>
            </p:cNvSpPr>
            <p:nvPr/>
          </p:nvSpPr>
          <p:spPr>
            <a:xfrm>
              <a:off x="10740759" y="5725580"/>
              <a:ext cx="838532" cy="838532"/>
            </a:xfrm>
            <a:custGeom>
              <a:avLst/>
              <a:gdLst>
                <a:gd name="connsiteX0" fmla="*/ 351753 w 2153776"/>
                <a:gd name="connsiteY0" fmla="*/ 1122366 h 2085020"/>
                <a:gd name="connsiteX1" fmla="*/ 142203 w 2153776"/>
                <a:gd name="connsiteY1" fmla="*/ 1541466 h 2085020"/>
                <a:gd name="connsiteX2" fmla="*/ 351753 w 2153776"/>
                <a:gd name="connsiteY2" fmla="*/ 1960566 h 2085020"/>
                <a:gd name="connsiteX3" fmla="*/ 924518 w 2153776"/>
                <a:gd name="connsiteY3" fmla="*/ 1960566 h 2085020"/>
                <a:gd name="connsiteX4" fmla="*/ 1134068 w 2153776"/>
                <a:gd name="connsiteY4" fmla="*/ 1541466 h 2085020"/>
                <a:gd name="connsiteX5" fmla="*/ 924518 w 2153776"/>
                <a:gd name="connsiteY5" fmla="*/ 1122366 h 2085020"/>
                <a:gd name="connsiteX6" fmla="*/ 1388075 w 2153776"/>
                <a:gd name="connsiteY6" fmla="*/ 815802 h 2085020"/>
                <a:gd name="connsiteX7" fmla="*/ 1699492 w 2153776"/>
                <a:gd name="connsiteY7" fmla="*/ 815802 h 2085020"/>
                <a:gd name="connsiteX8" fmla="*/ 1813426 w 2153776"/>
                <a:gd name="connsiteY8" fmla="*/ 1043671 h 2085020"/>
                <a:gd name="connsiteX9" fmla="*/ 1699492 w 2153776"/>
                <a:gd name="connsiteY9" fmla="*/ 1271540 h 2085020"/>
                <a:gd name="connsiteX10" fmla="*/ 1388075 w 2153776"/>
                <a:gd name="connsiteY10" fmla="*/ 1271540 h 2085020"/>
                <a:gd name="connsiteX11" fmla="*/ 1274140 w 2153776"/>
                <a:gd name="connsiteY11" fmla="*/ 1043671 h 2085020"/>
                <a:gd name="connsiteX12" fmla="*/ 1226453 w 2153776"/>
                <a:gd name="connsiteY12" fmla="*/ 604594 h 2085020"/>
                <a:gd name="connsiteX13" fmla="*/ 1016903 w 2153776"/>
                <a:gd name="connsiteY13" fmla="*/ 1023694 h 2085020"/>
                <a:gd name="connsiteX14" fmla="*/ 1226453 w 2153776"/>
                <a:gd name="connsiteY14" fmla="*/ 1442794 h 2085020"/>
                <a:gd name="connsiteX15" fmla="*/ 1799218 w 2153776"/>
                <a:gd name="connsiteY15" fmla="*/ 1442794 h 2085020"/>
                <a:gd name="connsiteX16" fmla="*/ 2008768 w 2153776"/>
                <a:gd name="connsiteY16" fmla="*/ 1023694 h 2085020"/>
                <a:gd name="connsiteX17" fmla="*/ 1799218 w 2153776"/>
                <a:gd name="connsiteY17" fmla="*/ 604594 h 2085020"/>
                <a:gd name="connsiteX18" fmla="*/ 561193 w 2153776"/>
                <a:gd name="connsiteY18" fmla="*/ 155209 h 2085020"/>
                <a:gd name="connsiteX19" fmla="*/ 561193 w 2153776"/>
                <a:gd name="connsiteY19" fmla="*/ 421907 h 2085020"/>
                <a:gd name="connsiteX20" fmla="*/ 294495 w 2153776"/>
                <a:gd name="connsiteY20" fmla="*/ 421907 h 2085020"/>
                <a:gd name="connsiteX21" fmla="*/ 294495 w 2153776"/>
                <a:gd name="connsiteY21" fmla="*/ 623841 h 2085020"/>
                <a:gd name="connsiteX22" fmla="*/ 561193 w 2153776"/>
                <a:gd name="connsiteY22" fmla="*/ 623841 h 2085020"/>
                <a:gd name="connsiteX23" fmla="*/ 561193 w 2153776"/>
                <a:gd name="connsiteY23" fmla="*/ 890539 h 2085020"/>
                <a:gd name="connsiteX24" fmla="*/ 759317 w 2153776"/>
                <a:gd name="connsiteY24" fmla="*/ 890539 h 2085020"/>
                <a:gd name="connsiteX25" fmla="*/ 759317 w 2153776"/>
                <a:gd name="connsiteY25" fmla="*/ 623841 h 2085020"/>
                <a:gd name="connsiteX26" fmla="*/ 1026015 w 2153776"/>
                <a:gd name="connsiteY26" fmla="*/ 623841 h 2085020"/>
                <a:gd name="connsiteX27" fmla="*/ 1026015 w 2153776"/>
                <a:gd name="connsiteY27" fmla="*/ 421907 h 2085020"/>
                <a:gd name="connsiteX28" fmla="*/ 759317 w 2153776"/>
                <a:gd name="connsiteY28" fmla="*/ 421907 h 2085020"/>
                <a:gd name="connsiteX29" fmla="*/ 759317 w 2153776"/>
                <a:gd name="connsiteY29" fmla="*/ 155209 h 2085020"/>
                <a:gd name="connsiteX30" fmla="*/ 270821 w 2153776"/>
                <a:gd name="connsiteY30" fmla="*/ 0 h 2085020"/>
                <a:gd name="connsiteX31" fmla="*/ 1011059 w 2153776"/>
                <a:gd name="connsiteY31" fmla="*/ 0 h 2085020"/>
                <a:gd name="connsiteX32" fmla="*/ 1262074 w 2153776"/>
                <a:gd name="connsiteY32" fmla="*/ 502029 h 2085020"/>
                <a:gd name="connsiteX33" fmla="*/ 1882955 w 2153776"/>
                <a:gd name="connsiteY33" fmla="*/ 502029 h 2085020"/>
                <a:gd name="connsiteX34" fmla="*/ 2153776 w 2153776"/>
                <a:gd name="connsiteY34" fmla="*/ 1043671 h 2085020"/>
                <a:gd name="connsiteX35" fmla="*/ 1882955 w 2153776"/>
                <a:gd name="connsiteY35" fmla="*/ 1585313 h 2085020"/>
                <a:gd name="connsiteX36" fmla="*/ 1261153 w 2153776"/>
                <a:gd name="connsiteY36" fmla="*/ 1585313 h 2085020"/>
                <a:gd name="connsiteX37" fmla="*/ 1011299 w 2153776"/>
                <a:gd name="connsiteY37" fmla="*/ 2085020 h 2085020"/>
                <a:gd name="connsiteX38" fmla="*/ 271061 w 2153776"/>
                <a:gd name="connsiteY38" fmla="*/ 2085020 h 2085020"/>
                <a:gd name="connsiteX39" fmla="*/ 240 w 2153776"/>
                <a:gd name="connsiteY39" fmla="*/ 1543378 h 2085020"/>
                <a:gd name="connsiteX40" fmla="*/ 250554 w 2153776"/>
                <a:gd name="connsiteY40" fmla="*/ 1042750 h 2085020"/>
                <a:gd name="connsiteX41" fmla="*/ 0 w 2153776"/>
                <a:gd name="connsiteY41" fmla="*/ 541642 h 2085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153776" h="2085020">
                  <a:moveTo>
                    <a:pt x="351753" y="1122366"/>
                  </a:moveTo>
                  <a:lnTo>
                    <a:pt x="142203" y="1541466"/>
                  </a:lnTo>
                  <a:lnTo>
                    <a:pt x="351753" y="1960566"/>
                  </a:lnTo>
                  <a:lnTo>
                    <a:pt x="924518" y="1960566"/>
                  </a:lnTo>
                  <a:lnTo>
                    <a:pt x="1134068" y="1541466"/>
                  </a:lnTo>
                  <a:lnTo>
                    <a:pt x="924518" y="1122366"/>
                  </a:lnTo>
                  <a:close/>
                  <a:moveTo>
                    <a:pt x="1388075" y="815802"/>
                  </a:moveTo>
                  <a:lnTo>
                    <a:pt x="1699492" y="815802"/>
                  </a:lnTo>
                  <a:lnTo>
                    <a:pt x="1813426" y="1043671"/>
                  </a:lnTo>
                  <a:lnTo>
                    <a:pt x="1699492" y="1271540"/>
                  </a:lnTo>
                  <a:lnTo>
                    <a:pt x="1388075" y="1271540"/>
                  </a:lnTo>
                  <a:lnTo>
                    <a:pt x="1274140" y="1043671"/>
                  </a:lnTo>
                  <a:close/>
                  <a:moveTo>
                    <a:pt x="1226453" y="604594"/>
                  </a:moveTo>
                  <a:lnTo>
                    <a:pt x="1016903" y="1023694"/>
                  </a:lnTo>
                  <a:lnTo>
                    <a:pt x="1226453" y="1442794"/>
                  </a:lnTo>
                  <a:lnTo>
                    <a:pt x="1799218" y="1442794"/>
                  </a:lnTo>
                  <a:lnTo>
                    <a:pt x="2008768" y="1023694"/>
                  </a:lnTo>
                  <a:lnTo>
                    <a:pt x="1799218" y="604594"/>
                  </a:lnTo>
                  <a:close/>
                  <a:moveTo>
                    <a:pt x="561193" y="155209"/>
                  </a:moveTo>
                  <a:lnTo>
                    <a:pt x="561193" y="421907"/>
                  </a:lnTo>
                  <a:lnTo>
                    <a:pt x="294495" y="421907"/>
                  </a:lnTo>
                  <a:lnTo>
                    <a:pt x="294495" y="623841"/>
                  </a:lnTo>
                  <a:lnTo>
                    <a:pt x="561193" y="623841"/>
                  </a:lnTo>
                  <a:lnTo>
                    <a:pt x="561193" y="890539"/>
                  </a:lnTo>
                  <a:lnTo>
                    <a:pt x="759317" y="890539"/>
                  </a:lnTo>
                  <a:lnTo>
                    <a:pt x="759317" y="623841"/>
                  </a:lnTo>
                  <a:lnTo>
                    <a:pt x="1026015" y="623841"/>
                  </a:lnTo>
                  <a:lnTo>
                    <a:pt x="1026015" y="421907"/>
                  </a:lnTo>
                  <a:lnTo>
                    <a:pt x="759317" y="421907"/>
                  </a:lnTo>
                  <a:lnTo>
                    <a:pt x="759317" y="155209"/>
                  </a:lnTo>
                  <a:close/>
                  <a:moveTo>
                    <a:pt x="270821" y="0"/>
                  </a:moveTo>
                  <a:lnTo>
                    <a:pt x="1011059" y="0"/>
                  </a:lnTo>
                  <a:lnTo>
                    <a:pt x="1262074" y="502029"/>
                  </a:lnTo>
                  <a:lnTo>
                    <a:pt x="1882955" y="502029"/>
                  </a:lnTo>
                  <a:lnTo>
                    <a:pt x="2153776" y="1043671"/>
                  </a:lnTo>
                  <a:lnTo>
                    <a:pt x="1882955" y="1585313"/>
                  </a:lnTo>
                  <a:lnTo>
                    <a:pt x="1261153" y="1585313"/>
                  </a:lnTo>
                  <a:lnTo>
                    <a:pt x="1011299" y="2085020"/>
                  </a:lnTo>
                  <a:lnTo>
                    <a:pt x="271061" y="2085020"/>
                  </a:lnTo>
                  <a:lnTo>
                    <a:pt x="240" y="1543378"/>
                  </a:lnTo>
                  <a:lnTo>
                    <a:pt x="250554" y="1042750"/>
                  </a:lnTo>
                  <a:lnTo>
                    <a:pt x="0" y="541642"/>
                  </a:ln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10" name="Active Directory Icon"/>
            <p:cNvSpPr>
              <a:spLocks noChangeAspect="1"/>
            </p:cNvSpPr>
            <p:nvPr/>
          </p:nvSpPr>
          <p:spPr>
            <a:xfrm>
              <a:off x="6781983" y="5713614"/>
              <a:ext cx="827876" cy="862465"/>
            </a:xfrm>
            <a:custGeom>
              <a:avLst/>
              <a:gdLst>
                <a:gd name="connsiteX0" fmla="*/ 227817 w 430087"/>
                <a:gd name="connsiteY0" fmla="*/ 190781 h 448056"/>
                <a:gd name="connsiteX1" fmla="*/ 278783 w 430087"/>
                <a:gd name="connsiteY1" fmla="*/ 246846 h 448056"/>
                <a:gd name="connsiteX2" fmla="*/ 276735 w 430087"/>
                <a:gd name="connsiteY2" fmla="*/ 256988 h 448056"/>
                <a:gd name="connsiteX3" fmla="*/ 277791 w 430087"/>
                <a:gd name="connsiteY3" fmla="*/ 262217 h 448056"/>
                <a:gd name="connsiteX4" fmla="*/ 224432 w 430087"/>
                <a:gd name="connsiteY4" fmla="*/ 306139 h 448056"/>
                <a:gd name="connsiteX5" fmla="*/ 221132 w 430087"/>
                <a:gd name="connsiteY5" fmla="*/ 305472 h 448056"/>
                <a:gd name="connsiteX6" fmla="*/ 221132 w 430087"/>
                <a:gd name="connsiteY6" fmla="*/ 192687 h 448056"/>
                <a:gd name="connsiteX7" fmla="*/ 221938 w 430087"/>
                <a:gd name="connsiteY7" fmla="*/ 192605 h 448056"/>
                <a:gd name="connsiteX8" fmla="*/ 197960 w 430087"/>
                <a:gd name="connsiteY8" fmla="*/ 188072 h 448056"/>
                <a:gd name="connsiteX9" fmla="*/ 201727 w 430087"/>
                <a:gd name="connsiteY9" fmla="*/ 190612 h 448056"/>
                <a:gd name="connsiteX10" fmla="*/ 203867 w 430087"/>
                <a:gd name="connsiteY10" fmla="*/ 191276 h 448056"/>
                <a:gd name="connsiteX11" fmla="*/ 203867 w 430087"/>
                <a:gd name="connsiteY11" fmla="*/ 306873 h 448056"/>
                <a:gd name="connsiteX12" fmla="*/ 155627 w 430087"/>
                <a:gd name="connsiteY12" fmla="*/ 267164 h 448056"/>
                <a:gd name="connsiteX13" fmla="*/ 156887 w 430087"/>
                <a:gd name="connsiteY13" fmla="*/ 263103 h 448056"/>
                <a:gd name="connsiteX14" fmla="*/ 157504 w 430087"/>
                <a:gd name="connsiteY14" fmla="*/ 256988 h 448056"/>
                <a:gd name="connsiteX15" fmla="*/ 155119 w 430087"/>
                <a:gd name="connsiteY15" fmla="*/ 245177 h 448056"/>
                <a:gd name="connsiteX16" fmla="*/ 151257 w 430087"/>
                <a:gd name="connsiteY16" fmla="*/ 239449 h 448056"/>
                <a:gd name="connsiteX17" fmla="*/ 215044 w 430087"/>
                <a:gd name="connsiteY17" fmla="*/ 124878 h 448056"/>
                <a:gd name="connsiteX18" fmla="*/ 180833 w 430087"/>
                <a:gd name="connsiteY18" fmla="*/ 159089 h 448056"/>
                <a:gd name="connsiteX19" fmla="*/ 183521 w 430087"/>
                <a:gd name="connsiteY19" fmla="*/ 172406 h 448056"/>
                <a:gd name="connsiteX20" fmla="*/ 185798 w 430087"/>
                <a:gd name="connsiteY20" fmla="*/ 175783 h 448056"/>
                <a:gd name="connsiteX21" fmla="*/ 137742 w 430087"/>
                <a:gd name="connsiteY21" fmla="*/ 228648 h 448056"/>
                <a:gd name="connsiteX22" fmla="*/ 133277 w 430087"/>
                <a:gd name="connsiteY22" fmla="*/ 227262 h 448056"/>
                <a:gd name="connsiteX23" fmla="*/ 127161 w 430087"/>
                <a:gd name="connsiteY23" fmla="*/ 226646 h 448056"/>
                <a:gd name="connsiteX24" fmla="*/ 96819 w 430087"/>
                <a:gd name="connsiteY24" fmla="*/ 256988 h 448056"/>
                <a:gd name="connsiteX25" fmla="*/ 127161 w 430087"/>
                <a:gd name="connsiteY25" fmla="*/ 287331 h 448056"/>
                <a:gd name="connsiteX26" fmla="*/ 138972 w 430087"/>
                <a:gd name="connsiteY26" fmla="*/ 284946 h 448056"/>
                <a:gd name="connsiteX27" fmla="*/ 145069 w 430087"/>
                <a:gd name="connsiteY27" fmla="*/ 280836 h 448056"/>
                <a:gd name="connsiteX28" fmla="*/ 191749 w 430087"/>
                <a:gd name="connsiteY28" fmla="*/ 319260 h 448056"/>
                <a:gd name="connsiteX29" fmla="*/ 191233 w 430087"/>
                <a:gd name="connsiteY29" fmla="*/ 320026 h 448056"/>
                <a:gd name="connsiteX30" fmla="*/ 189202 w 430087"/>
                <a:gd name="connsiteY30" fmla="*/ 330085 h 448056"/>
                <a:gd name="connsiteX31" fmla="*/ 215044 w 430087"/>
                <a:gd name="connsiteY31" fmla="*/ 355926 h 448056"/>
                <a:gd name="connsiteX32" fmla="*/ 240885 w 430087"/>
                <a:gd name="connsiteY32" fmla="*/ 330085 h 448056"/>
                <a:gd name="connsiteX33" fmla="*/ 238855 w 430087"/>
                <a:gd name="connsiteY33" fmla="*/ 320026 h 448056"/>
                <a:gd name="connsiteX34" fmla="*/ 237382 w 430087"/>
                <a:gd name="connsiteY34" fmla="*/ 317841 h 448056"/>
                <a:gd name="connsiteX35" fmla="*/ 285487 w 430087"/>
                <a:gd name="connsiteY35" fmla="*/ 278244 h 448056"/>
                <a:gd name="connsiteX36" fmla="*/ 285622 w 430087"/>
                <a:gd name="connsiteY36" fmla="*/ 278444 h 448056"/>
                <a:gd name="connsiteX37" fmla="*/ 307078 w 430087"/>
                <a:gd name="connsiteY37" fmla="*/ 287331 h 448056"/>
                <a:gd name="connsiteX38" fmla="*/ 337420 w 430087"/>
                <a:gd name="connsiteY38" fmla="*/ 256988 h 448056"/>
                <a:gd name="connsiteX39" fmla="*/ 307078 w 430087"/>
                <a:gd name="connsiteY39" fmla="*/ 226646 h 448056"/>
                <a:gd name="connsiteX40" fmla="*/ 295267 w 430087"/>
                <a:gd name="connsiteY40" fmla="*/ 229030 h 448056"/>
                <a:gd name="connsiteX41" fmla="*/ 289471 w 430087"/>
                <a:gd name="connsiteY41" fmla="*/ 232937 h 448056"/>
                <a:gd name="connsiteX42" fmla="*/ 241405 w 430087"/>
                <a:gd name="connsiteY42" fmla="*/ 180061 h 448056"/>
                <a:gd name="connsiteX43" fmla="*/ 246566 w 430087"/>
                <a:gd name="connsiteY43" fmla="*/ 172406 h 448056"/>
                <a:gd name="connsiteX44" fmla="*/ 249255 w 430087"/>
                <a:gd name="connsiteY44" fmla="*/ 159089 h 448056"/>
                <a:gd name="connsiteX45" fmla="*/ 215044 w 430087"/>
                <a:gd name="connsiteY45" fmla="*/ 124878 h 448056"/>
                <a:gd name="connsiteX46" fmla="*/ 215044 w 430087"/>
                <a:gd name="connsiteY46" fmla="*/ 0 h 448056"/>
                <a:gd name="connsiteX47" fmla="*/ 430087 w 430087"/>
                <a:gd name="connsiteY47" fmla="*/ 270047 h 448056"/>
                <a:gd name="connsiteX48" fmla="*/ 215044 w 430087"/>
                <a:gd name="connsiteY48" fmla="*/ 448056 h 448056"/>
                <a:gd name="connsiteX49" fmla="*/ 0 w 430087"/>
                <a:gd name="connsiteY49" fmla="*/ 270047 h 44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30087" h="448056">
                  <a:moveTo>
                    <a:pt x="227817" y="190781"/>
                  </a:moveTo>
                  <a:lnTo>
                    <a:pt x="278783" y="246846"/>
                  </a:lnTo>
                  <a:lnTo>
                    <a:pt x="276735" y="256988"/>
                  </a:lnTo>
                  <a:lnTo>
                    <a:pt x="277791" y="262217"/>
                  </a:lnTo>
                  <a:lnTo>
                    <a:pt x="224432" y="306139"/>
                  </a:lnTo>
                  <a:lnTo>
                    <a:pt x="221132" y="305472"/>
                  </a:lnTo>
                  <a:lnTo>
                    <a:pt x="221132" y="192687"/>
                  </a:lnTo>
                  <a:lnTo>
                    <a:pt x="221938" y="192605"/>
                  </a:lnTo>
                  <a:close/>
                  <a:moveTo>
                    <a:pt x="197960" y="188072"/>
                  </a:moveTo>
                  <a:lnTo>
                    <a:pt x="201727" y="190612"/>
                  </a:lnTo>
                  <a:lnTo>
                    <a:pt x="203867" y="191276"/>
                  </a:lnTo>
                  <a:lnTo>
                    <a:pt x="203867" y="306873"/>
                  </a:lnTo>
                  <a:lnTo>
                    <a:pt x="155627" y="267164"/>
                  </a:lnTo>
                  <a:lnTo>
                    <a:pt x="156887" y="263103"/>
                  </a:lnTo>
                  <a:cubicBezTo>
                    <a:pt x="157292" y="261128"/>
                    <a:pt x="157504" y="259083"/>
                    <a:pt x="157504" y="256988"/>
                  </a:cubicBezTo>
                  <a:cubicBezTo>
                    <a:pt x="157504" y="252799"/>
                    <a:pt x="156655" y="248808"/>
                    <a:pt x="155119" y="245177"/>
                  </a:cubicBezTo>
                  <a:lnTo>
                    <a:pt x="151257" y="239449"/>
                  </a:lnTo>
                  <a:close/>
                  <a:moveTo>
                    <a:pt x="215044" y="124878"/>
                  </a:moveTo>
                  <a:cubicBezTo>
                    <a:pt x="196150" y="124878"/>
                    <a:pt x="180833" y="140195"/>
                    <a:pt x="180833" y="159089"/>
                  </a:cubicBezTo>
                  <a:cubicBezTo>
                    <a:pt x="180833" y="163813"/>
                    <a:pt x="181790" y="168313"/>
                    <a:pt x="183521" y="172406"/>
                  </a:cubicBezTo>
                  <a:lnTo>
                    <a:pt x="185798" y="175783"/>
                  </a:lnTo>
                  <a:lnTo>
                    <a:pt x="137742" y="228648"/>
                  </a:lnTo>
                  <a:lnTo>
                    <a:pt x="133277" y="227262"/>
                  </a:lnTo>
                  <a:cubicBezTo>
                    <a:pt x="131301" y="226858"/>
                    <a:pt x="129256" y="226646"/>
                    <a:pt x="127161" y="226646"/>
                  </a:cubicBezTo>
                  <a:cubicBezTo>
                    <a:pt x="110404" y="226646"/>
                    <a:pt x="96819" y="240230"/>
                    <a:pt x="96819" y="256988"/>
                  </a:cubicBezTo>
                  <a:cubicBezTo>
                    <a:pt x="96819" y="273746"/>
                    <a:pt x="110404" y="287331"/>
                    <a:pt x="127161" y="287331"/>
                  </a:cubicBezTo>
                  <a:cubicBezTo>
                    <a:pt x="131351" y="287331"/>
                    <a:pt x="135342" y="286482"/>
                    <a:pt x="138972" y="284946"/>
                  </a:cubicBezTo>
                  <a:lnTo>
                    <a:pt x="145069" y="280836"/>
                  </a:lnTo>
                  <a:lnTo>
                    <a:pt x="191749" y="319260"/>
                  </a:lnTo>
                  <a:lnTo>
                    <a:pt x="191233" y="320026"/>
                  </a:lnTo>
                  <a:cubicBezTo>
                    <a:pt x="189925" y="323118"/>
                    <a:pt x="189202" y="326517"/>
                    <a:pt x="189202" y="330085"/>
                  </a:cubicBezTo>
                  <a:cubicBezTo>
                    <a:pt x="189202" y="344357"/>
                    <a:pt x="200772" y="355926"/>
                    <a:pt x="215044" y="355926"/>
                  </a:cubicBezTo>
                  <a:cubicBezTo>
                    <a:pt x="229316" y="355926"/>
                    <a:pt x="240885" y="344357"/>
                    <a:pt x="240885" y="330085"/>
                  </a:cubicBezTo>
                  <a:cubicBezTo>
                    <a:pt x="240885" y="326517"/>
                    <a:pt x="240162" y="323118"/>
                    <a:pt x="238855" y="320026"/>
                  </a:cubicBezTo>
                  <a:lnTo>
                    <a:pt x="237382" y="317841"/>
                  </a:lnTo>
                  <a:lnTo>
                    <a:pt x="285487" y="278244"/>
                  </a:lnTo>
                  <a:lnTo>
                    <a:pt x="285622" y="278444"/>
                  </a:lnTo>
                  <a:cubicBezTo>
                    <a:pt x="291113" y="283935"/>
                    <a:pt x="298699" y="287331"/>
                    <a:pt x="307078" y="287331"/>
                  </a:cubicBezTo>
                  <a:cubicBezTo>
                    <a:pt x="323835" y="287331"/>
                    <a:pt x="337420" y="273746"/>
                    <a:pt x="337420" y="256988"/>
                  </a:cubicBezTo>
                  <a:cubicBezTo>
                    <a:pt x="337420" y="240230"/>
                    <a:pt x="323835" y="226646"/>
                    <a:pt x="307078" y="226646"/>
                  </a:cubicBezTo>
                  <a:cubicBezTo>
                    <a:pt x="302888" y="226646"/>
                    <a:pt x="298897" y="227495"/>
                    <a:pt x="295267" y="229030"/>
                  </a:cubicBezTo>
                  <a:lnTo>
                    <a:pt x="289471" y="232937"/>
                  </a:lnTo>
                  <a:lnTo>
                    <a:pt x="241405" y="180061"/>
                  </a:lnTo>
                  <a:lnTo>
                    <a:pt x="246566" y="172406"/>
                  </a:lnTo>
                  <a:cubicBezTo>
                    <a:pt x="248298" y="168313"/>
                    <a:pt x="249255" y="163813"/>
                    <a:pt x="249255" y="159089"/>
                  </a:cubicBezTo>
                  <a:cubicBezTo>
                    <a:pt x="249255" y="140195"/>
                    <a:pt x="233938" y="124878"/>
                    <a:pt x="215044" y="124878"/>
                  </a:cubicBezTo>
                  <a:close/>
                  <a:moveTo>
                    <a:pt x="215044" y="0"/>
                  </a:moveTo>
                  <a:lnTo>
                    <a:pt x="430087" y="270047"/>
                  </a:lnTo>
                  <a:lnTo>
                    <a:pt x="215044" y="448056"/>
                  </a:lnTo>
                  <a:lnTo>
                    <a:pt x="0" y="270047"/>
                  </a:ln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5" name="SQL Reporting Icon"/>
            <p:cNvSpPr>
              <a:spLocks noChangeAspect="1"/>
            </p:cNvSpPr>
            <p:nvPr/>
          </p:nvSpPr>
          <p:spPr>
            <a:xfrm>
              <a:off x="8838527" y="5721597"/>
              <a:ext cx="673564" cy="846498"/>
            </a:xfrm>
            <a:custGeom>
              <a:avLst/>
              <a:gdLst>
                <a:gd name="connsiteX0" fmla="*/ 1350195 w 1848712"/>
                <a:gd name="connsiteY0" fmla="*/ 1954361 h 2323360"/>
                <a:gd name="connsiteX1" fmla="*/ 1569270 w 1848712"/>
                <a:gd name="connsiteY1" fmla="*/ 1954361 h 2323360"/>
                <a:gd name="connsiteX2" fmla="*/ 1569270 w 1848712"/>
                <a:gd name="connsiteY2" fmla="*/ 2028656 h 2323360"/>
                <a:gd name="connsiteX3" fmla="*/ 1350195 w 1848712"/>
                <a:gd name="connsiteY3" fmla="*/ 2028656 h 2323360"/>
                <a:gd name="connsiteX4" fmla="*/ 1061946 w 1848712"/>
                <a:gd name="connsiteY4" fmla="*/ 1954361 h 2323360"/>
                <a:gd name="connsiteX5" fmla="*/ 1281021 w 1848712"/>
                <a:gd name="connsiteY5" fmla="*/ 1954361 h 2323360"/>
                <a:gd name="connsiteX6" fmla="*/ 1281021 w 1848712"/>
                <a:gd name="connsiteY6" fmla="*/ 2028656 h 2323360"/>
                <a:gd name="connsiteX7" fmla="*/ 1061946 w 1848712"/>
                <a:gd name="connsiteY7" fmla="*/ 2028656 h 2323360"/>
                <a:gd name="connsiteX8" fmla="*/ 1350195 w 1848712"/>
                <a:gd name="connsiteY8" fmla="*/ 1817100 h 2323360"/>
                <a:gd name="connsiteX9" fmla="*/ 1569270 w 1848712"/>
                <a:gd name="connsiteY9" fmla="*/ 1817100 h 2323360"/>
                <a:gd name="connsiteX10" fmla="*/ 1569270 w 1848712"/>
                <a:gd name="connsiteY10" fmla="*/ 1891395 h 2323360"/>
                <a:gd name="connsiteX11" fmla="*/ 1350195 w 1848712"/>
                <a:gd name="connsiteY11" fmla="*/ 1891395 h 2323360"/>
                <a:gd name="connsiteX12" fmla="*/ 1061946 w 1848712"/>
                <a:gd name="connsiteY12" fmla="*/ 1817100 h 2323360"/>
                <a:gd name="connsiteX13" fmla="*/ 1281021 w 1848712"/>
                <a:gd name="connsiteY13" fmla="*/ 1817100 h 2323360"/>
                <a:gd name="connsiteX14" fmla="*/ 1281021 w 1848712"/>
                <a:gd name="connsiteY14" fmla="*/ 1891395 h 2323360"/>
                <a:gd name="connsiteX15" fmla="*/ 1061946 w 1848712"/>
                <a:gd name="connsiteY15" fmla="*/ 1891395 h 2323360"/>
                <a:gd name="connsiteX16" fmla="*/ 1350195 w 1848712"/>
                <a:gd name="connsiteY16" fmla="*/ 1679839 h 2323360"/>
                <a:gd name="connsiteX17" fmla="*/ 1569270 w 1848712"/>
                <a:gd name="connsiteY17" fmla="*/ 1679839 h 2323360"/>
                <a:gd name="connsiteX18" fmla="*/ 1569270 w 1848712"/>
                <a:gd name="connsiteY18" fmla="*/ 1754134 h 2323360"/>
                <a:gd name="connsiteX19" fmla="*/ 1350195 w 1848712"/>
                <a:gd name="connsiteY19" fmla="*/ 1754134 h 2323360"/>
                <a:gd name="connsiteX20" fmla="*/ 1061946 w 1848712"/>
                <a:gd name="connsiteY20" fmla="*/ 1679839 h 2323360"/>
                <a:gd name="connsiteX21" fmla="*/ 1281021 w 1848712"/>
                <a:gd name="connsiteY21" fmla="*/ 1679839 h 2323360"/>
                <a:gd name="connsiteX22" fmla="*/ 1281021 w 1848712"/>
                <a:gd name="connsiteY22" fmla="*/ 1754134 h 2323360"/>
                <a:gd name="connsiteX23" fmla="*/ 1061946 w 1848712"/>
                <a:gd name="connsiteY23" fmla="*/ 1754134 h 2323360"/>
                <a:gd name="connsiteX24" fmla="*/ 1350195 w 1848712"/>
                <a:gd name="connsiteY24" fmla="*/ 1539558 h 2323360"/>
                <a:gd name="connsiteX25" fmla="*/ 1569270 w 1848712"/>
                <a:gd name="connsiteY25" fmla="*/ 1539558 h 2323360"/>
                <a:gd name="connsiteX26" fmla="*/ 1569270 w 1848712"/>
                <a:gd name="connsiteY26" fmla="*/ 1613853 h 2323360"/>
                <a:gd name="connsiteX27" fmla="*/ 1350195 w 1848712"/>
                <a:gd name="connsiteY27" fmla="*/ 1613853 h 2323360"/>
                <a:gd name="connsiteX28" fmla="*/ 1061946 w 1848712"/>
                <a:gd name="connsiteY28" fmla="*/ 1539558 h 2323360"/>
                <a:gd name="connsiteX29" fmla="*/ 1281021 w 1848712"/>
                <a:gd name="connsiteY29" fmla="*/ 1539558 h 2323360"/>
                <a:gd name="connsiteX30" fmla="*/ 1281021 w 1848712"/>
                <a:gd name="connsiteY30" fmla="*/ 1613853 h 2323360"/>
                <a:gd name="connsiteX31" fmla="*/ 1061946 w 1848712"/>
                <a:gd name="connsiteY31" fmla="*/ 1613853 h 2323360"/>
                <a:gd name="connsiteX32" fmla="*/ 1061946 w 1848712"/>
                <a:gd name="connsiteY32" fmla="*/ 1399277 h 2323360"/>
                <a:gd name="connsiteX33" fmla="*/ 1281021 w 1848712"/>
                <a:gd name="connsiteY33" fmla="*/ 1399277 h 2323360"/>
                <a:gd name="connsiteX34" fmla="*/ 1281021 w 1848712"/>
                <a:gd name="connsiteY34" fmla="*/ 1473572 h 2323360"/>
                <a:gd name="connsiteX35" fmla="*/ 1061946 w 1848712"/>
                <a:gd name="connsiteY35" fmla="*/ 1473572 h 2323360"/>
                <a:gd name="connsiteX36" fmla="*/ 1061946 w 1848712"/>
                <a:gd name="connsiteY36" fmla="*/ 1258996 h 2323360"/>
                <a:gd name="connsiteX37" fmla="*/ 1281021 w 1848712"/>
                <a:gd name="connsiteY37" fmla="*/ 1258996 h 2323360"/>
                <a:gd name="connsiteX38" fmla="*/ 1281021 w 1848712"/>
                <a:gd name="connsiteY38" fmla="*/ 1333291 h 2323360"/>
                <a:gd name="connsiteX39" fmla="*/ 1061946 w 1848712"/>
                <a:gd name="connsiteY39" fmla="*/ 1333291 h 2323360"/>
                <a:gd name="connsiteX40" fmla="*/ 879780 w 1848712"/>
                <a:gd name="connsiteY40" fmla="*/ 1087839 h 2323360"/>
                <a:gd name="connsiteX41" fmla="*/ 879780 w 1848712"/>
                <a:gd name="connsiteY41" fmla="*/ 2196257 h 2323360"/>
                <a:gd name="connsiteX42" fmla="*/ 1782872 w 1848712"/>
                <a:gd name="connsiteY42" fmla="*/ 2196257 h 2323360"/>
                <a:gd name="connsiteX43" fmla="*/ 1782872 w 1848712"/>
                <a:gd name="connsiteY43" fmla="*/ 1457029 h 2323360"/>
                <a:gd name="connsiteX44" fmla="*/ 1739146 w 1848712"/>
                <a:gd name="connsiteY44" fmla="*/ 1413303 h 2323360"/>
                <a:gd name="connsiteX45" fmla="*/ 1419754 w 1848712"/>
                <a:gd name="connsiteY45" fmla="*/ 1413303 h 2323360"/>
                <a:gd name="connsiteX46" fmla="*/ 1419754 w 1848712"/>
                <a:gd name="connsiteY46" fmla="*/ 1093909 h 2323360"/>
                <a:gd name="connsiteX47" fmla="*/ 1413684 w 1848712"/>
                <a:gd name="connsiteY47" fmla="*/ 1087839 h 2323360"/>
                <a:gd name="connsiteX48" fmla="*/ 813941 w 1848712"/>
                <a:gd name="connsiteY48" fmla="*/ 1007033 h 2323360"/>
                <a:gd name="connsiteX49" fmla="*/ 1425693 w 1848712"/>
                <a:gd name="connsiteY49" fmla="*/ 1007033 h 2323360"/>
                <a:gd name="connsiteX50" fmla="*/ 1848712 w 1848712"/>
                <a:gd name="connsiteY50" fmla="*/ 1430053 h 2323360"/>
                <a:gd name="connsiteX51" fmla="*/ 1848712 w 1848712"/>
                <a:gd name="connsiteY51" fmla="*/ 2277064 h 2323360"/>
                <a:gd name="connsiteX52" fmla="*/ 813941 w 1848712"/>
                <a:gd name="connsiteY52" fmla="*/ 2277064 h 2323360"/>
                <a:gd name="connsiteX53" fmla="*/ 880394 w 1848712"/>
                <a:gd name="connsiteY53" fmla="*/ 113797 h 2323360"/>
                <a:gd name="connsiteX54" fmla="*/ 247312 w 1848712"/>
                <a:gd name="connsiteY54" fmla="*/ 321309 h 2323360"/>
                <a:gd name="connsiteX55" fmla="*/ 880394 w 1848712"/>
                <a:gd name="connsiteY55" fmla="*/ 528822 h 2323360"/>
                <a:gd name="connsiteX56" fmla="*/ 1513477 w 1848712"/>
                <a:gd name="connsiteY56" fmla="*/ 321309 h 2323360"/>
                <a:gd name="connsiteX57" fmla="*/ 880394 w 1848712"/>
                <a:gd name="connsiteY57" fmla="*/ 113797 h 2323360"/>
                <a:gd name="connsiteX58" fmla="*/ 880394 w 1848712"/>
                <a:gd name="connsiteY58" fmla="*/ 0 h 2323360"/>
                <a:gd name="connsiteX59" fmla="*/ 1760788 w 1848712"/>
                <a:gd name="connsiteY59" fmla="*/ 288577 h 2323360"/>
                <a:gd name="connsiteX60" fmla="*/ 1760788 w 1848712"/>
                <a:gd name="connsiteY60" fmla="*/ 1238657 h 2323360"/>
                <a:gd name="connsiteX61" fmla="*/ 1457196 w 1848712"/>
                <a:gd name="connsiteY61" fmla="*/ 935064 h 2323360"/>
                <a:gd name="connsiteX62" fmla="*/ 746191 w 1848712"/>
                <a:gd name="connsiteY62" fmla="*/ 935064 h 2323360"/>
                <a:gd name="connsiteX63" fmla="*/ 746191 w 1848712"/>
                <a:gd name="connsiteY63" fmla="*/ 2323360 h 2323360"/>
                <a:gd name="connsiteX64" fmla="*/ 709386 w 1848712"/>
                <a:gd name="connsiteY64" fmla="*/ 2322188 h 2323360"/>
                <a:gd name="connsiteX65" fmla="*/ 5235 w 1848712"/>
                <a:gd name="connsiteY65" fmla="*/ 2056073 h 2323360"/>
                <a:gd name="connsiteX66" fmla="*/ 0 w 1848712"/>
                <a:gd name="connsiteY66" fmla="*/ 2056073 h 2323360"/>
                <a:gd name="connsiteX67" fmla="*/ 0 w 1848712"/>
                <a:gd name="connsiteY67" fmla="*/ 2039053 h 2323360"/>
                <a:gd name="connsiteX68" fmla="*/ 0 w 1848712"/>
                <a:gd name="connsiteY68" fmla="*/ 288577 h 2323360"/>
                <a:gd name="connsiteX69" fmla="*/ 880394 w 1848712"/>
                <a:gd name="connsiteY69" fmla="*/ 0 h 2323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848712" h="2323360">
                  <a:moveTo>
                    <a:pt x="1350195" y="1954361"/>
                  </a:moveTo>
                  <a:lnTo>
                    <a:pt x="1569270" y="1954361"/>
                  </a:lnTo>
                  <a:lnTo>
                    <a:pt x="1569270" y="2028656"/>
                  </a:lnTo>
                  <a:lnTo>
                    <a:pt x="1350195" y="2028656"/>
                  </a:lnTo>
                  <a:close/>
                  <a:moveTo>
                    <a:pt x="1061946" y="1954361"/>
                  </a:moveTo>
                  <a:lnTo>
                    <a:pt x="1281021" y="1954361"/>
                  </a:lnTo>
                  <a:lnTo>
                    <a:pt x="1281021" y="2028656"/>
                  </a:lnTo>
                  <a:lnTo>
                    <a:pt x="1061946" y="2028656"/>
                  </a:lnTo>
                  <a:close/>
                  <a:moveTo>
                    <a:pt x="1350195" y="1817100"/>
                  </a:moveTo>
                  <a:lnTo>
                    <a:pt x="1569270" y="1817100"/>
                  </a:lnTo>
                  <a:lnTo>
                    <a:pt x="1569270" y="1891395"/>
                  </a:lnTo>
                  <a:lnTo>
                    <a:pt x="1350195" y="1891395"/>
                  </a:lnTo>
                  <a:close/>
                  <a:moveTo>
                    <a:pt x="1061946" y="1817100"/>
                  </a:moveTo>
                  <a:lnTo>
                    <a:pt x="1281021" y="1817100"/>
                  </a:lnTo>
                  <a:lnTo>
                    <a:pt x="1281021" y="1891395"/>
                  </a:lnTo>
                  <a:lnTo>
                    <a:pt x="1061946" y="1891395"/>
                  </a:lnTo>
                  <a:close/>
                  <a:moveTo>
                    <a:pt x="1350195" y="1679839"/>
                  </a:moveTo>
                  <a:lnTo>
                    <a:pt x="1569270" y="1679839"/>
                  </a:lnTo>
                  <a:lnTo>
                    <a:pt x="1569270" y="1754134"/>
                  </a:lnTo>
                  <a:lnTo>
                    <a:pt x="1350195" y="1754134"/>
                  </a:lnTo>
                  <a:close/>
                  <a:moveTo>
                    <a:pt x="1061946" y="1679839"/>
                  </a:moveTo>
                  <a:lnTo>
                    <a:pt x="1281021" y="1679839"/>
                  </a:lnTo>
                  <a:lnTo>
                    <a:pt x="1281021" y="1754134"/>
                  </a:lnTo>
                  <a:lnTo>
                    <a:pt x="1061946" y="1754134"/>
                  </a:lnTo>
                  <a:close/>
                  <a:moveTo>
                    <a:pt x="1350195" y="1539558"/>
                  </a:moveTo>
                  <a:lnTo>
                    <a:pt x="1569270" y="1539558"/>
                  </a:lnTo>
                  <a:lnTo>
                    <a:pt x="1569270" y="1613853"/>
                  </a:lnTo>
                  <a:lnTo>
                    <a:pt x="1350195" y="1613853"/>
                  </a:lnTo>
                  <a:close/>
                  <a:moveTo>
                    <a:pt x="1061946" y="1539558"/>
                  </a:moveTo>
                  <a:lnTo>
                    <a:pt x="1281021" y="1539558"/>
                  </a:lnTo>
                  <a:lnTo>
                    <a:pt x="1281021" y="1613853"/>
                  </a:lnTo>
                  <a:lnTo>
                    <a:pt x="1061946" y="1613853"/>
                  </a:lnTo>
                  <a:close/>
                  <a:moveTo>
                    <a:pt x="1061946" y="1399277"/>
                  </a:moveTo>
                  <a:lnTo>
                    <a:pt x="1281021" y="1399277"/>
                  </a:lnTo>
                  <a:lnTo>
                    <a:pt x="1281021" y="1473572"/>
                  </a:lnTo>
                  <a:lnTo>
                    <a:pt x="1061946" y="1473572"/>
                  </a:lnTo>
                  <a:close/>
                  <a:moveTo>
                    <a:pt x="1061946" y="1258996"/>
                  </a:moveTo>
                  <a:lnTo>
                    <a:pt x="1281021" y="1258996"/>
                  </a:lnTo>
                  <a:lnTo>
                    <a:pt x="1281021" y="1333291"/>
                  </a:lnTo>
                  <a:lnTo>
                    <a:pt x="1061946" y="1333291"/>
                  </a:lnTo>
                  <a:close/>
                  <a:moveTo>
                    <a:pt x="879780" y="1087839"/>
                  </a:moveTo>
                  <a:lnTo>
                    <a:pt x="879780" y="2196257"/>
                  </a:lnTo>
                  <a:lnTo>
                    <a:pt x="1782872" y="2196257"/>
                  </a:lnTo>
                  <a:lnTo>
                    <a:pt x="1782872" y="1457029"/>
                  </a:lnTo>
                  <a:lnTo>
                    <a:pt x="1739146" y="1413303"/>
                  </a:lnTo>
                  <a:lnTo>
                    <a:pt x="1419754" y="1413303"/>
                  </a:lnTo>
                  <a:lnTo>
                    <a:pt x="1419754" y="1093909"/>
                  </a:lnTo>
                  <a:lnTo>
                    <a:pt x="1413684" y="1087839"/>
                  </a:lnTo>
                  <a:close/>
                  <a:moveTo>
                    <a:pt x="813941" y="1007033"/>
                  </a:moveTo>
                  <a:lnTo>
                    <a:pt x="1425693" y="1007033"/>
                  </a:lnTo>
                  <a:lnTo>
                    <a:pt x="1848712" y="1430053"/>
                  </a:lnTo>
                  <a:lnTo>
                    <a:pt x="1848712" y="2277064"/>
                  </a:lnTo>
                  <a:lnTo>
                    <a:pt x="813941" y="2277064"/>
                  </a:lnTo>
                  <a:close/>
                  <a:moveTo>
                    <a:pt x="880394" y="113797"/>
                  </a:moveTo>
                  <a:cubicBezTo>
                    <a:pt x="530752" y="113797"/>
                    <a:pt x="247312" y="206703"/>
                    <a:pt x="247312" y="321309"/>
                  </a:cubicBezTo>
                  <a:cubicBezTo>
                    <a:pt x="247312" y="435915"/>
                    <a:pt x="530752" y="528822"/>
                    <a:pt x="880394" y="528822"/>
                  </a:cubicBezTo>
                  <a:cubicBezTo>
                    <a:pt x="1230036" y="528822"/>
                    <a:pt x="1513477" y="435915"/>
                    <a:pt x="1513477" y="321309"/>
                  </a:cubicBezTo>
                  <a:cubicBezTo>
                    <a:pt x="1513477" y="206703"/>
                    <a:pt x="1230036" y="113797"/>
                    <a:pt x="880394" y="113797"/>
                  </a:cubicBezTo>
                  <a:close/>
                  <a:moveTo>
                    <a:pt x="880394" y="0"/>
                  </a:moveTo>
                  <a:cubicBezTo>
                    <a:pt x="1366623" y="0"/>
                    <a:pt x="1760788" y="129200"/>
                    <a:pt x="1760788" y="288577"/>
                  </a:cubicBezTo>
                  <a:lnTo>
                    <a:pt x="1760788" y="1238657"/>
                  </a:lnTo>
                  <a:lnTo>
                    <a:pt x="1457196" y="935064"/>
                  </a:lnTo>
                  <a:lnTo>
                    <a:pt x="746191" y="935064"/>
                  </a:lnTo>
                  <a:lnTo>
                    <a:pt x="746191" y="2323360"/>
                  </a:lnTo>
                  <a:lnTo>
                    <a:pt x="709386" y="2322188"/>
                  </a:lnTo>
                  <a:cubicBezTo>
                    <a:pt x="322191" y="2297192"/>
                    <a:pt x="26471" y="2188905"/>
                    <a:pt x="5235" y="2056073"/>
                  </a:cubicBezTo>
                  <a:lnTo>
                    <a:pt x="0" y="2056073"/>
                  </a:lnTo>
                  <a:lnTo>
                    <a:pt x="0" y="2039053"/>
                  </a:lnTo>
                  <a:lnTo>
                    <a:pt x="0" y="288577"/>
                  </a:lnTo>
                  <a:cubicBezTo>
                    <a:pt x="0" y="129200"/>
                    <a:pt x="394166" y="0"/>
                    <a:pt x="880394" y="0"/>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13" name="Management Services Icon"/>
            <p:cNvSpPr>
              <a:spLocks noChangeAspect="1"/>
            </p:cNvSpPr>
            <p:nvPr/>
          </p:nvSpPr>
          <p:spPr>
            <a:xfrm>
              <a:off x="4657555" y="5802685"/>
              <a:ext cx="895760" cy="684322"/>
            </a:xfrm>
            <a:custGeom>
              <a:avLst/>
              <a:gdLst>
                <a:gd name="connsiteX0" fmla="*/ 150263 w 448056"/>
                <a:gd name="connsiteY0" fmla="*/ 146018 h 342296"/>
                <a:gd name="connsiteX1" fmla="*/ 392835 w 448056"/>
                <a:gd name="connsiteY1" fmla="*/ 146018 h 342296"/>
                <a:gd name="connsiteX2" fmla="*/ 392835 w 448056"/>
                <a:gd name="connsiteY2" fmla="*/ 291034 h 342296"/>
                <a:gd name="connsiteX3" fmla="*/ 375392 w 448056"/>
                <a:gd name="connsiteY3" fmla="*/ 291034 h 342296"/>
                <a:gd name="connsiteX4" fmla="*/ 375392 w 448056"/>
                <a:gd name="connsiteY4" fmla="*/ 181587 h 342296"/>
                <a:gd name="connsiteX5" fmla="*/ 359580 w 448056"/>
                <a:gd name="connsiteY5" fmla="*/ 181587 h 342296"/>
                <a:gd name="connsiteX6" fmla="*/ 359580 w 448056"/>
                <a:gd name="connsiteY6" fmla="*/ 291034 h 342296"/>
                <a:gd name="connsiteX7" fmla="*/ 337190 w 448056"/>
                <a:gd name="connsiteY7" fmla="*/ 291034 h 342296"/>
                <a:gd name="connsiteX8" fmla="*/ 337190 w 448056"/>
                <a:gd name="connsiteY8" fmla="*/ 217552 h 342296"/>
                <a:gd name="connsiteX9" fmla="*/ 321377 w 448056"/>
                <a:gd name="connsiteY9" fmla="*/ 217552 h 342296"/>
                <a:gd name="connsiteX10" fmla="*/ 321377 w 448056"/>
                <a:gd name="connsiteY10" fmla="*/ 291034 h 342296"/>
                <a:gd name="connsiteX11" fmla="*/ 301127 w 448056"/>
                <a:gd name="connsiteY11" fmla="*/ 291034 h 342296"/>
                <a:gd name="connsiteX12" fmla="*/ 301127 w 448056"/>
                <a:gd name="connsiteY12" fmla="*/ 205318 h 342296"/>
                <a:gd name="connsiteX13" fmla="*/ 285314 w 448056"/>
                <a:gd name="connsiteY13" fmla="*/ 205318 h 342296"/>
                <a:gd name="connsiteX14" fmla="*/ 285314 w 448056"/>
                <a:gd name="connsiteY14" fmla="*/ 291034 h 342296"/>
                <a:gd name="connsiteX15" fmla="*/ 262597 w 448056"/>
                <a:gd name="connsiteY15" fmla="*/ 291034 h 342296"/>
                <a:gd name="connsiteX16" fmla="*/ 262597 w 448056"/>
                <a:gd name="connsiteY16" fmla="*/ 251876 h 342296"/>
                <a:gd name="connsiteX17" fmla="*/ 246784 w 448056"/>
                <a:gd name="connsiteY17" fmla="*/ 251876 h 342296"/>
                <a:gd name="connsiteX18" fmla="*/ 246784 w 448056"/>
                <a:gd name="connsiteY18" fmla="*/ 291034 h 342296"/>
                <a:gd name="connsiteX19" fmla="*/ 225824 w 448056"/>
                <a:gd name="connsiteY19" fmla="*/ 291034 h 342296"/>
                <a:gd name="connsiteX20" fmla="*/ 225824 w 448056"/>
                <a:gd name="connsiteY20" fmla="*/ 169495 h 342296"/>
                <a:gd name="connsiteX21" fmla="*/ 210012 w 448056"/>
                <a:gd name="connsiteY21" fmla="*/ 169495 h 342296"/>
                <a:gd name="connsiteX22" fmla="*/ 210012 w 448056"/>
                <a:gd name="connsiteY22" fmla="*/ 291034 h 342296"/>
                <a:gd name="connsiteX23" fmla="*/ 188618 w 448056"/>
                <a:gd name="connsiteY23" fmla="*/ 291034 h 342296"/>
                <a:gd name="connsiteX24" fmla="*/ 188618 w 448056"/>
                <a:gd name="connsiteY24" fmla="*/ 205318 h 342296"/>
                <a:gd name="connsiteX25" fmla="*/ 172805 w 448056"/>
                <a:gd name="connsiteY25" fmla="*/ 205318 h 342296"/>
                <a:gd name="connsiteX26" fmla="*/ 172805 w 448056"/>
                <a:gd name="connsiteY26" fmla="*/ 291034 h 342296"/>
                <a:gd name="connsiteX27" fmla="*/ 150263 w 448056"/>
                <a:gd name="connsiteY27" fmla="*/ 291034 h 342296"/>
                <a:gd name="connsiteX28" fmla="*/ 362452 w 448056"/>
                <a:gd name="connsiteY28" fmla="*/ 71404 h 342296"/>
                <a:gd name="connsiteX29" fmla="*/ 347879 w 448056"/>
                <a:gd name="connsiteY29" fmla="*/ 85976 h 342296"/>
                <a:gd name="connsiteX30" fmla="*/ 362452 w 448056"/>
                <a:gd name="connsiteY30" fmla="*/ 100549 h 342296"/>
                <a:gd name="connsiteX31" fmla="*/ 377024 w 448056"/>
                <a:gd name="connsiteY31" fmla="*/ 85976 h 342296"/>
                <a:gd name="connsiteX32" fmla="*/ 362452 w 448056"/>
                <a:gd name="connsiteY32" fmla="*/ 71404 h 342296"/>
                <a:gd name="connsiteX33" fmla="*/ 302256 w 448056"/>
                <a:gd name="connsiteY33" fmla="*/ 71404 h 342296"/>
                <a:gd name="connsiteX34" fmla="*/ 287684 w 448056"/>
                <a:gd name="connsiteY34" fmla="*/ 85976 h 342296"/>
                <a:gd name="connsiteX35" fmla="*/ 302256 w 448056"/>
                <a:gd name="connsiteY35" fmla="*/ 100549 h 342296"/>
                <a:gd name="connsiteX36" fmla="*/ 316828 w 448056"/>
                <a:gd name="connsiteY36" fmla="*/ 85976 h 342296"/>
                <a:gd name="connsiteX37" fmla="*/ 302256 w 448056"/>
                <a:gd name="connsiteY37" fmla="*/ 71404 h 342296"/>
                <a:gd name="connsiteX38" fmla="*/ 242060 w 448056"/>
                <a:gd name="connsiteY38" fmla="*/ 71404 h 342296"/>
                <a:gd name="connsiteX39" fmla="*/ 227488 w 448056"/>
                <a:gd name="connsiteY39" fmla="*/ 85976 h 342296"/>
                <a:gd name="connsiteX40" fmla="*/ 242060 w 448056"/>
                <a:gd name="connsiteY40" fmla="*/ 100549 h 342296"/>
                <a:gd name="connsiteX41" fmla="*/ 256632 w 448056"/>
                <a:gd name="connsiteY41" fmla="*/ 85976 h 342296"/>
                <a:gd name="connsiteX42" fmla="*/ 242060 w 448056"/>
                <a:gd name="connsiteY42" fmla="*/ 71404 h 342296"/>
                <a:gd name="connsiteX43" fmla="*/ 181864 w 448056"/>
                <a:gd name="connsiteY43" fmla="*/ 71404 h 342296"/>
                <a:gd name="connsiteX44" fmla="*/ 167292 w 448056"/>
                <a:gd name="connsiteY44" fmla="*/ 85976 h 342296"/>
                <a:gd name="connsiteX45" fmla="*/ 181864 w 448056"/>
                <a:gd name="connsiteY45" fmla="*/ 100549 h 342296"/>
                <a:gd name="connsiteX46" fmla="*/ 196436 w 448056"/>
                <a:gd name="connsiteY46" fmla="*/ 85976 h 342296"/>
                <a:gd name="connsiteX47" fmla="*/ 181864 w 448056"/>
                <a:gd name="connsiteY47" fmla="*/ 71404 h 342296"/>
                <a:gd name="connsiteX48" fmla="*/ 50831 w 448056"/>
                <a:gd name="connsiteY48" fmla="*/ 56884 h 342296"/>
                <a:gd name="connsiteX49" fmla="*/ 124251 w 448056"/>
                <a:gd name="connsiteY49" fmla="*/ 56884 h 342296"/>
                <a:gd name="connsiteX50" fmla="*/ 124251 w 448056"/>
                <a:gd name="connsiteY50" fmla="*/ 291034 h 342296"/>
                <a:gd name="connsiteX51" fmla="*/ 50831 w 448056"/>
                <a:gd name="connsiteY51" fmla="*/ 291034 h 342296"/>
                <a:gd name="connsiteX52" fmla="*/ 150263 w 448056"/>
                <a:gd name="connsiteY52" fmla="*/ 56884 h 342296"/>
                <a:gd name="connsiteX53" fmla="*/ 392835 w 448056"/>
                <a:gd name="connsiteY53" fmla="*/ 56884 h 342296"/>
                <a:gd name="connsiteX54" fmla="*/ 392835 w 448056"/>
                <a:gd name="connsiteY54" fmla="*/ 115069 h 342296"/>
                <a:gd name="connsiteX55" fmla="*/ 150263 w 448056"/>
                <a:gd name="connsiteY55" fmla="*/ 115069 h 342296"/>
                <a:gd name="connsiteX56" fmla="*/ 44709 w 448056"/>
                <a:gd name="connsiteY56" fmla="*/ 28111 h 342296"/>
                <a:gd name="connsiteX57" fmla="*/ 25164 w 448056"/>
                <a:gd name="connsiteY57" fmla="*/ 47656 h 342296"/>
                <a:gd name="connsiteX58" fmla="*/ 25164 w 448056"/>
                <a:gd name="connsiteY58" fmla="*/ 294640 h 342296"/>
                <a:gd name="connsiteX59" fmla="*/ 44709 w 448056"/>
                <a:gd name="connsiteY59" fmla="*/ 314185 h 342296"/>
                <a:gd name="connsiteX60" fmla="*/ 403348 w 448056"/>
                <a:gd name="connsiteY60" fmla="*/ 314185 h 342296"/>
                <a:gd name="connsiteX61" fmla="*/ 422892 w 448056"/>
                <a:gd name="connsiteY61" fmla="*/ 294640 h 342296"/>
                <a:gd name="connsiteX62" fmla="*/ 422892 w 448056"/>
                <a:gd name="connsiteY62" fmla="*/ 47656 h 342296"/>
                <a:gd name="connsiteX63" fmla="*/ 403348 w 448056"/>
                <a:gd name="connsiteY63" fmla="*/ 28111 h 342296"/>
                <a:gd name="connsiteX64" fmla="*/ 47128 w 448056"/>
                <a:gd name="connsiteY64" fmla="*/ 0 h 342296"/>
                <a:gd name="connsiteX65" fmla="*/ 400929 w 448056"/>
                <a:gd name="connsiteY65" fmla="*/ 0 h 342296"/>
                <a:gd name="connsiteX66" fmla="*/ 448056 w 448056"/>
                <a:gd name="connsiteY66" fmla="*/ 47128 h 342296"/>
                <a:gd name="connsiteX67" fmla="*/ 448056 w 448056"/>
                <a:gd name="connsiteY67" fmla="*/ 295169 h 342296"/>
                <a:gd name="connsiteX68" fmla="*/ 400929 w 448056"/>
                <a:gd name="connsiteY68" fmla="*/ 342296 h 342296"/>
                <a:gd name="connsiteX69" fmla="*/ 47128 w 448056"/>
                <a:gd name="connsiteY69" fmla="*/ 342296 h 342296"/>
                <a:gd name="connsiteX70" fmla="*/ 0 w 448056"/>
                <a:gd name="connsiteY70" fmla="*/ 295169 h 342296"/>
                <a:gd name="connsiteX71" fmla="*/ 0 w 448056"/>
                <a:gd name="connsiteY71" fmla="*/ 47128 h 342296"/>
                <a:gd name="connsiteX72" fmla="*/ 47128 w 448056"/>
                <a:gd name="connsiteY72" fmla="*/ 0 h 34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448056" h="342296">
                  <a:moveTo>
                    <a:pt x="150263" y="146018"/>
                  </a:moveTo>
                  <a:lnTo>
                    <a:pt x="392835" y="146018"/>
                  </a:lnTo>
                  <a:lnTo>
                    <a:pt x="392835" y="291034"/>
                  </a:lnTo>
                  <a:lnTo>
                    <a:pt x="375392" y="291034"/>
                  </a:lnTo>
                  <a:lnTo>
                    <a:pt x="375392" y="181587"/>
                  </a:lnTo>
                  <a:lnTo>
                    <a:pt x="359580" y="181587"/>
                  </a:lnTo>
                  <a:lnTo>
                    <a:pt x="359580" y="291034"/>
                  </a:lnTo>
                  <a:lnTo>
                    <a:pt x="337190" y="291034"/>
                  </a:lnTo>
                  <a:lnTo>
                    <a:pt x="337190" y="217552"/>
                  </a:lnTo>
                  <a:lnTo>
                    <a:pt x="321377" y="217552"/>
                  </a:lnTo>
                  <a:lnTo>
                    <a:pt x="321377" y="291034"/>
                  </a:lnTo>
                  <a:lnTo>
                    <a:pt x="301127" y="291034"/>
                  </a:lnTo>
                  <a:lnTo>
                    <a:pt x="301127" y="205318"/>
                  </a:lnTo>
                  <a:lnTo>
                    <a:pt x="285314" y="205318"/>
                  </a:lnTo>
                  <a:lnTo>
                    <a:pt x="285314" y="291034"/>
                  </a:lnTo>
                  <a:lnTo>
                    <a:pt x="262597" y="291034"/>
                  </a:lnTo>
                  <a:lnTo>
                    <a:pt x="262597" y="251876"/>
                  </a:lnTo>
                  <a:lnTo>
                    <a:pt x="246784" y="251876"/>
                  </a:lnTo>
                  <a:lnTo>
                    <a:pt x="246784" y="291034"/>
                  </a:lnTo>
                  <a:lnTo>
                    <a:pt x="225824" y="291034"/>
                  </a:lnTo>
                  <a:lnTo>
                    <a:pt x="225824" y="169495"/>
                  </a:lnTo>
                  <a:lnTo>
                    <a:pt x="210012" y="169495"/>
                  </a:lnTo>
                  <a:lnTo>
                    <a:pt x="210012" y="291034"/>
                  </a:lnTo>
                  <a:lnTo>
                    <a:pt x="188618" y="291034"/>
                  </a:lnTo>
                  <a:lnTo>
                    <a:pt x="188618" y="205318"/>
                  </a:lnTo>
                  <a:lnTo>
                    <a:pt x="172805" y="205318"/>
                  </a:lnTo>
                  <a:lnTo>
                    <a:pt x="172805" y="291034"/>
                  </a:lnTo>
                  <a:lnTo>
                    <a:pt x="150263" y="291034"/>
                  </a:lnTo>
                  <a:close/>
                  <a:moveTo>
                    <a:pt x="362452" y="71404"/>
                  </a:moveTo>
                  <a:cubicBezTo>
                    <a:pt x="354404" y="71404"/>
                    <a:pt x="347879" y="77928"/>
                    <a:pt x="347879" y="85976"/>
                  </a:cubicBezTo>
                  <a:cubicBezTo>
                    <a:pt x="347879" y="94024"/>
                    <a:pt x="354404" y="100549"/>
                    <a:pt x="362452" y="100549"/>
                  </a:cubicBezTo>
                  <a:cubicBezTo>
                    <a:pt x="370500" y="100549"/>
                    <a:pt x="377024" y="94024"/>
                    <a:pt x="377024" y="85976"/>
                  </a:cubicBezTo>
                  <a:cubicBezTo>
                    <a:pt x="377024" y="77928"/>
                    <a:pt x="370500" y="71404"/>
                    <a:pt x="362452" y="71404"/>
                  </a:cubicBezTo>
                  <a:close/>
                  <a:moveTo>
                    <a:pt x="302256" y="71404"/>
                  </a:moveTo>
                  <a:cubicBezTo>
                    <a:pt x="294208" y="71404"/>
                    <a:pt x="287684" y="77928"/>
                    <a:pt x="287684" y="85976"/>
                  </a:cubicBezTo>
                  <a:cubicBezTo>
                    <a:pt x="287684" y="94024"/>
                    <a:pt x="294208" y="100549"/>
                    <a:pt x="302256" y="100549"/>
                  </a:cubicBezTo>
                  <a:cubicBezTo>
                    <a:pt x="310304" y="100549"/>
                    <a:pt x="316828" y="94024"/>
                    <a:pt x="316828" y="85976"/>
                  </a:cubicBezTo>
                  <a:cubicBezTo>
                    <a:pt x="316828" y="77928"/>
                    <a:pt x="310304" y="71404"/>
                    <a:pt x="302256" y="71404"/>
                  </a:cubicBezTo>
                  <a:close/>
                  <a:moveTo>
                    <a:pt x="242060" y="71404"/>
                  </a:moveTo>
                  <a:cubicBezTo>
                    <a:pt x="234012" y="71404"/>
                    <a:pt x="227488" y="77928"/>
                    <a:pt x="227488" y="85976"/>
                  </a:cubicBezTo>
                  <a:cubicBezTo>
                    <a:pt x="227488" y="94024"/>
                    <a:pt x="234012" y="100549"/>
                    <a:pt x="242060" y="100549"/>
                  </a:cubicBezTo>
                  <a:cubicBezTo>
                    <a:pt x="250108" y="100549"/>
                    <a:pt x="256632" y="94024"/>
                    <a:pt x="256632" y="85976"/>
                  </a:cubicBezTo>
                  <a:cubicBezTo>
                    <a:pt x="256632" y="77928"/>
                    <a:pt x="250108" y="71404"/>
                    <a:pt x="242060" y="71404"/>
                  </a:cubicBezTo>
                  <a:close/>
                  <a:moveTo>
                    <a:pt x="181864" y="71404"/>
                  </a:moveTo>
                  <a:cubicBezTo>
                    <a:pt x="173816" y="71404"/>
                    <a:pt x="167292" y="77928"/>
                    <a:pt x="167292" y="85976"/>
                  </a:cubicBezTo>
                  <a:cubicBezTo>
                    <a:pt x="167292" y="94024"/>
                    <a:pt x="173816" y="100549"/>
                    <a:pt x="181864" y="100549"/>
                  </a:cubicBezTo>
                  <a:cubicBezTo>
                    <a:pt x="189912" y="100549"/>
                    <a:pt x="196436" y="94024"/>
                    <a:pt x="196436" y="85976"/>
                  </a:cubicBezTo>
                  <a:cubicBezTo>
                    <a:pt x="196436" y="77928"/>
                    <a:pt x="189912" y="71404"/>
                    <a:pt x="181864" y="71404"/>
                  </a:cubicBezTo>
                  <a:close/>
                  <a:moveTo>
                    <a:pt x="50831" y="56884"/>
                  </a:moveTo>
                  <a:lnTo>
                    <a:pt x="124251" y="56884"/>
                  </a:lnTo>
                  <a:lnTo>
                    <a:pt x="124251" y="291034"/>
                  </a:lnTo>
                  <a:lnTo>
                    <a:pt x="50831" y="291034"/>
                  </a:lnTo>
                  <a:close/>
                  <a:moveTo>
                    <a:pt x="150263" y="56884"/>
                  </a:moveTo>
                  <a:lnTo>
                    <a:pt x="392835" y="56884"/>
                  </a:lnTo>
                  <a:lnTo>
                    <a:pt x="392835" y="115069"/>
                  </a:lnTo>
                  <a:lnTo>
                    <a:pt x="150263" y="115069"/>
                  </a:lnTo>
                  <a:close/>
                  <a:moveTo>
                    <a:pt x="44709" y="28111"/>
                  </a:moveTo>
                  <a:cubicBezTo>
                    <a:pt x="33915" y="28111"/>
                    <a:pt x="25164" y="36862"/>
                    <a:pt x="25164" y="47656"/>
                  </a:cubicBezTo>
                  <a:lnTo>
                    <a:pt x="25164" y="294640"/>
                  </a:lnTo>
                  <a:cubicBezTo>
                    <a:pt x="25164" y="305434"/>
                    <a:pt x="33915" y="314185"/>
                    <a:pt x="44709" y="314185"/>
                  </a:cubicBezTo>
                  <a:lnTo>
                    <a:pt x="403348" y="314185"/>
                  </a:lnTo>
                  <a:cubicBezTo>
                    <a:pt x="414142" y="314185"/>
                    <a:pt x="422892" y="305434"/>
                    <a:pt x="422892" y="294640"/>
                  </a:cubicBezTo>
                  <a:lnTo>
                    <a:pt x="422892" y="47656"/>
                  </a:lnTo>
                  <a:cubicBezTo>
                    <a:pt x="422892" y="36862"/>
                    <a:pt x="414142" y="28111"/>
                    <a:pt x="403348" y="28111"/>
                  </a:cubicBezTo>
                  <a:close/>
                  <a:moveTo>
                    <a:pt x="47128" y="0"/>
                  </a:moveTo>
                  <a:lnTo>
                    <a:pt x="400929" y="0"/>
                  </a:lnTo>
                  <a:cubicBezTo>
                    <a:pt x="426956" y="0"/>
                    <a:pt x="448056" y="21100"/>
                    <a:pt x="448056" y="47128"/>
                  </a:cubicBezTo>
                  <a:lnTo>
                    <a:pt x="448056" y="295169"/>
                  </a:lnTo>
                  <a:cubicBezTo>
                    <a:pt x="448056" y="321196"/>
                    <a:pt x="426956" y="342296"/>
                    <a:pt x="400929" y="342296"/>
                  </a:cubicBezTo>
                  <a:lnTo>
                    <a:pt x="47128" y="342296"/>
                  </a:lnTo>
                  <a:cubicBezTo>
                    <a:pt x="21100" y="342296"/>
                    <a:pt x="0" y="321196"/>
                    <a:pt x="0" y="295169"/>
                  </a:cubicBezTo>
                  <a:lnTo>
                    <a:pt x="0" y="47128"/>
                  </a:lnTo>
                  <a:cubicBezTo>
                    <a:pt x="0" y="21100"/>
                    <a:pt x="21100" y="0"/>
                    <a:pt x="47128" y="0"/>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8" name="Biztalk Services Icon"/>
            <p:cNvSpPr>
              <a:spLocks noChangeAspect="1"/>
            </p:cNvSpPr>
            <p:nvPr/>
          </p:nvSpPr>
          <p:spPr bwMode="auto">
            <a:xfrm>
              <a:off x="2479897" y="5684552"/>
              <a:ext cx="948990" cy="920589"/>
            </a:xfrm>
            <a:custGeom>
              <a:avLst/>
              <a:gdLst>
                <a:gd name="connsiteX0" fmla="*/ 1673975 w 3309434"/>
                <a:gd name="connsiteY0" fmla="*/ 1257349 h 3210388"/>
                <a:gd name="connsiteX1" fmla="*/ 1954745 w 3309434"/>
                <a:gd name="connsiteY1" fmla="*/ 1538119 h 3210388"/>
                <a:gd name="connsiteX2" fmla="*/ 1673975 w 3309434"/>
                <a:gd name="connsiteY2" fmla="*/ 1818889 h 3210388"/>
                <a:gd name="connsiteX3" fmla="*/ 1393205 w 3309434"/>
                <a:gd name="connsiteY3" fmla="*/ 1538119 h 3210388"/>
                <a:gd name="connsiteX4" fmla="*/ 1673975 w 3309434"/>
                <a:gd name="connsiteY4" fmla="*/ 1257349 h 3210388"/>
                <a:gd name="connsiteX5" fmla="*/ 2106918 w 3309434"/>
                <a:gd name="connsiteY5" fmla="*/ 0 h 3210388"/>
                <a:gd name="connsiteX6" fmla="*/ 2884238 w 3309434"/>
                <a:gd name="connsiteY6" fmla="*/ 777320 h 3210388"/>
                <a:gd name="connsiteX7" fmla="*/ 2854173 w 3309434"/>
                <a:gd name="connsiteY7" fmla="*/ 979964 h 3210388"/>
                <a:gd name="connsiteX8" fmla="*/ 3309434 w 3309434"/>
                <a:gd name="connsiteY8" fmla="*/ 1598558 h 3210388"/>
                <a:gd name="connsiteX9" fmla="*/ 2649521 w 3309434"/>
                <a:gd name="connsiteY9" fmla="*/ 2258471 h 3210388"/>
                <a:gd name="connsiteX10" fmla="*/ 2649501 w 3309434"/>
                <a:gd name="connsiteY10" fmla="*/ 2258467 h 3210388"/>
                <a:gd name="connsiteX11" fmla="*/ 1763246 w 3309434"/>
                <a:gd name="connsiteY11" fmla="*/ 2258467 h 3210388"/>
                <a:gd name="connsiteX12" fmla="*/ 1763246 w 3309434"/>
                <a:gd name="connsiteY12" fmla="*/ 2015630 h 3210388"/>
                <a:gd name="connsiteX13" fmla="*/ 1772024 w 3309434"/>
                <a:gd name="connsiteY13" fmla="*/ 2014745 h 3210388"/>
                <a:gd name="connsiteX14" fmla="*/ 2017990 w 3309434"/>
                <a:gd name="connsiteY14" fmla="*/ 1882134 h 3210388"/>
                <a:gd name="connsiteX15" fmla="*/ 2052965 w 3309434"/>
                <a:gd name="connsiteY15" fmla="*/ 1839743 h 3210388"/>
                <a:gd name="connsiteX16" fmla="*/ 2317440 w 3309434"/>
                <a:gd name="connsiteY16" fmla="*/ 1992438 h 3210388"/>
                <a:gd name="connsiteX17" fmla="*/ 2236929 w 3309434"/>
                <a:gd name="connsiteY17" fmla="*/ 2131887 h 3210388"/>
                <a:gd name="connsiteX18" fmla="*/ 2574490 w 3309434"/>
                <a:gd name="connsiteY18" fmla="*/ 2048736 h 3210388"/>
                <a:gd name="connsiteX19" fmla="*/ 2477721 w 3309434"/>
                <a:gd name="connsiteY19" fmla="*/ 1714823 h 3210388"/>
                <a:gd name="connsiteX20" fmla="*/ 2397210 w 3309434"/>
                <a:gd name="connsiteY20" fmla="*/ 1854272 h 3210388"/>
                <a:gd name="connsiteX21" fmla="*/ 2130667 w 3309434"/>
                <a:gd name="connsiteY21" fmla="*/ 1700384 h 3210388"/>
                <a:gd name="connsiteX22" fmla="*/ 2150601 w 3309434"/>
                <a:gd name="connsiteY22" fmla="*/ 1636168 h 3210388"/>
                <a:gd name="connsiteX23" fmla="*/ 2160485 w 3309434"/>
                <a:gd name="connsiteY23" fmla="*/ 1538119 h 3210388"/>
                <a:gd name="connsiteX24" fmla="*/ 2150601 w 3309434"/>
                <a:gd name="connsiteY24" fmla="*/ 1440071 h 3210388"/>
                <a:gd name="connsiteX25" fmla="*/ 2127329 w 3309434"/>
                <a:gd name="connsiteY25" fmla="*/ 1365100 h 3210388"/>
                <a:gd name="connsiteX26" fmla="*/ 2398569 w 3309434"/>
                <a:gd name="connsiteY26" fmla="*/ 1208499 h 3210388"/>
                <a:gd name="connsiteX27" fmla="*/ 2479080 w 3309434"/>
                <a:gd name="connsiteY27" fmla="*/ 1347948 h 3210388"/>
                <a:gd name="connsiteX28" fmla="*/ 2575849 w 3309434"/>
                <a:gd name="connsiteY28" fmla="*/ 1014036 h 3210388"/>
                <a:gd name="connsiteX29" fmla="*/ 2238288 w 3309434"/>
                <a:gd name="connsiteY29" fmla="*/ 930884 h 3210388"/>
                <a:gd name="connsiteX30" fmla="*/ 2318799 w 3309434"/>
                <a:gd name="connsiteY30" fmla="*/ 1070333 h 3210388"/>
                <a:gd name="connsiteX31" fmla="*/ 2045877 w 3309434"/>
                <a:gd name="connsiteY31" fmla="*/ 1227905 h 3210388"/>
                <a:gd name="connsiteX32" fmla="*/ 2017990 w 3309434"/>
                <a:gd name="connsiteY32" fmla="*/ 1194105 h 3210388"/>
                <a:gd name="connsiteX33" fmla="*/ 1772024 w 3309434"/>
                <a:gd name="connsiteY33" fmla="*/ 1061493 h 3210388"/>
                <a:gd name="connsiteX34" fmla="*/ 1748359 w 3309434"/>
                <a:gd name="connsiteY34" fmla="*/ 1059108 h 3210388"/>
                <a:gd name="connsiteX35" fmla="*/ 1748359 w 3309434"/>
                <a:gd name="connsiteY35" fmla="*/ 766561 h 3210388"/>
                <a:gd name="connsiteX36" fmla="*/ 1909381 w 3309434"/>
                <a:gd name="connsiteY36" fmla="*/ 766561 h 3210388"/>
                <a:gd name="connsiteX37" fmla="*/ 1668589 w 3309434"/>
                <a:gd name="connsiteY37" fmla="*/ 515800 h 3210388"/>
                <a:gd name="connsiteX38" fmla="*/ 1427797 w 3309434"/>
                <a:gd name="connsiteY38" fmla="*/ 766561 h 3210388"/>
                <a:gd name="connsiteX39" fmla="*/ 1588819 w 3309434"/>
                <a:gd name="connsiteY39" fmla="*/ 766561 h 3210388"/>
                <a:gd name="connsiteX40" fmla="*/ 1588819 w 3309434"/>
                <a:gd name="connsiteY40" fmla="*/ 1060194 h 3210388"/>
                <a:gd name="connsiteX41" fmla="*/ 1575927 w 3309434"/>
                <a:gd name="connsiteY41" fmla="*/ 1061493 h 3210388"/>
                <a:gd name="connsiteX42" fmla="*/ 1329960 w 3309434"/>
                <a:gd name="connsiteY42" fmla="*/ 1194105 h 3210388"/>
                <a:gd name="connsiteX43" fmla="*/ 1287232 w 3309434"/>
                <a:gd name="connsiteY43" fmla="*/ 1245892 h 3210388"/>
                <a:gd name="connsiteX44" fmla="*/ 1026832 w 3309434"/>
                <a:gd name="connsiteY44" fmla="*/ 1095549 h 3210388"/>
                <a:gd name="connsiteX45" fmla="*/ 1107343 w 3309434"/>
                <a:gd name="connsiteY45" fmla="*/ 956100 h 3210388"/>
                <a:gd name="connsiteX46" fmla="*/ 769782 w 3309434"/>
                <a:gd name="connsiteY46" fmla="*/ 1039252 h 3210388"/>
                <a:gd name="connsiteX47" fmla="*/ 866551 w 3309434"/>
                <a:gd name="connsiteY47" fmla="*/ 1373164 h 3210388"/>
                <a:gd name="connsiteX48" fmla="*/ 947062 w 3309434"/>
                <a:gd name="connsiteY48" fmla="*/ 1233715 h 3210388"/>
                <a:gd name="connsiteX49" fmla="*/ 1213631 w 3309434"/>
                <a:gd name="connsiteY49" fmla="*/ 1387619 h 3210388"/>
                <a:gd name="connsiteX50" fmla="*/ 1197349 w 3309434"/>
                <a:gd name="connsiteY50" fmla="*/ 1440071 h 3210388"/>
                <a:gd name="connsiteX51" fmla="*/ 1187465 w 3309434"/>
                <a:gd name="connsiteY51" fmla="*/ 1538119 h 3210388"/>
                <a:gd name="connsiteX52" fmla="*/ 1197349 w 3309434"/>
                <a:gd name="connsiteY52" fmla="*/ 1636168 h 3210388"/>
                <a:gd name="connsiteX53" fmla="*/ 1222347 w 3309434"/>
                <a:gd name="connsiteY53" fmla="*/ 1716700 h 3210388"/>
                <a:gd name="connsiteX54" fmla="*/ 968458 w 3309434"/>
                <a:gd name="connsiteY54" fmla="*/ 1863283 h 3210388"/>
                <a:gd name="connsiteX55" fmla="*/ 887947 w 3309434"/>
                <a:gd name="connsiteY55" fmla="*/ 1723834 h 3210388"/>
                <a:gd name="connsiteX56" fmla="*/ 791178 w 3309434"/>
                <a:gd name="connsiteY56" fmla="*/ 2057747 h 3210388"/>
                <a:gd name="connsiteX57" fmla="*/ 1128739 w 3309434"/>
                <a:gd name="connsiteY57" fmla="*/ 2140898 h 3210388"/>
                <a:gd name="connsiteX58" fmla="*/ 1048228 w 3309434"/>
                <a:gd name="connsiteY58" fmla="*/ 2001449 h 3210388"/>
                <a:gd name="connsiteX59" fmla="*/ 1305738 w 3309434"/>
                <a:gd name="connsiteY59" fmla="*/ 1852776 h 3210388"/>
                <a:gd name="connsiteX60" fmla="*/ 1329960 w 3309434"/>
                <a:gd name="connsiteY60" fmla="*/ 1882134 h 3210388"/>
                <a:gd name="connsiteX61" fmla="*/ 1575927 w 3309434"/>
                <a:gd name="connsiteY61" fmla="*/ 2014745 h 3210388"/>
                <a:gd name="connsiteX62" fmla="*/ 1583476 w 3309434"/>
                <a:gd name="connsiteY62" fmla="*/ 2015506 h 3210388"/>
                <a:gd name="connsiteX63" fmla="*/ 1583476 w 3309434"/>
                <a:gd name="connsiteY63" fmla="*/ 2257267 h 3210388"/>
                <a:gd name="connsiteX64" fmla="*/ 1758474 w 3309434"/>
                <a:gd name="connsiteY64" fmla="*/ 2257267 h 3210388"/>
                <a:gd name="connsiteX65" fmla="*/ 1758474 w 3309434"/>
                <a:gd name="connsiteY65" fmla="*/ 2692027 h 3210388"/>
                <a:gd name="connsiteX66" fmla="*/ 1772705 w 3309434"/>
                <a:gd name="connsiteY66" fmla="*/ 2696444 h 3210388"/>
                <a:gd name="connsiteX67" fmla="*/ 1936071 w 3309434"/>
                <a:gd name="connsiteY67" fmla="*/ 2942906 h 3210388"/>
                <a:gd name="connsiteX68" fmla="*/ 1668589 w 3309434"/>
                <a:gd name="connsiteY68" fmla="*/ 3210388 h 3210388"/>
                <a:gd name="connsiteX69" fmla="*/ 1401107 w 3309434"/>
                <a:gd name="connsiteY69" fmla="*/ 2942906 h 3210388"/>
                <a:gd name="connsiteX70" fmla="*/ 1564473 w 3309434"/>
                <a:gd name="connsiteY70" fmla="*/ 2696444 h 3210388"/>
                <a:gd name="connsiteX71" fmla="*/ 1578704 w 3309434"/>
                <a:gd name="connsiteY71" fmla="*/ 2692027 h 3210388"/>
                <a:gd name="connsiteX72" fmla="*/ 1578704 w 3309434"/>
                <a:gd name="connsiteY72" fmla="*/ 2258467 h 3210388"/>
                <a:gd name="connsiteX73" fmla="*/ 659954 w 3309434"/>
                <a:gd name="connsiteY73" fmla="*/ 2258467 h 3210388"/>
                <a:gd name="connsiteX74" fmla="*/ 659913 w 3309434"/>
                <a:gd name="connsiteY74" fmla="*/ 2258475 h 3210388"/>
                <a:gd name="connsiteX75" fmla="*/ 0 w 3309434"/>
                <a:gd name="connsiteY75" fmla="*/ 1598563 h 3210388"/>
                <a:gd name="connsiteX76" fmla="*/ 453504 w 3309434"/>
                <a:gd name="connsiteY76" fmla="*/ 980322 h 3210388"/>
                <a:gd name="connsiteX77" fmla="*/ 420413 w 3309434"/>
                <a:gd name="connsiteY77" fmla="*/ 816422 h 3210388"/>
                <a:gd name="connsiteX78" fmla="*/ 962984 w 3309434"/>
                <a:gd name="connsiteY78" fmla="*/ 273851 h 3210388"/>
                <a:gd name="connsiteX79" fmla="*/ 1385721 w 3309434"/>
                <a:gd name="connsiteY79" fmla="*/ 490734 h 3210388"/>
                <a:gd name="connsiteX80" fmla="*/ 2106918 w 3309434"/>
                <a:gd name="connsiteY80" fmla="*/ 0 h 3210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3309434" h="3210388">
                  <a:moveTo>
                    <a:pt x="1673975" y="1257349"/>
                  </a:moveTo>
                  <a:cubicBezTo>
                    <a:pt x="1829040" y="1257349"/>
                    <a:pt x="1954745" y="1383054"/>
                    <a:pt x="1954745" y="1538119"/>
                  </a:cubicBezTo>
                  <a:cubicBezTo>
                    <a:pt x="1954745" y="1693184"/>
                    <a:pt x="1829040" y="1818889"/>
                    <a:pt x="1673975" y="1818889"/>
                  </a:cubicBezTo>
                  <a:cubicBezTo>
                    <a:pt x="1518910" y="1818889"/>
                    <a:pt x="1393205" y="1693184"/>
                    <a:pt x="1393205" y="1538119"/>
                  </a:cubicBezTo>
                  <a:cubicBezTo>
                    <a:pt x="1393205" y="1383054"/>
                    <a:pt x="1518910" y="1257349"/>
                    <a:pt x="1673975" y="1257349"/>
                  </a:cubicBezTo>
                  <a:close/>
                  <a:moveTo>
                    <a:pt x="2106918" y="0"/>
                  </a:moveTo>
                  <a:cubicBezTo>
                    <a:pt x="2536219" y="0"/>
                    <a:pt x="2884238" y="348019"/>
                    <a:pt x="2884238" y="777320"/>
                  </a:cubicBezTo>
                  <a:cubicBezTo>
                    <a:pt x="2884238" y="847731"/>
                    <a:pt x="2874877" y="915954"/>
                    <a:pt x="2854173" y="979964"/>
                  </a:cubicBezTo>
                  <a:cubicBezTo>
                    <a:pt x="3119739" y="1058796"/>
                    <a:pt x="3309434" y="1306528"/>
                    <a:pt x="3309434" y="1598558"/>
                  </a:cubicBezTo>
                  <a:cubicBezTo>
                    <a:pt x="3309434" y="1963016"/>
                    <a:pt x="3013979" y="2258471"/>
                    <a:pt x="2649521" y="2258471"/>
                  </a:cubicBezTo>
                  <a:lnTo>
                    <a:pt x="2649501" y="2258467"/>
                  </a:lnTo>
                  <a:lnTo>
                    <a:pt x="1763246" y="2258467"/>
                  </a:lnTo>
                  <a:lnTo>
                    <a:pt x="1763246" y="2015630"/>
                  </a:lnTo>
                  <a:lnTo>
                    <a:pt x="1772024" y="2014745"/>
                  </a:lnTo>
                  <a:cubicBezTo>
                    <a:pt x="1867036" y="1995303"/>
                    <a:pt x="1951959" y="1948165"/>
                    <a:pt x="2017990" y="1882134"/>
                  </a:cubicBezTo>
                  <a:lnTo>
                    <a:pt x="2052965" y="1839743"/>
                  </a:lnTo>
                  <a:lnTo>
                    <a:pt x="2317440" y="1992438"/>
                  </a:lnTo>
                  <a:lnTo>
                    <a:pt x="2236929" y="2131887"/>
                  </a:lnTo>
                  <a:lnTo>
                    <a:pt x="2574490" y="2048736"/>
                  </a:lnTo>
                  <a:lnTo>
                    <a:pt x="2477721" y="1714823"/>
                  </a:lnTo>
                  <a:lnTo>
                    <a:pt x="2397210" y="1854272"/>
                  </a:lnTo>
                  <a:lnTo>
                    <a:pt x="2130667" y="1700384"/>
                  </a:lnTo>
                  <a:lnTo>
                    <a:pt x="2150601" y="1636168"/>
                  </a:lnTo>
                  <a:cubicBezTo>
                    <a:pt x="2157082" y="1604497"/>
                    <a:pt x="2160485" y="1571706"/>
                    <a:pt x="2160485" y="1538119"/>
                  </a:cubicBezTo>
                  <a:cubicBezTo>
                    <a:pt x="2160485" y="1504533"/>
                    <a:pt x="2157082" y="1471741"/>
                    <a:pt x="2150601" y="1440071"/>
                  </a:cubicBezTo>
                  <a:lnTo>
                    <a:pt x="2127329" y="1365100"/>
                  </a:lnTo>
                  <a:lnTo>
                    <a:pt x="2398569" y="1208499"/>
                  </a:lnTo>
                  <a:lnTo>
                    <a:pt x="2479080" y="1347948"/>
                  </a:lnTo>
                  <a:lnTo>
                    <a:pt x="2575849" y="1014036"/>
                  </a:lnTo>
                  <a:lnTo>
                    <a:pt x="2238288" y="930884"/>
                  </a:lnTo>
                  <a:lnTo>
                    <a:pt x="2318799" y="1070333"/>
                  </a:lnTo>
                  <a:lnTo>
                    <a:pt x="2045877" y="1227905"/>
                  </a:lnTo>
                  <a:lnTo>
                    <a:pt x="2017990" y="1194105"/>
                  </a:lnTo>
                  <a:cubicBezTo>
                    <a:pt x="1951959" y="1128074"/>
                    <a:pt x="1867036" y="1080936"/>
                    <a:pt x="1772024" y="1061493"/>
                  </a:cubicBezTo>
                  <a:lnTo>
                    <a:pt x="1748359" y="1059108"/>
                  </a:lnTo>
                  <a:lnTo>
                    <a:pt x="1748359" y="766561"/>
                  </a:lnTo>
                  <a:lnTo>
                    <a:pt x="1909381" y="766561"/>
                  </a:lnTo>
                  <a:lnTo>
                    <a:pt x="1668589" y="515800"/>
                  </a:lnTo>
                  <a:lnTo>
                    <a:pt x="1427797" y="766561"/>
                  </a:lnTo>
                  <a:lnTo>
                    <a:pt x="1588819" y="766561"/>
                  </a:lnTo>
                  <a:lnTo>
                    <a:pt x="1588819" y="1060194"/>
                  </a:lnTo>
                  <a:lnTo>
                    <a:pt x="1575927" y="1061493"/>
                  </a:lnTo>
                  <a:cubicBezTo>
                    <a:pt x="1480915" y="1080936"/>
                    <a:pt x="1395991" y="1128074"/>
                    <a:pt x="1329960" y="1194105"/>
                  </a:cubicBezTo>
                  <a:lnTo>
                    <a:pt x="1287232" y="1245892"/>
                  </a:lnTo>
                  <a:lnTo>
                    <a:pt x="1026832" y="1095549"/>
                  </a:lnTo>
                  <a:lnTo>
                    <a:pt x="1107343" y="956100"/>
                  </a:lnTo>
                  <a:lnTo>
                    <a:pt x="769782" y="1039252"/>
                  </a:lnTo>
                  <a:lnTo>
                    <a:pt x="866551" y="1373164"/>
                  </a:lnTo>
                  <a:lnTo>
                    <a:pt x="947062" y="1233715"/>
                  </a:lnTo>
                  <a:lnTo>
                    <a:pt x="1213631" y="1387619"/>
                  </a:lnTo>
                  <a:lnTo>
                    <a:pt x="1197349" y="1440071"/>
                  </a:lnTo>
                  <a:cubicBezTo>
                    <a:pt x="1190868" y="1471741"/>
                    <a:pt x="1187465" y="1504533"/>
                    <a:pt x="1187465" y="1538119"/>
                  </a:cubicBezTo>
                  <a:cubicBezTo>
                    <a:pt x="1187465" y="1571706"/>
                    <a:pt x="1190868" y="1604497"/>
                    <a:pt x="1197349" y="1636168"/>
                  </a:cubicBezTo>
                  <a:lnTo>
                    <a:pt x="1222347" y="1716700"/>
                  </a:lnTo>
                  <a:lnTo>
                    <a:pt x="968458" y="1863283"/>
                  </a:lnTo>
                  <a:lnTo>
                    <a:pt x="887947" y="1723834"/>
                  </a:lnTo>
                  <a:lnTo>
                    <a:pt x="791178" y="2057747"/>
                  </a:lnTo>
                  <a:lnTo>
                    <a:pt x="1128739" y="2140898"/>
                  </a:lnTo>
                  <a:lnTo>
                    <a:pt x="1048228" y="2001449"/>
                  </a:lnTo>
                  <a:lnTo>
                    <a:pt x="1305738" y="1852776"/>
                  </a:lnTo>
                  <a:lnTo>
                    <a:pt x="1329960" y="1882134"/>
                  </a:lnTo>
                  <a:cubicBezTo>
                    <a:pt x="1395991" y="1948165"/>
                    <a:pt x="1480915" y="1995303"/>
                    <a:pt x="1575927" y="2014745"/>
                  </a:cubicBezTo>
                  <a:lnTo>
                    <a:pt x="1583476" y="2015506"/>
                  </a:lnTo>
                  <a:lnTo>
                    <a:pt x="1583476" y="2257267"/>
                  </a:lnTo>
                  <a:lnTo>
                    <a:pt x="1758474" y="2257267"/>
                  </a:lnTo>
                  <a:lnTo>
                    <a:pt x="1758474" y="2692027"/>
                  </a:lnTo>
                  <a:lnTo>
                    <a:pt x="1772705" y="2696444"/>
                  </a:lnTo>
                  <a:cubicBezTo>
                    <a:pt x="1868709" y="2737050"/>
                    <a:pt x="1936071" y="2832112"/>
                    <a:pt x="1936071" y="2942906"/>
                  </a:cubicBezTo>
                  <a:cubicBezTo>
                    <a:pt x="1936071" y="3090632"/>
                    <a:pt x="1816315" y="3210388"/>
                    <a:pt x="1668589" y="3210388"/>
                  </a:cubicBezTo>
                  <a:cubicBezTo>
                    <a:pt x="1520863" y="3210388"/>
                    <a:pt x="1401107" y="3090632"/>
                    <a:pt x="1401107" y="2942906"/>
                  </a:cubicBezTo>
                  <a:cubicBezTo>
                    <a:pt x="1401107" y="2832112"/>
                    <a:pt x="1468470" y="2737050"/>
                    <a:pt x="1564473" y="2696444"/>
                  </a:cubicBezTo>
                  <a:lnTo>
                    <a:pt x="1578704" y="2692027"/>
                  </a:lnTo>
                  <a:lnTo>
                    <a:pt x="1578704" y="2258467"/>
                  </a:lnTo>
                  <a:lnTo>
                    <a:pt x="659954" y="2258467"/>
                  </a:lnTo>
                  <a:cubicBezTo>
                    <a:pt x="659942" y="2258475"/>
                    <a:pt x="659925" y="2258475"/>
                    <a:pt x="659913" y="2258475"/>
                  </a:cubicBezTo>
                  <a:cubicBezTo>
                    <a:pt x="295455" y="2258475"/>
                    <a:pt x="0" y="1963020"/>
                    <a:pt x="0" y="1598563"/>
                  </a:cubicBezTo>
                  <a:cubicBezTo>
                    <a:pt x="0" y="1307168"/>
                    <a:pt x="188874" y="1059880"/>
                    <a:pt x="453504" y="980322"/>
                  </a:cubicBezTo>
                  <a:cubicBezTo>
                    <a:pt x="429507" y="930246"/>
                    <a:pt x="420413" y="874397"/>
                    <a:pt x="420413" y="816422"/>
                  </a:cubicBezTo>
                  <a:cubicBezTo>
                    <a:pt x="420413" y="516767"/>
                    <a:pt x="663329" y="273851"/>
                    <a:pt x="962984" y="273851"/>
                  </a:cubicBezTo>
                  <a:cubicBezTo>
                    <a:pt x="1137960" y="273851"/>
                    <a:pt x="1293591" y="356678"/>
                    <a:pt x="1385721" y="490734"/>
                  </a:cubicBezTo>
                  <a:cubicBezTo>
                    <a:pt x="1498567" y="203005"/>
                    <a:pt x="1779037" y="0"/>
                    <a:pt x="2106918" y="0"/>
                  </a:cubicBezTo>
                  <a:close/>
                </a:path>
              </a:pathLst>
            </a:cu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5720" tIns="45718" rIns="45720" bIns="45718"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5" name="Traffic Manager Icon"/>
            <p:cNvSpPr>
              <a:spLocks noChangeAspect="1"/>
            </p:cNvSpPr>
            <p:nvPr/>
          </p:nvSpPr>
          <p:spPr>
            <a:xfrm>
              <a:off x="402797" y="5720630"/>
              <a:ext cx="848432" cy="848432"/>
            </a:xfrm>
            <a:custGeom>
              <a:avLst/>
              <a:gdLst>
                <a:gd name="connsiteX0" fmla="*/ 619326 w 2114534"/>
                <a:gd name="connsiteY0" fmla="*/ 0 h 2114534"/>
                <a:gd name="connsiteX1" fmla="*/ 1495208 w 2114534"/>
                <a:gd name="connsiteY1" fmla="*/ 0 h 2114534"/>
                <a:gd name="connsiteX2" fmla="*/ 2114534 w 2114534"/>
                <a:gd name="connsiteY2" fmla="*/ 619326 h 2114534"/>
                <a:gd name="connsiteX3" fmla="*/ 2114534 w 2114534"/>
                <a:gd name="connsiteY3" fmla="*/ 1495208 h 2114534"/>
                <a:gd name="connsiteX4" fmla="*/ 2096995 w 2114534"/>
                <a:gd name="connsiteY4" fmla="*/ 1512747 h 2114534"/>
                <a:gd name="connsiteX5" fmla="*/ 1672823 w 2114534"/>
                <a:gd name="connsiteY5" fmla="*/ 1088575 h 2114534"/>
                <a:gd name="connsiteX6" fmla="*/ 1824272 w 2114534"/>
                <a:gd name="connsiteY6" fmla="*/ 937126 h 2114534"/>
                <a:gd name="connsiteX7" fmla="*/ 1345897 w 2114534"/>
                <a:gd name="connsiteY7" fmla="*/ 927641 h 2114534"/>
                <a:gd name="connsiteX8" fmla="*/ 1355382 w 2114534"/>
                <a:gd name="connsiteY8" fmla="*/ 1406016 h 2114534"/>
                <a:gd name="connsiteX9" fmla="*/ 1506831 w 2114534"/>
                <a:gd name="connsiteY9" fmla="*/ 1254567 h 2114534"/>
                <a:gd name="connsiteX10" fmla="*/ 1931003 w 2114534"/>
                <a:gd name="connsiteY10" fmla="*/ 1678739 h 2114534"/>
                <a:gd name="connsiteX11" fmla="*/ 1559272 w 2114534"/>
                <a:gd name="connsiteY11" fmla="*/ 2050471 h 2114534"/>
                <a:gd name="connsiteX12" fmla="*/ 920323 w 2114534"/>
                <a:gd name="connsiteY12" fmla="*/ 1411522 h 2114534"/>
                <a:gd name="connsiteX13" fmla="*/ 1026249 w 2114534"/>
                <a:gd name="connsiteY13" fmla="*/ 1305596 h 2114534"/>
                <a:gd name="connsiteX14" fmla="*/ 691664 w 2114534"/>
                <a:gd name="connsiteY14" fmla="*/ 1298962 h 2114534"/>
                <a:gd name="connsiteX15" fmla="*/ 698298 w 2114534"/>
                <a:gd name="connsiteY15" fmla="*/ 1633547 h 2114534"/>
                <a:gd name="connsiteX16" fmla="*/ 804224 w 2114534"/>
                <a:gd name="connsiteY16" fmla="*/ 1527621 h 2114534"/>
                <a:gd name="connsiteX17" fmla="*/ 1391138 w 2114534"/>
                <a:gd name="connsiteY17" fmla="*/ 2114534 h 2114534"/>
                <a:gd name="connsiteX18" fmla="*/ 619326 w 2114534"/>
                <a:gd name="connsiteY18" fmla="*/ 2114534 h 2114534"/>
                <a:gd name="connsiteX19" fmla="*/ 0 w 2114534"/>
                <a:gd name="connsiteY19" fmla="*/ 1495208 h 2114534"/>
                <a:gd name="connsiteX20" fmla="*/ 0 w 2114534"/>
                <a:gd name="connsiteY20" fmla="*/ 619326 h 2114534"/>
                <a:gd name="connsiteX21" fmla="*/ 215912 w 2114534"/>
                <a:gd name="connsiteY21" fmla="*/ 403415 h 2114534"/>
                <a:gd name="connsiteX22" fmla="*/ 707126 w 2114534"/>
                <a:gd name="connsiteY22" fmla="*/ 894629 h 2114534"/>
                <a:gd name="connsiteX23" fmla="*/ 482335 w 2114534"/>
                <a:gd name="connsiteY23" fmla="*/ 1119420 h 2114534"/>
                <a:gd name="connsiteX24" fmla="*/ 1192371 w 2114534"/>
                <a:gd name="connsiteY24" fmla="*/ 1133499 h 2114534"/>
                <a:gd name="connsiteX25" fmla="*/ 1178292 w 2114534"/>
                <a:gd name="connsiteY25" fmla="*/ 423462 h 2114534"/>
                <a:gd name="connsiteX26" fmla="*/ 953501 w 2114534"/>
                <a:gd name="connsiteY26" fmla="*/ 648253 h 2114534"/>
                <a:gd name="connsiteX27" fmla="*/ 462287 w 2114534"/>
                <a:gd name="connsiteY27" fmla="*/ 157039 h 2114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14534" h="2114534">
                  <a:moveTo>
                    <a:pt x="619326" y="0"/>
                  </a:moveTo>
                  <a:lnTo>
                    <a:pt x="1495208" y="0"/>
                  </a:lnTo>
                  <a:lnTo>
                    <a:pt x="2114534" y="619326"/>
                  </a:lnTo>
                  <a:lnTo>
                    <a:pt x="2114534" y="1495208"/>
                  </a:lnTo>
                  <a:lnTo>
                    <a:pt x="2096995" y="1512747"/>
                  </a:lnTo>
                  <a:lnTo>
                    <a:pt x="1672823" y="1088575"/>
                  </a:lnTo>
                  <a:lnTo>
                    <a:pt x="1824272" y="937126"/>
                  </a:lnTo>
                  <a:lnTo>
                    <a:pt x="1345897" y="927641"/>
                  </a:lnTo>
                  <a:lnTo>
                    <a:pt x="1355382" y="1406016"/>
                  </a:lnTo>
                  <a:lnTo>
                    <a:pt x="1506831" y="1254567"/>
                  </a:lnTo>
                  <a:lnTo>
                    <a:pt x="1931003" y="1678739"/>
                  </a:lnTo>
                  <a:lnTo>
                    <a:pt x="1559272" y="2050471"/>
                  </a:lnTo>
                  <a:lnTo>
                    <a:pt x="920323" y="1411522"/>
                  </a:lnTo>
                  <a:lnTo>
                    <a:pt x="1026249" y="1305596"/>
                  </a:lnTo>
                  <a:lnTo>
                    <a:pt x="691664" y="1298962"/>
                  </a:lnTo>
                  <a:lnTo>
                    <a:pt x="698298" y="1633547"/>
                  </a:lnTo>
                  <a:lnTo>
                    <a:pt x="804224" y="1527621"/>
                  </a:lnTo>
                  <a:lnTo>
                    <a:pt x="1391138" y="2114534"/>
                  </a:lnTo>
                  <a:lnTo>
                    <a:pt x="619326" y="2114534"/>
                  </a:lnTo>
                  <a:lnTo>
                    <a:pt x="0" y="1495208"/>
                  </a:lnTo>
                  <a:lnTo>
                    <a:pt x="0" y="619326"/>
                  </a:lnTo>
                  <a:lnTo>
                    <a:pt x="215912" y="403415"/>
                  </a:lnTo>
                  <a:lnTo>
                    <a:pt x="707126" y="894629"/>
                  </a:lnTo>
                  <a:lnTo>
                    <a:pt x="482335" y="1119420"/>
                  </a:lnTo>
                  <a:lnTo>
                    <a:pt x="1192371" y="1133499"/>
                  </a:lnTo>
                  <a:lnTo>
                    <a:pt x="1178292" y="423462"/>
                  </a:lnTo>
                  <a:lnTo>
                    <a:pt x="953501" y="648253"/>
                  </a:lnTo>
                  <a:lnTo>
                    <a:pt x="462287" y="157039"/>
                  </a:ln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grpSp>
      <p:grpSp>
        <p:nvGrpSpPr>
          <p:cNvPr id="23" name="Group 22"/>
          <p:cNvGrpSpPr/>
          <p:nvPr/>
        </p:nvGrpSpPr>
        <p:grpSpPr>
          <a:xfrm>
            <a:off x="419760" y="3903698"/>
            <a:ext cx="11215987" cy="927122"/>
            <a:chOff x="419760" y="3920979"/>
            <a:chExt cx="11215987" cy="927122"/>
          </a:xfrm>
        </p:grpSpPr>
        <p:sp>
          <p:nvSpPr>
            <p:cNvPr id="17" name="Networks Icon"/>
            <p:cNvSpPr>
              <a:spLocks noChangeAspect="1"/>
            </p:cNvSpPr>
            <p:nvPr/>
          </p:nvSpPr>
          <p:spPr>
            <a:xfrm>
              <a:off x="10684304" y="4120122"/>
              <a:ext cx="951443" cy="528836"/>
            </a:xfrm>
            <a:custGeom>
              <a:avLst/>
              <a:gdLst>
                <a:gd name="connsiteX0" fmla="*/ 1744898 w 2580805"/>
                <a:gd name="connsiteY0" fmla="*/ 547589 h 1434470"/>
                <a:gd name="connsiteX1" fmla="*/ 1914544 w 2580805"/>
                <a:gd name="connsiteY1" fmla="*/ 717233 h 1434470"/>
                <a:gd name="connsiteX2" fmla="*/ 1744898 w 2580805"/>
                <a:gd name="connsiteY2" fmla="*/ 886877 h 1434470"/>
                <a:gd name="connsiteX3" fmla="*/ 1575253 w 2580805"/>
                <a:gd name="connsiteY3" fmla="*/ 717233 h 1434470"/>
                <a:gd name="connsiteX4" fmla="*/ 1744898 w 2580805"/>
                <a:gd name="connsiteY4" fmla="*/ 547589 h 1434470"/>
                <a:gd name="connsiteX5" fmla="*/ 1290403 w 2580805"/>
                <a:gd name="connsiteY5" fmla="*/ 547589 h 1434470"/>
                <a:gd name="connsiteX6" fmla="*/ 1460047 w 2580805"/>
                <a:gd name="connsiteY6" fmla="*/ 717233 h 1434470"/>
                <a:gd name="connsiteX7" fmla="*/ 1290403 w 2580805"/>
                <a:gd name="connsiteY7" fmla="*/ 886877 h 1434470"/>
                <a:gd name="connsiteX8" fmla="*/ 1120757 w 2580805"/>
                <a:gd name="connsiteY8" fmla="*/ 717233 h 1434470"/>
                <a:gd name="connsiteX9" fmla="*/ 1290403 w 2580805"/>
                <a:gd name="connsiteY9" fmla="*/ 547589 h 1434470"/>
                <a:gd name="connsiteX10" fmla="*/ 835907 w 2580805"/>
                <a:gd name="connsiteY10" fmla="*/ 547589 h 1434470"/>
                <a:gd name="connsiteX11" fmla="*/ 1005551 w 2580805"/>
                <a:gd name="connsiteY11" fmla="*/ 717233 h 1434470"/>
                <a:gd name="connsiteX12" fmla="*/ 835906 w 2580805"/>
                <a:gd name="connsiteY12" fmla="*/ 886877 h 1434470"/>
                <a:gd name="connsiteX13" fmla="*/ 666261 w 2580805"/>
                <a:gd name="connsiteY13" fmla="*/ 717233 h 1434470"/>
                <a:gd name="connsiteX14" fmla="*/ 835907 w 2580805"/>
                <a:gd name="connsiteY14" fmla="*/ 547589 h 1434470"/>
                <a:gd name="connsiteX15" fmla="*/ 1863569 w 2580805"/>
                <a:gd name="connsiteY15" fmla="*/ 5 h 1434470"/>
                <a:gd name="connsiteX16" fmla="*/ 2580805 w 2580805"/>
                <a:gd name="connsiteY16" fmla="*/ 717241 h 1434470"/>
                <a:gd name="connsiteX17" fmla="*/ 1863576 w 2580805"/>
                <a:gd name="connsiteY17" fmla="*/ 1434470 h 1434470"/>
                <a:gd name="connsiteX18" fmla="*/ 1756750 w 2580805"/>
                <a:gd name="connsiteY18" fmla="*/ 1327645 h 1434470"/>
                <a:gd name="connsiteX19" fmla="*/ 2367165 w 2580805"/>
                <a:gd name="connsiteY19" fmla="*/ 717230 h 1434470"/>
                <a:gd name="connsiteX20" fmla="*/ 1756754 w 2580805"/>
                <a:gd name="connsiteY20" fmla="*/ 106819 h 1434470"/>
                <a:gd name="connsiteX21" fmla="*/ 717236 w 2580805"/>
                <a:gd name="connsiteY21" fmla="*/ 0 h 1434470"/>
                <a:gd name="connsiteX22" fmla="*/ 824051 w 2580805"/>
                <a:gd name="connsiteY22" fmla="*/ 106815 h 1434470"/>
                <a:gd name="connsiteX23" fmla="*/ 213640 w 2580805"/>
                <a:gd name="connsiteY23" fmla="*/ 717226 h 1434470"/>
                <a:gd name="connsiteX24" fmla="*/ 824054 w 2580805"/>
                <a:gd name="connsiteY24" fmla="*/ 1327640 h 1434470"/>
                <a:gd name="connsiteX25" fmla="*/ 717229 w 2580805"/>
                <a:gd name="connsiteY25" fmla="*/ 1434465 h 1434470"/>
                <a:gd name="connsiteX26" fmla="*/ 0 w 2580805"/>
                <a:gd name="connsiteY26" fmla="*/ 717236 h 1434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580805" h="1434470">
                  <a:moveTo>
                    <a:pt x="1744898" y="547589"/>
                  </a:moveTo>
                  <a:cubicBezTo>
                    <a:pt x="1838590" y="547589"/>
                    <a:pt x="1914543" y="623541"/>
                    <a:pt x="1914544" y="717233"/>
                  </a:cubicBezTo>
                  <a:cubicBezTo>
                    <a:pt x="1914543" y="810926"/>
                    <a:pt x="1838590" y="886877"/>
                    <a:pt x="1744898" y="886877"/>
                  </a:cubicBezTo>
                  <a:cubicBezTo>
                    <a:pt x="1651207" y="886877"/>
                    <a:pt x="1575253" y="810925"/>
                    <a:pt x="1575253" y="717233"/>
                  </a:cubicBezTo>
                  <a:cubicBezTo>
                    <a:pt x="1575253" y="623541"/>
                    <a:pt x="1651207" y="547589"/>
                    <a:pt x="1744898" y="547589"/>
                  </a:cubicBezTo>
                  <a:close/>
                  <a:moveTo>
                    <a:pt x="1290403" y="547589"/>
                  </a:moveTo>
                  <a:cubicBezTo>
                    <a:pt x="1384094" y="547589"/>
                    <a:pt x="1460047" y="623541"/>
                    <a:pt x="1460047" y="717233"/>
                  </a:cubicBezTo>
                  <a:cubicBezTo>
                    <a:pt x="1460047" y="810926"/>
                    <a:pt x="1384094" y="886877"/>
                    <a:pt x="1290403" y="886877"/>
                  </a:cubicBezTo>
                  <a:cubicBezTo>
                    <a:pt x="1196710" y="886877"/>
                    <a:pt x="1120757" y="810925"/>
                    <a:pt x="1120757" y="717233"/>
                  </a:cubicBezTo>
                  <a:cubicBezTo>
                    <a:pt x="1120757" y="623542"/>
                    <a:pt x="1196710" y="547589"/>
                    <a:pt x="1290403" y="547589"/>
                  </a:cubicBezTo>
                  <a:close/>
                  <a:moveTo>
                    <a:pt x="835907" y="547589"/>
                  </a:moveTo>
                  <a:cubicBezTo>
                    <a:pt x="929599" y="547589"/>
                    <a:pt x="1005552" y="623541"/>
                    <a:pt x="1005551" y="717233"/>
                  </a:cubicBezTo>
                  <a:cubicBezTo>
                    <a:pt x="1005551" y="810925"/>
                    <a:pt x="929599" y="886877"/>
                    <a:pt x="835906" y="886877"/>
                  </a:cubicBezTo>
                  <a:cubicBezTo>
                    <a:pt x="742214" y="886877"/>
                    <a:pt x="666261" y="810925"/>
                    <a:pt x="666261" y="717233"/>
                  </a:cubicBezTo>
                  <a:cubicBezTo>
                    <a:pt x="666261" y="623542"/>
                    <a:pt x="742214" y="547589"/>
                    <a:pt x="835907" y="547589"/>
                  </a:cubicBezTo>
                  <a:close/>
                  <a:moveTo>
                    <a:pt x="1863569" y="5"/>
                  </a:moveTo>
                  <a:lnTo>
                    <a:pt x="2580805" y="717241"/>
                  </a:lnTo>
                  <a:lnTo>
                    <a:pt x="1863576" y="1434470"/>
                  </a:lnTo>
                  <a:lnTo>
                    <a:pt x="1756750" y="1327645"/>
                  </a:lnTo>
                  <a:lnTo>
                    <a:pt x="2367165" y="717230"/>
                  </a:lnTo>
                  <a:lnTo>
                    <a:pt x="1756754" y="106819"/>
                  </a:lnTo>
                  <a:close/>
                  <a:moveTo>
                    <a:pt x="717236" y="0"/>
                  </a:moveTo>
                  <a:lnTo>
                    <a:pt x="824051" y="106815"/>
                  </a:lnTo>
                  <a:lnTo>
                    <a:pt x="213640" y="717226"/>
                  </a:lnTo>
                  <a:lnTo>
                    <a:pt x="824054" y="1327640"/>
                  </a:lnTo>
                  <a:lnTo>
                    <a:pt x="717229" y="1434465"/>
                  </a:lnTo>
                  <a:lnTo>
                    <a:pt x="0" y="717236"/>
                  </a:ln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11" name="Service Bus Icon"/>
            <p:cNvSpPr>
              <a:spLocks noChangeAspect="1"/>
            </p:cNvSpPr>
            <p:nvPr/>
          </p:nvSpPr>
          <p:spPr>
            <a:xfrm>
              <a:off x="419760" y="3920979"/>
              <a:ext cx="814506" cy="927122"/>
            </a:xfrm>
            <a:custGeom>
              <a:avLst/>
              <a:gdLst>
                <a:gd name="connsiteX0" fmla="*/ 109937 w 393631"/>
                <a:gd name="connsiteY0" fmla="*/ 255147 h 448056"/>
                <a:gd name="connsiteX1" fmla="*/ 159550 w 393631"/>
                <a:gd name="connsiteY1" fmla="*/ 255147 h 448056"/>
                <a:gd name="connsiteX2" fmla="*/ 159550 w 393631"/>
                <a:gd name="connsiteY2" fmla="*/ 356612 h 448056"/>
                <a:gd name="connsiteX3" fmla="*/ 193061 w 393631"/>
                <a:gd name="connsiteY3" fmla="*/ 356612 h 448056"/>
                <a:gd name="connsiteX4" fmla="*/ 134430 w 393631"/>
                <a:gd name="connsiteY4" fmla="*/ 448056 h 448056"/>
                <a:gd name="connsiteX5" fmla="*/ 75800 w 393631"/>
                <a:gd name="connsiteY5" fmla="*/ 356612 h 448056"/>
                <a:gd name="connsiteX6" fmla="*/ 109937 w 393631"/>
                <a:gd name="connsiteY6" fmla="*/ 356612 h 448056"/>
                <a:gd name="connsiteX7" fmla="*/ 85131 w 393631"/>
                <a:gd name="connsiteY7" fmla="*/ 207227 h 448056"/>
                <a:gd name="connsiteX8" fmla="*/ 197505 w 393631"/>
                <a:gd name="connsiteY8" fmla="*/ 207227 h 448056"/>
                <a:gd name="connsiteX9" fmla="*/ 197505 w 393631"/>
                <a:gd name="connsiteY9" fmla="*/ 233451 h 448056"/>
                <a:gd name="connsiteX10" fmla="*/ 85131 w 393631"/>
                <a:gd name="connsiteY10" fmla="*/ 233451 h 448056"/>
                <a:gd name="connsiteX11" fmla="*/ 85131 w 393631"/>
                <a:gd name="connsiteY11" fmla="*/ 170997 h 448056"/>
                <a:gd name="connsiteX12" fmla="*/ 197505 w 393631"/>
                <a:gd name="connsiteY12" fmla="*/ 170997 h 448056"/>
                <a:gd name="connsiteX13" fmla="*/ 197505 w 393631"/>
                <a:gd name="connsiteY13" fmla="*/ 197220 h 448056"/>
                <a:gd name="connsiteX14" fmla="*/ 85131 w 393631"/>
                <a:gd name="connsiteY14" fmla="*/ 197220 h 448056"/>
                <a:gd name="connsiteX15" fmla="*/ 85131 w 393631"/>
                <a:gd name="connsiteY15" fmla="*/ 134440 h 448056"/>
                <a:gd name="connsiteX16" fmla="*/ 197505 w 393631"/>
                <a:gd name="connsiteY16" fmla="*/ 134440 h 448056"/>
                <a:gd name="connsiteX17" fmla="*/ 197505 w 393631"/>
                <a:gd name="connsiteY17" fmla="*/ 160663 h 448056"/>
                <a:gd name="connsiteX18" fmla="*/ 85131 w 393631"/>
                <a:gd name="connsiteY18" fmla="*/ 160663 h 448056"/>
                <a:gd name="connsiteX19" fmla="*/ 184780 w 393631"/>
                <a:gd name="connsiteY19" fmla="*/ 33581 h 448056"/>
                <a:gd name="connsiteX20" fmla="*/ 306050 w 393631"/>
                <a:gd name="connsiteY20" fmla="*/ 165478 h 448056"/>
                <a:gd name="connsiteX21" fmla="*/ 306020 w 393631"/>
                <a:gd name="connsiteY21" fmla="*/ 182421 h 448056"/>
                <a:gd name="connsiteX22" fmla="*/ 323294 w 393631"/>
                <a:gd name="connsiteY22" fmla="*/ 182360 h 448056"/>
                <a:gd name="connsiteX23" fmla="*/ 323488 w 393631"/>
                <a:gd name="connsiteY23" fmla="*/ 182529 h 448056"/>
                <a:gd name="connsiteX24" fmla="*/ 323884 w 393631"/>
                <a:gd name="connsiteY24" fmla="*/ 182479 h 448056"/>
                <a:gd name="connsiteX25" fmla="*/ 392213 w 393631"/>
                <a:gd name="connsiteY25" fmla="*/ 238169 h 448056"/>
                <a:gd name="connsiteX26" fmla="*/ 393429 w 393631"/>
                <a:gd name="connsiteY26" fmla="*/ 250233 h 448056"/>
                <a:gd name="connsiteX27" fmla="*/ 393631 w 393631"/>
                <a:gd name="connsiteY27" fmla="*/ 250276 h 448056"/>
                <a:gd name="connsiteX28" fmla="*/ 393630 w 393631"/>
                <a:gd name="connsiteY28" fmla="*/ 331260 h 448056"/>
                <a:gd name="connsiteX29" fmla="*/ 344017 w 393631"/>
                <a:gd name="connsiteY29" fmla="*/ 331260 h 448056"/>
                <a:gd name="connsiteX30" fmla="*/ 184779 w 393631"/>
                <a:gd name="connsiteY30" fmla="*/ 331260 h 448056"/>
                <a:gd name="connsiteX31" fmla="*/ 184779 w 393631"/>
                <a:gd name="connsiteY31" fmla="*/ 281647 h 448056"/>
                <a:gd name="connsiteX32" fmla="*/ 343713 w 393631"/>
                <a:gd name="connsiteY32" fmla="*/ 281647 h 448056"/>
                <a:gd name="connsiteX33" fmla="*/ 343607 w 393631"/>
                <a:gd name="connsiteY33" fmla="*/ 274792 h 448056"/>
                <a:gd name="connsiteX34" fmla="*/ 343896 w 393631"/>
                <a:gd name="connsiteY34" fmla="*/ 272497 h 448056"/>
                <a:gd name="connsiteX35" fmla="*/ 311588 w 393631"/>
                <a:gd name="connsiteY35" fmla="*/ 232857 h 448056"/>
                <a:gd name="connsiteX36" fmla="*/ 306587 w 393631"/>
                <a:gd name="connsiteY36" fmla="*/ 232353 h 448056"/>
                <a:gd name="connsiteX37" fmla="*/ 306020 w 393631"/>
                <a:gd name="connsiteY37" fmla="*/ 232034 h 448056"/>
                <a:gd name="connsiteX38" fmla="*/ 256407 w 393631"/>
                <a:gd name="connsiteY38" fmla="*/ 232034 h 448056"/>
                <a:gd name="connsiteX39" fmla="*/ 256407 w 393631"/>
                <a:gd name="connsiteY39" fmla="*/ 232034 h 448056"/>
                <a:gd name="connsiteX40" fmla="*/ 256407 w 393631"/>
                <a:gd name="connsiteY40" fmla="*/ 185664 h 448056"/>
                <a:gd name="connsiteX41" fmla="*/ 256224 w 393631"/>
                <a:gd name="connsiteY41" fmla="*/ 169895 h 448056"/>
                <a:gd name="connsiteX42" fmla="*/ 184780 w 393631"/>
                <a:gd name="connsiteY42" fmla="*/ 82923 h 448056"/>
                <a:gd name="connsiteX43" fmla="*/ 0 w 393631"/>
                <a:gd name="connsiteY43" fmla="*/ 0 h 448056"/>
                <a:gd name="connsiteX44" fmla="*/ 159659 w 393631"/>
                <a:gd name="connsiteY44" fmla="*/ 0 h 448056"/>
                <a:gd name="connsiteX45" fmla="*/ 159659 w 393631"/>
                <a:gd name="connsiteY45" fmla="*/ 49613 h 448056"/>
                <a:gd name="connsiteX46" fmla="*/ 159237 w 393631"/>
                <a:gd name="connsiteY46" fmla="*/ 49613 h 448056"/>
                <a:gd name="connsiteX47" fmla="*/ 159237 w 393631"/>
                <a:gd name="connsiteY47" fmla="*/ 110480 h 448056"/>
                <a:gd name="connsiteX48" fmla="*/ 109624 w 393631"/>
                <a:gd name="connsiteY48" fmla="*/ 110480 h 448056"/>
                <a:gd name="connsiteX49" fmla="*/ 109624 w 393631"/>
                <a:gd name="connsiteY49" fmla="*/ 49613 h 448056"/>
                <a:gd name="connsiteX50" fmla="*/ 49613 w 393631"/>
                <a:gd name="connsiteY50" fmla="*/ 49613 h 448056"/>
                <a:gd name="connsiteX51" fmla="*/ 49613 w 393631"/>
                <a:gd name="connsiteY51" fmla="*/ 281647 h 448056"/>
                <a:gd name="connsiteX52" fmla="*/ 84708 w 393631"/>
                <a:gd name="connsiteY52" fmla="*/ 281647 h 448056"/>
                <a:gd name="connsiteX53" fmla="*/ 84708 w 393631"/>
                <a:gd name="connsiteY53" fmla="*/ 331260 h 448056"/>
                <a:gd name="connsiteX54" fmla="*/ 49613 w 393631"/>
                <a:gd name="connsiteY54" fmla="*/ 331260 h 448056"/>
                <a:gd name="connsiteX55" fmla="*/ 49613 w 393631"/>
                <a:gd name="connsiteY55" fmla="*/ 331261 h 448056"/>
                <a:gd name="connsiteX56" fmla="*/ 0 w 393631"/>
                <a:gd name="connsiteY56" fmla="*/ 331261 h 448056"/>
                <a:gd name="connsiteX57" fmla="*/ 0 w 393631"/>
                <a:gd name="connsiteY57" fmla="*/ 49613 h 44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93631" h="448056">
                  <a:moveTo>
                    <a:pt x="109937" y="255147"/>
                  </a:moveTo>
                  <a:lnTo>
                    <a:pt x="159550" y="255147"/>
                  </a:lnTo>
                  <a:lnTo>
                    <a:pt x="159550" y="356612"/>
                  </a:lnTo>
                  <a:lnTo>
                    <a:pt x="193061" y="356612"/>
                  </a:lnTo>
                  <a:lnTo>
                    <a:pt x="134430" y="448056"/>
                  </a:lnTo>
                  <a:lnTo>
                    <a:pt x="75800" y="356612"/>
                  </a:lnTo>
                  <a:lnTo>
                    <a:pt x="109937" y="356612"/>
                  </a:lnTo>
                  <a:close/>
                  <a:moveTo>
                    <a:pt x="85131" y="207227"/>
                  </a:moveTo>
                  <a:lnTo>
                    <a:pt x="197505" y="207227"/>
                  </a:lnTo>
                  <a:lnTo>
                    <a:pt x="197505" y="233451"/>
                  </a:lnTo>
                  <a:lnTo>
                    <a:pt x="85131" y="233451"/>
                  </a:lnTo>
                  <a:close/>
                  <a:moveTo>
                    <a:pt x="85131" y="170997"/>
                  </a:moveTo>
                  <a:lnTo>
                    <a:pt x="197505" y="170997"/>
                  </a:lnTo>
                  <a:lnTo>
                    <a:pt x="197505" y="197220"/>
                  </a:lnTo>
                  <a:lnTo>
                    <a:pt x="85131" y="197220"/>
                  </a:lnTo>
                  <a:close/>
                  <a:moveTo>
                    <a:pt x="85131" y="134440"/>
                  </a:moveTo>
                  <a:lnTo>
                    <a:pt x="197505" y="134440"/>
                  </a:lnTo>
                  <a:lnTo>
                    <a:pt x="197505" y="160663"/>
                  </a:lnTo>
                  <a:lnTo>
                    <a:pt x="85131" y="160663"/>
                  </a:lnTo>
                  <a:close/>
                  <a:moveTo>
                    <a:pt x="184780" y="33581"/>
                  </a:moveTo>
                  <a:cubicBezTo>
                    <a:pt x="261578" y="34045"/>
                    <a:pt x="305265" y="121522"/>
                    <a:pt x="306050" y="165478"/>
                  </a:cubicBezTo>
                  <a:lnTo>
                    <a:pt x="306020" y="182421"/>
                  </a:lnTo>
                  <a:cubicBezTo>
                    <a:pt x="316588" y="182400"/>
                    <a:pt x="312726" y="182381"/>
                    <a:pt x="323294" y="182360"/>
                  </a:cubicBezTo>
                  <a:lnTo>
                    <a:pt x="323488" y="182529"/>
                  </a:lnTo>
                  <a:cubicBezTo>
                    <a:pt x="323620" y="182512"/>
                    <a:pt x="323752" y="182496"/>
                    <a:pt x="323884" y="182479"/>
                  </a:cubicBezTo>
                  <a:cubicBezTo>
                    <a:pt x="357589" y="182479"/>
                    <a:pt x="385710" y="206387"/>
                    <a:pt x="392213" y="238169"/>
                  </a:cubicBezTo>
                  <a:lnTo>
                    <a:pt x="393429" y="250233"/>
                  </a:lnTo>
                  <a:lnTo>
                    <a:pt x="393631" y="250276"/>
                  </a:lnTo>
                  <a:lnTo>
                    <a:pt x="393630" y="331260"/>
                  </a:lnTo>
                  <a:lnTo>
                    <a:pt x="344017" y="331260"/>
                  </a:lnTo>
                  <a:lnTo>
                    <a:pt x="184779" y="331260"/>
                  </a:lnTo>
                  <a:lnTo>
                    <a:pt x="184779" y="281647"/>
                  </a:lnTo>
                  <a:lnTo>
                    <a:pt x="343713" y="281647"/>
                  </a:lnTo>
                  <a:lnTo>
                    <a:pt x="343607" y="274792"/>
                  </a:lnTo>
                  <a:lnTo>
                    <a:pt x="343896" y="272497"/>
                  </a:lnTo>
                  <a:cubicBezTo>
                    <a:pt x="343896" y="252944"/>
                    <a:pt x="330026" y="236630"/>
                    <a:pt x="311588" y="232857"/>
                  </a:cubicBezTo>
                  <a:lnTo>
                    <a:pt x="306587" y="232353"/>
                  </a:lnTo>
                  <a:lnTo>
                    <a:pt x="306020" y="232034"/>
                  </a:lnTo>
                  <a:cubicBezTo>
                    <a:pt x="289483" y="232034"/>
                    <a:pt x="272945" y="232034"/>
                    <a:pt x="256407" y="232034"/>
                  </a:cubicBezTo>
                  <a:lnTo>
                    <a:pt x="256407" y="232034"/>
                  </a:lnTo>
                  <a:lnTo>
                    <a:pt x="256407" y="185664"/>
                  </a:lnTo>
                  <a:lnTo>
                    <a:pt x="256224" y="169895"/>
                  </a:lnTo>
                  <a:cubicBezTo>
                    <a:pt x="255813" y="119010"/>
                    <a:pt x="206943" y="83044"/>
                    <a:pt x="184780" y="82923"/>
                  </a:cubicBezTo>
                  <a:close/>
                  <a:moveTo>
                    <a:pt x="0" y="0"/>
                  </a:moveTo>
                  <a:lnTo>
                    <a:pt x="159659" y="0"/>
                  </a:lnTo>
                  <a:lnTo>
                    <a:pt x="159659" y="49613"/>
                  </a:lnTo>
                  <a:lnTo>
                    <a:pt x="159237" y="49613"/>
                  </a:lnTo>
                  <a:lnTo>
                    <a:pt x="159237" y="110480"/>
                  </a:lnTo>
                  <a:lnTo>
                    <a:pt x="109624" y="110480"/>
                  </a:lnTo>
                  <a:lnTo>
                    <a:pt x="109624" y="49613"/>
                  </a:lnTo>
                  <a:lnTo>
                    <a:pt x="49613" y="49613"/>
                  </a:lnTo>
                  <a:lnTo>
                    <a:pt x="49613" y="281647"/>
                  </a:lnTo>
                  <a:lnTo>
                    <a:pt x="84708" y="281647"/>
                  </a:lnTo>
                  <a:lnTo>
                    <a:pt x="84708" y="331260"/>
                  </a:lnTo>
                  <a:lnTo>
                    <a:pt x="49613" y="331260"/>
                  </a:lnTo>
                  <a:lnTo>
                    <a:pt x="49613" y="331261"/>
                  </a:lnTo>
                  <a:lnTo>
                    <a:pt x="0" y="331261"/>
                  </a:lnTo>
                  <a:lnTo>
                    <a:pt x="0" y="49613"/>
                  </a:ln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grpSp>
      <p:grpSp>
        <p:nvGrpSpPr>
          <p:cNvPr id="22" name="Group 21"/>
          <p:cNvGrpSpPr/>
          <p:nvPr/>
        </p:nvGrpSpPr>
        <p:grpSpPr>
          <a:xfrm>
            <a:off x="408785" y="2145922"/>
            <a:ext cx="11140914" cy="904043"/>
            <a:chOff x="408785" y="2160606"/>
            <a:chExt cx="11140914" cy="904043"/>
          </a:xfrm>
        </p:grpSpPr>
        <p:sp>
          <p:nvSpPr>
            <p:cNvPr id="14" name="Media Services Icon"/>
            <p:cNvSpPr>
              <a:spLocks noChangeAspect="1"/>
            </p:cNvSpPr>
            <p:nvPr/>
          </p:nvSpPr>
          <p:spPr>
            <a:xfrm>
              <a:off x="10770352" y="2160606"/>
              <a:ext cx="779347" cy="904043"/>
            </a:xfrm>
            <a:custGeom>
              <a:avLst/>
              <a:gdLst>
                <a:gd name="connsiteX0" fmla="*/ 0 w 2757610"/>
                <a:gd name="connsiteY0" fmla="*/ 1770686 h 3198830"/>
                <a:gd name="connsiteX1" fmla="*/ 342940 w 2757610"/>
                <a:gd name="connsiteY1" fmla="*/ 1770686 h 3198830"/>
                <a:gd name="connsiteX2" fmla="*/ 347071 w 2757610"/>
                <a:gd name="connsiteY2" fmla="*/ 1811658 h 3198830"/>
                <a:gd name="connsiteX3" fmla="*/ 1378805 w 2757610"/>
                <a:gd name="connsiteY3" fmla="*/ 2652545 h 3198830"/>
                <a:gd name="connsiteX4" fmla="*/ 2410539 w 2757610"/>
                <a:gd name="connsiteY4" fmla="*/ 1811658 h 3198830"/>
                <a:gd name="connsiteX5" fmla="*/ 2414669 w 2757610"/>
                <a:gd name="connsiteY5" fmla="*/ 1770686 h 3198830"/>
                <a:gd name="connsiteX6" fmla="*/ 2757610 w 2757610"/>
                <a:gd name="connsiteY6" fmla="*/ 1770686 h 3198830"/>
                <a:gd name="connsiteX7" fmla="*/ 2757610 w 2757610"/>
                <a:gd name="connsiteY7" fmla="*/ 2394324 h 3198830"/>
                <a:gd name="connsiteX8" fmla="*/ 1378805 w 2757610"/>
                <a:gd name="connsiteY8" fmla="*/ 3198830 h 3198830"/>
                <a:gd name="connsiteX9" fmla="*/ 0 w 2757610"/>
                <a:gd name="connsiteY9" fmla="*/ 2394324 h 3198830"/>
                <a:gd name="connsiteX10" fmla="*/ 1135257 w 2757610"/>
                <a:gd name="connsiteY10" fmla="*/ 1183744 h 3198830"/>
                <a:gd name="connsiteX11" fmla="*/ 1135257 w 2757610"/>
                <a:gd name="connsiteY11" fmla="*/ 2015086 h 3198830"/>
                <a:gd name="connsiteX12" fmla="*/ 1761253 w 2757610"/>
                <a:gd name="connsiteY12" fmla="*/ 1599415 h 3198830"/>
                <a:gd name="connsiteX13" fmla="*/ 1378805 w 2757610"/>
                <a:gd name="connsiteY13" fmla="*/ 852338 h 3198830"/>
                <a:gd name="connsiteX14" fmla="*/ 2125882 w 2757610"/>
                <a:gd name="connsiteY14" fmla="*/ 1599415 h 3198830"/>
                <a:gd name="connsiteX15" fmla="*/ 1378805 w 2757610"/>
                <a:gd name="connsiteY15" fmla="*/ 2346492 h 3198830"/>
                <a:gd name="connsiteX16" fmla="*/ 631728 w 2757610"/>
                <a:gd name="connsiteY16" fmla="*/ 1599415 h 3198830"/>
                <a:gd name="connsiteX17" fmla="*/ 1378805 w 2757610"/>
                <a:gd name="connsiteY17" fmla="*/ 852338 h 3198830"/>
                <a:gd name="connsiteX18" fmla="*/ 1378805 w 2757610"/>
                <a:gd name="connsiteY18" fmla="*/ 0 h 3198830"/>
                <a:gd name="connsiteX19" fmla="*/ 2757610 w 2757610"/>
                <a:gd name="connsiteY19" fmla="*/ 804506 h 3198830"/>
                <a:gd name="connsiteX20" fmla="*/ 2757610 w 2757610"/>
                <a:gd name="connsiteY20" fmla="*/ 1428144 h 3198830"/>
                <a:gd name="connsiteX21" fmla="*/ 2414669 w 2757610"/>
                <a:gd name="connsiteY21" fmla="*/ 1428144 h 3198830"/>
                <a:gd name="connsiteX22" fmla="*/ 2410539 w 2757610"/>
                <a:gd name="connsiteY22" fmla="*/ 1387173 h 3198830"/>
                <a:gd name="connsiteX23" fmla="*/ 1378805 w 2757610"/>
                <a:gd name="connsiteY23" fmla="*/ 546285 h 3198830"/>
                <a:gd name="connsiteX24" fmla="*/ 347071 w 2757610"/>
                <a:gd name="connsiteY24" fmla="*/ 1387173 h 3198830"/>
                <a:gd name="connsiteX25" fmla="*/ 342940 w 2757610"/>
                <a:gd name="connsiteY25" fmla="*/ 1428144 h 3198830"/>
                <a:gd name="connsiteX26" fmla="*/ 0 w 2757610"/>
                <a:gd name="connsiteY26" fmla="*/ 1428144 h 3198830"/>
                <a:gd name="connsiteX27" fmla="*/ 0 w 2757610"/>
                <a:gd name="connsiteY27" fmla="*/ 804506 h 319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757610" h="3198830">
                  <a:moveTo>
                    <a:pt x="0" y="1770686"/>
                  </a:moveTo>
                  <a:lnTo>
                    <a:pt x="342940" y="1770686"/>
                  </a:lnTo>
                  <a:lnTo>
                    <a:pt x="347071" y="1811658"/>
                  </a:lnTo>
                  <a:cubicBezTo>
                    <a:pt x="445271" y="2291551"/>
                    <a:pt x="869880" y="2652545"/>
                    <a:pt x="1378805" y="2652545"/>
                  </a:cubicBezTo>
                  <a:cubicBezTo>
                    <a:pt x="1887729" y="2652545"/>
                    <a:pt x="2312339" y="2291551"/>
                    <a:pt x="2410539" y="1811658"/>
                  </a:cubicBezTo>
                  <a:lnTo>
                    <a:pt x="2414669" y="1770686"/>
                  </a:lnTo>
                  <a:lnTo>
                    <a:pt x="2757610" y="1770686"/>
                  </a:lnTo>
                  <a:lnTo>
                    <a:pt x="2757610" y="2394324"/>
                  </a:lnTo>
                  <a:lnTo>
                    <a:pt x="1378805" y="3198830"/>
                  </a:lnTo>
                  <a:lnTo>
                    <a:pt x="0" y="2394324"/>
                  </a:lnTo>
                  <a:close/>
                  <a:moveTo>
                    <a:pt x="1135257" y="1183744"/>
                  </a:moveTo>
                  <a:lnTo>
                    <a:pt x="1135257" y="2015086"/>
                  </a:lnTo>
                  <a:lnTo>
                    <a:pt x="1761253" y="1599415"/>
                  </a:lnTo>
                  <a:close/>
                  <a:moveTo>
                    <a:pt x="1378805" y="852338"/>
                  </a:moveTo>
                  <a:cubicBezTo>
                    <a:pt x="1791404" y="852338"/>
                    <a:pt x="2125882" y="1186816"/>
                    <a:pt x="2125882" y="1599415"/>
                  </a:cubicBezTo>
                  <a:cubicBezTo>
                    <a:pt x="2125882" y="2012014"/>
                    <a:pt x="1791404" y="2346492"/>
                    <a:pt x="1378805" y="2346492"/>
                  </a:cubicBezTo>
                  <a:cubicBezTo>
                    <a:pt x="966206" y="2346492"/>
                    <a:pt x="631728" y="2012014"/>
                    <a:pt x="631728" y="1599415"/>
                  </a:cubicBezTo>
                  <a:cubicBezTo>
                    <a:pt x="631728" y="1186816"/>
                    <a:pt x="966206" y="852338"/>
                    <a:pt x="1378805" y="852338"/>
                  </a:cubicBezTo>
                  <a:close/>
                  <a:moveTo>
                    <a:pt x="1378805" y="0"/>
                  </a:moveTo>
                  <a:lnTo>
                    <a:pt x="2757610" y="804506"/>
                  </a:lnTo>
                  <a:lnTo>
                    <a:pt x="2757610" y="1428144"/>
                  </a:lnTo>
                  <a:lnTo>
                    <a:pt x="2414669" y="1428144"/>
                  </a:lnTo>
                  <a:lnTo>
                    <a:pt x="2410539" y="1387173"/>
                  </a:lnTo>
                  <a:cubicBezTo>
                    <a:pt x="2312339" y="907279"/>
                    <a:pt x="1887729" y="546285"/>
                    <a:pt x="1378805" y="546285"/>
                  </a:cubicBezTo>
                  <a:cubicBezTo>
                    <a:pt x="869880" y="546285"/>
                    <a:pt x="445271" y="907279"/>
                    <a:pt x="347071" y="1387173"/>
                  </a:cubicBezTo>
                  <a:lnTo>
                    <a:pt x="342940" y="1428144"/>
                  </a:lnTo>
                  <a:lnTo>
                    <a:pt x="0" y="1428144"/>
                  </a:lnTo>
                  <a:lnTo>
                    <a:pt x="0" y="804506"/>
                  </a:ln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19" name="Cache Icon"/>
            <p:cNvSpPr>
              <a:spLocks noChangeAspect="1"/>
            </p:cNvSpPr>
            <p:nvPr/>
          </p:nvSpPr>
          <p:spPr>
            <a:xfrm>
              <a:off x="408785" y="2194399"/>
              <a:ext cx="836456" cy="836456"/>
            </a:xfrm>
            <a:custGeom>
              <a:avLst/>
              <a:gdLst>
                <a:gd name="connsiteX0" fmla="*/ 3232149 w 6464300"/>
                <a:gd name="connsiteY0" fmla="*/ 2851149 h 6464300"/>
                <a:gd name="connsiteX1" fmla="*/ 3613150 w 6464300"/>
                <a:gd name="connsiteY1" fmla="*/ 3232150 h 6464300"/>
                <a:gd name="connsiteX2" fmla="*/ 3612719 w 6464300"/>
                <a:gd name="connsiteY2" fmla="*/ 3236429 h 6464300"/>
                <a:gd name="connsiteX3" fmla="*/ 4316291 w 6464300"/>
                <a:gd name="connsiteY3" fmla="*/ 3940001 h 6464300"/>
                <a:gd name="connsiteX4" fmla="*/ 4371201 w 6464300"/>
                <a:gd name="connsiteY4" fmla="*/ 3849616 h 6464300"/>
                <a:gd name="connsiteX5" fmla="*/ 4501231 w 6464300"/>
                <a:gd name="connsiteY5" fmla="*/ 3493220 h 6464300"/>
                <a:gd name="connsiteX6" fmla="*/ 4517816 w 6464300"/>
                <a:gd name="connsiteY6" fmla="*/ 3384552 h 6464300"/>
                <a:gd name="connsiteX7" fmla="*/ 5383455 w 6464300"/>
                <a:gd name="connsiteY7" fmla="*/ 3384552 h 6464300"/>
                <a:gd name="connsiteX8" fmla="*/ 5380004 w 6464300"/>
                <a:gd name="connsiteY8" fmla="*/ 3452896 h 6464300"/>
                <a:gd name="connsiteX9" fmla="*/ 4992826 w 6464300"/>
                <a:gd name="connsiteY9" fmla="*/ 4481970 h 6464300"/>
                <a:gd name="connsiteX10" fmla="*/ 4934430 w 6464300"/>
                <a:gd name="connsiteY10" fmla="*/ 4558140 h 6464300"/>
                <a:gd name="connsiteX11" fmla="*/ 4970462 w 6464300"/>
                <a:gd name="connsiteY11" fmla="*/ 4594173 h 6464300"/>
                <a:gd name="connsiteX12" fmla="*/ 4970462 w 6464300"/>
                <a:gd name="connsiteY12" fmla="*/ 4970465 h 6464300"/>
                <a:gd name="connsiteX13" fmla="*/ 4970462 w 6464300"/>
                <a:gd name="connsiteY13" fmla="*/ 4970464 h 6464300"/>
                <a:gd name="connsiteX14" fmla="*/ 4594169 w 6464300"/>
                <a:gd name="connsiteY14" fmla="*/ 4970464 h 6464300"/>
                <a:gd name="connsiteX15" fmla="*/ 3236426 w 6464300"/>
                <a:gd name="connsiteY15" fmla="*/ 3612720 h 6464300"/>
                <a:gd name="connsiteX16" fmla="*/ 3232149 w 6464300"/>
                <a:gd name="connsiteY16" fmla="*/ 3613151 h 6464300"/>
                <a:gd name="connsiteX17" fmla="*/ 2851148 w 6464300"/>
                <a:gd name="connsiteY17" fmla="*/ 3232150 h 6464300"/>
                <a:gd name="connsiteX18" fmla="*/ 3232149 w 6464300"/>
                <a:gd name="connsiteY18" fmla="*/ 2851149 h 6464300"/>
                <a:gd name="connsiteX19" fmla="*/ 4860003 w 6464300"/>
                <a:gd name="connsiteY19" fmla="*/ 1816866 h 6464300"/>
                <a:gd name="connsiteX20" fmla="*/ 4898139 w 6464300"/>
                <a:gd name="connsiteY20" fmla="*/ 1858826 h 6464300"/>
                <a:gd name="connsiteX21" fmla="*/ 5380004 w 6464300"/>
                <a:gd name="connsiteY21" fmla="*/ 3011406 h 6464300"/>
                <a:gd name="connsiteX22" fmla="*/ 5384176 w 6464300"/>
                <a:gd name="connsiteY22" fmla="*/ 3094040 h 6464300"/>
                <a:gd name="connsiteX23" fmla="*/ 4519997 w 6464300"/>
                <a:gd name="connsiteY23" fmla="*/ 3094040 h 6464300"/>
                <a:gd name="connsiteX24" fmla="*/ 4501231 w 6464300"/>
                <a:gd name="connsiteY24" fmla="*/ 2971083 h 6464300"/>
                <a:gd name="connsiteX25" fmla="*/ 4306315 w 6464300"/>
                <a:gd name="connsiteY25" fmla="*/ 2507881 h 6464300"/>
                <a:gd name="connsiteX26" fmla="*/ 4247561 w 6464300"/>
                <a:gd name="connsiteY26" fmla="*/ 2429309 h 6464300"/>
                <a:gd name="connsiteX27" fmla="*/ 1604296 w 6464300"/>
                <a:gd name="connsiteY27" fmla="*/ 1816865 h 6464300"/>
                <a:gd name="connsiteX28" fmla="*/ 2216739 w 6464300"/>
                <a:gd name="connsiteY28" fmla="*/ 2429308 h 6464300"/>
                <a:gd name="connsiteX29" fmla="*/ 2157983 w 6464300"/>
                <a:gd name="connsiteY29" fmla="*/ 2507881 h 6464300"/>
                <a:gd name="connsiteX30" fmla="*/ 1963067 w 6464300"/>
                <a:gd name="connsiteY30" fmla="*/ 2971083 h 6464300"/>
                <a:gd name="connsiteX31" fmla="*/ 1944302 w 6464300"/>
                <a:gd name="connsiteY31" fmla="*/ 3094040 h 6464300"/>
                <a:gd name="connsiteX32" fmla="*/ 1080122 w 6464300"/>
                <a:gd name="connsiteY32" fmla="*/ 3094040 h 6464300"/>
                <a:gd name="connsiteX33" fmla="*/ 1084295 w 6464300"/>
                <a:gd name="connsiteY33" fmla="*/ 3011406 h 6464300"/>
                <a:gd name="connsiteX34" fmla="*/ 1566159 w 6464300"/>
                <a:gd name="connsiteY34" fmla="*/ 1858826 h 6464300"/>
                <a:gd name="connsiteX35" fmla="*/ 3377406 w 6464300"/>
                <a:gd name="connsiteY35" fmla="*/ 1080485 h 6464300"/>
                <a:gd name="connsiteX36" fmla="*/ 3452895 w 6464300"/>
                <a:gd name="connsiteY36" fmla="*/ 1084297 h 6464300"/>
                <a:gd name="connsiteX37" fmla="*/ 4605474 w 6464300"/>
                <a:gd name="connsiteY37" fmla="*/ 1566161 h 6464300"/>
                <a:gd name="connsiteX38" fmla="*/ 4654922 w 6464300"/>
                <a:gd name="connsiteY38" fmla="*/ 1611102 h 6464300"/>
                <a:gd name="connsiteX39" fmla="*/ 4043169 w 6464300"/>
                <a:gd name="connsiteY39" fmla="*/ 2222855 h 6464300"/>
                <a:gd name="connsiteX40" fmla="*/ 3956420 w 6464300"/>
                <a:gd name="connsiteY40" fmla="*/ 2157985 h 6464300"/>
                <a:gd name="connsiteX41" fmla="*/ 3493218 w 6464300"/>
                <a:gd name="connsiteY41" fmla="*/ 1963069 h 6464300"/>
                <a:gd name="connsiteX42" fmla="*/ 3377406 w 6464300"/>
                <a:gd name="connsiteY42" fmla="*/ 1945394 h 6464300"/>
                <a:gd name="connsiteX43" fmla="*/ 3086894 w 6464300"/>
                <a:gd name="connsiteY43" fmla="*/ 1080485 h 6464300"/>
                <a:gd name="connsiteX44" fmla="*/ 3086894 w 6464300"/>
                <a:gd name="connsiteY44" fmla="*/ 1945394 h 6464300"/>
                <a:gd name="connsiteX45" fmla="*/ 2971081 w 6464300"/>
                <a:gd name="connsiteY45" fmla="*/ 1963069 h 6464300"/>
                <a:gd name="connsiteX46" fmla="*/ 2507879 w 6464300"/>
                <a:gd name="connsiteY46" fmla="*/ 2157985 h 6464300"/>
                <a:gd name="connsiteX47" fmla="*/ 2421131 w 6464300"/>
                <a:gd name="connsiteY47" fmla="*/ 2222855 h 6464300"/>
                <a:gd name="connsiteX48" fmla="*/ 1809378 w 6464300"/>
                <a:gd name="connsiteY48" fmla="*/ 1611101 h 6464300"/>
                <a:gd name="connsiteX49" fmla="*/ 1858824 w 6464300"/>
                <a:gd name="connsiteY49" fmla="*/ 1566161 h 6464300"/>
                <a:gd name="connsiteX50" fmla="*/ 3011404 w 6464300"/>
                <a:gd name="connsiteY50" fmla="*/ 1084297 h 6464300"/>
                <a:gd name="connsiteX51" fmla="*/ 3232149 w 6464300"/>
                <a:gd name="connsiteY51" fmla="*/ 577849 h 6464300"/>
                <a:gd name="connsiteX52" fmla="*/ 577848 w 6464300"/>
                <a:gd name="connsiteY52" fmla="*/ 3232150 h 6464300"/>
                <a:gd name="connsiteX53" fmla="*/ 3232149 w 6464300"/>
                <a:gd name="connsiteY53" fmla="*/ 5886451 h 6464300"/>
                <a:gd name="connsiteX54" fmla="*/ 5886450 w 6464300"/>
                <a:gd name="connsiteY54" fmla="*/ 3232150 h 6464300"/>
                <a:gd name="connsiteX55" fmla="*/ 3232149 w 6464300"/>
                <a:gd name="connsiteY55" fmla="*/ 577849 h 6464300"/>
                <a:gd name="connsiteX56" fmla="*/ 3232150 w 6464300"/>
                <a:gd name="connsiteY56" fmla="*/ 0 h 6464300"/>
                <a:gd name="connsiteX57" fmla="*/ 6464300 w 6464300"/>
                <a:gd name="connsiteY57" fmla="*/ 3232150 h 6464300"/>
                <a:gd name="connsiteX58" fmla="*/ 3232150 w 6464300"/>
                <a:gd name="connsiteY58" fmla="*/ 6464300 h 6464300"/>
                <a:gd name="connsiteX59" fmla="*/ 0 w 6464300"/>
                <a:gd name="connsiteY59" fmla="*/ 3232150 h 6464300"/>
                <a:gd name="connsiteX60" fmla="*/ 3232150 w 6464300"/>
                <a:gd name="connsiteY60" fmla="*/ 0 h 646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464300" h="6464300">
                  <a:moveTo>
                    <a:pt x="3232149" y="2851149"/>
                  </a:moveTo>
                  <a:cubicBezTo>
                    <a:pt x="3442570" y="2851149"/>
                    <a:pt x="3613150" y="3021729"/>
                    <a:pt x="3613150" y="3232150"/>
                  </a:cubicBezTo>
                  <a:lnTo>
                    <a:pt x="3612719" y="3236429"/>
                  </a:lnTo>
                  <a:lnTo>
                    <a:pt x="4316291" y="3940001"/>
                  </a:lnTo>
                  <a:lnTo>
                    <a:pt x="4371201" y="3849616"/>
                  </a:lnTo>
                  <a:cubicBezTo>
                    <a:pt x="4431028" y="3739486"/>
                    <a:pt x="4475348" y="3619711"/>
                    <a:pt x="4501231" y="3493220"/>
                  </a:cubicBezTo>
                  <a:lnTo>
                    <a:pt x="4517816" y="3384552"/>
                  </a:lnTo>
                  <a:lnTo>
                    <a:pt x="5383455" y="3384552"/>
                  </a:lnTo>
                  <a:lnTo>
                    <a:pt x="5380004" y="3452896"/>
                  </a:lnTo>
                  <a:cubicBezTo>
                    <a:pt x="5341307" y="3833938"/>
                    <a:pt x="5203523" y="4185686"/>
                    <a:pt x="4992826" y="4481970"/>
                  </a:cubicBezTo>
                  <a:lnTo>
                    <a:pt x="4934430" y="4558140"/>
                  </a:lnTo>
                  <a:lnTo>
                    <a:pt x="4970462" y="4594173"/>
                  </a:lnTo>
                  <a:cubicBezTo>
                    <a:pt x="5074373" y="4698083"/>
                    <a:pt x="5074373" y="4866555"/>
                    <a:pt x="4970462" y="4970465"/>
                  </a:cubicBezTo>
                  <a:lnTo>
                    <a:pt x="4970462" y="4970464"/>
                  </a:lnTo>
                  <a:cubicBezTo>
                    <a:pt x="4866552" y="5074375"/>
                    <a:pt x="4698079" y="5074375"/>
                    <a:pt x="4594169" y="4970464"/>
                  </a:cubicBezTo>
                  <a:lnTo>
                    <a:pt x="3236426" y="3612720"/>
                  </a:lnTo>
                  <a:lnTo>
                    <a:pt x="3232149" y="3613151"/>
                  </a:lnTo>
                  <a:cubicBezTo>
                    <a:pt x="3021728" y="3613151"/>
                    <a:pt x="2851148" y="3442571"/>
                    <a:pt x="2851148" y="3232150"/>
                  </a:cubicBezTo>
                  <a:cubicBezTo>
                    <a:pt x="2851148" y="3021729"/>
                    <a:pt x="3021728" y="2851149"/>
                    <a:pt x="3232149" y="2851149"/>
                  </a:cubicBezTo>
                  <a:close/>
                  <a:moveTo>
                    <a:pt x="4860003" y="1816866"/>
                  </a:moveTo>
                  <a:lnTo>
                    <a:pt x="4898139" y="1858826"/>
                  </a:lnTo>
                  <a:cubicBezTo>
                    <a:pt x="5162134" y="2178714"/>
                    <a:pt x="5335779" y="2575931"/>
                    <a:pt x="5380004" y="3011406"/>
                  </a:cubicBezTo>
                  <a:lnTo>
                    <a:pt x="5384176" y="3094040"/>
                  </a:lnTo>
                  <a:lnTo>
                    <a:pt x="4519997" y="3094040"/>
                  </a:lnTo>
                  <a:lnTo>
                    <a:pt x="4501231" y="2971083"/>
                  </a:lnTo>
                  <a:cubicBezTo>
                    <a:pt x="4466720" y="2802428"/>
                    <a:pt x="4399432" y="2645713"/>
                    <a:pt x="4306315" y="2507881"/>
                  </a:cubicBezTo>
                  <a:lnTo>
                    <a:pt x="4247561" y="2429309"/>
                  </a:lnTo>
                  <a:close/>
                  <a:moveTo>
                    <a:pt x="1604296" y="1816865"/>
                  </a:moveTo>
                  <a:lnTo>
                    <a:pt x="2216739" y="2429308"/>
                  </a:lnTo>
                  <a:lnTo>
                    <a:pt x="2157983" y="2507881"/>
                  </a:lnTo>
                  <a:cubicBezTo>
                    <a:pt x="2064866" y="2645713"/>
                    <a:pt x="1997579" y="2802428"/>
                    <a:pt x="1963067" y="2971083"/>
                  </a:cubicBezTo>
                  <a:lnTo>
                    <a:pt x="1944302" y="3094040"/>
                  </a:lnTo>
                  <a:lnTo>
                    <a:pt x="1080122" y="3094040"/>
                  </a:lnTo>
                  <a:lnTo>
                    <a:pt x="1084295" y="3011406"/>
                  </a:lnTo>
                  <a:cubicBezTo>
                    <a:pt x="1128520" y="2575931"/>
                    <a:pt x="1302164" y="2178714"/>
                    <a:pt x="1566159" y="1858826"/>
                  </a:cubicBezTo>
                  <a:close/>
                  <a:moveTo>
                    <a:pt x="3377406" y="1080485"/>
                  </a:moveTo>
                  <a:lnTo>
                    <a:pt x="3452895" y="1084297"/>
                  </a:lnTo>
                  <a:cubicBezTo>
                    <a:pt x="3888370" y="1128522"/>
                    <a:pt x="4285586" y="1302166"/>
                    <a:pt x="4605474" y="1566161"/>
                  </a:cubicBezTo>
                  <a:lnTo>
                    <a:pt x="4654922" y="1611102"/>
                  </a:lnTo>
                  <a:lnTo>
                    <a:pt x="4043169" y="2222855"/>
                  </a:lnTo>
                  <a:lnTo>
                    <a:pt x="3956420" y="2157985"/>
                  </a:lnTo>
                  <a:cubicBezTo>
                    <a:pt x="3818588" y="2064868"/>
                    <a:pt x="3661873" y="1997581"/>
                    <a:pt x="3493218" y="1963069"/>
                  </a:cubicBezTo>
                  <a:lnTo>
                    <a:pt x="3377406" y="1945394"/>
                  </a:lnTo>
                  <a:close/>
                  <a:moveTo>
                    <a:pt x="3086894" y="1080485"/>
                  </a:moveTo>
                  <a:lnTo>
                    <a:pt x="3086894" y="1945394"/>
                  </a:lnTo>
                  <a:lnTo>
                    <a:pt x="2971081" y="1963069"/>
                  </a:lnTo>
                  <a:cubicBezTo>
                    <a:pt x="2802426" y="1997581"/>
                    <a:pt x="2645710" y="2064868"/>
                    <a:pt x="2507879" y="2157985"/>
                  </a:cubicBezTo>
                  <a:lnTo>
                    <a:pt x="2421131" y="2222855"/>
                  </a:lnTo>
                  <a:lnTo>
                    <a:pt x="1809378" y="1611101"/>
                  </a:lnTo>
                  <a:lnTo>
                    <a:pt x="1858824" y="1566161"/>
                  </a:lnTo>
                  <a:cubicBezTo>
                    <a:pt x="2178712" y="1302166"/>
                    <a:pt x="2575928" y="1128522"/>
                    <a:pt x="3011404" y="1084297"/>
                  </a:cubicBezTo>
                  <a:close/>
                  <a:moveTo>
                    <a:pt x="3232149" y="577849"/>
                  </a:moveTo>
                  <a:cubicBezTo>
                    <a:pt x="1766219" y="577849"/>
                    <a:pt x="577848" y="1766220"/>
                    <a:pt x="577848" y="3232150"/>
                  </a:cubicBezTo>
                  <a:cubicBezTo>
                    <a:pt x="577848" y="4698080"/>
                    <a:pt x="1766219" y="5886451"/>
                    <a:pt x="3232149" y="5886451"/>
                  </a:cubicBezTo>
                  <a:cubicBezTo>
                    <a:pt x="4698079" y="5886451"/>
                    <a:pt x="5886450" y="4698080"/>
                    <a:pt x="5886450" y="3232150"/>
                  </a:cubicBezTo>
                  <a:cubicBezTo>
                    <a:pt x="5886450" y="1766220"/>
                    <a:pt x="4698079" y="577849"/>
                    <a:pt x="3232149" y="577849"/>
                  </a:cubicBezTo>
                  <a:close/>
                  <a:moveTo>
                    <a:pt x="3232150" y="0"/>
                  </a:moveTo>
                  <a:cubicBezTo>
                    <a:pt x="5017217" y="0"/>
                    <a:pt x="6464300" y="1447083"/>
                    <a:pt x="6464300" y="3232150"/>
                  </a:cubicBezTo>
                  <a:cubicBezTo>
                    <a:pt x="6464300" y="5017217"/>
                    <a:pt x="5017217" y="6464300"/>
                    <a:pt x="3232150" y="6464300"/>
                  </a:cubicBezTo>
                  <a:cubicBezTo>
                    <a:pt x="1447083" y="6464300"/>
                    <a:pt x="0" y="5017217"/>
                    <a:pt x="0" y="3232150"/>
                  </a:cubicBezTo>
                  <a:cubicBezTo>
                    <a:pt x="0" y="1447083"/>
                    <a:pt x="1447083" y="0"/>
                    <a:pt x="3232150" y="0"/>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p:cNvSpPr>
            <a:spLocks noGrp="1"/>
          </p:cNvSpPr>
          <p:nvPr>
            <p:ph type="title"/>
          </p:nvPr>
        </p:nvSpPr>
        <p:spPr>
          <a:xfrm>
            <a:off x="1765300" y="2109542"/>
            <a:ext cx="8534400" cy="997196"/>
          </a:xfrm>
        </p:spPr>
        <p:txBody>
          <a:bodyPr/>
          <a:lstStyle/>
          <a:p>
            <a:r>
              <a:rPr lang="en-US" sz="6600" dirty="0" smtClean="0">
                <a:effectLst/>
              </a:rPr>
              <a:t>It’s not just about code…	</a:t>
            </a:r>
            <a:endParaRPr lang="en-US" sz="6600" dirty="0">
              <a:effectLst/>
            </a:endParaRPr>
          </a:p>
        </p:txBody>
      </p:sp>
      <p:sp>
        <p:nvSpPr>
          <p:cNvPr id="3" name="Text Placeholder 2"/>
          <p:cNvSpPr>
            <a:spLocks noGrp="1"/>
          </p:cNvSpPr>
          <p:nvPr>
            <p:ph type="body" sz="quarter" idx="12"/>
          </p:nvPr>
        </p:nvSpPr>
        <p:spPr>
          <a:xfrm>
            <a:off x="1765299" y="3425825"/>
            <a:ext cx="7911891" cy="1381964"/>
          </a:xfrm>
        </p:spPr>
        <p:txBody>
          <a:bodyPr/>
          <a:lstStyle/>
          <a:p>
            <a:r>
              <a:rPr lang="en-US" dirty="0" smtClean="0">
                <a:effectLst/>
              </a:rPr>
              <a:t>There are many ways to enrich your application without having to write much code.</a:t>
            </a:r>
            <a:endParaRPr lang="en-US" dirty="0">
              <a:effectLst/>
            </a:endParaRPr>
          </a:p>
        </p:txBody>
      </p:sp>
    </p:spTree>
    <p:extLst>
      <p:ext uri="{BB962C8B-B14F-4D97-AF65-F5344CB8AC3E}">
        <p14:creationId xmlns:p14="http://schemas.microsoft.com/office/powerpoint/2010/main" val="1410851903"/>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opting </a:t>
            </a:r>
            <a:br>
              <a:rPr lang="en-US" dirty="0" smtClean="0"/>
            </a:br>
            <a:r>
              <a:rPr lang="en-US" dirty="0" smtClean="0"/>
              <a:t>the Cloud</a:t>
            </a:r>
            <a:endParaRPr lang="en-US" dirty="0"/>
          </a:p>
        </p:txBody>
      </p:sp>
    </p:spTree>
    <p:extLst>
      <p:ext uri="{BB962C8B-B14F-4D97-AF65-F5344CB8AC3E}">
        <p14:creationId xmlns:p14="http://schemas.microsoft.com/office/powerpoint/2010/main" val="1508930506"/>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p:cNvCxnSpPr/>
          <p:nvPr/>
        </p:nvCxnSpPr>
        <p:spPr>
          <a:xfrm>
            <a:off x="1751012" y="3657600"/>
            <a:ext cx="5257800" cy="0"/>
          </a:xfrm>
          <a:prstGeom prst="line">
            <a:avLst/>
          </a:prstGeom>
          <a:ln w="38100"/>
        </p:spPr>
        <p:style>
          <a:lnRef idx="1">
            <a:schemeClr val="accent6"/>
          </a:lnRef>
          <a:fillRef idx="0">
            <a:schemeClr val="accent6"/>
          </a:fillRef>
          <a:effectRef idx="0">
            <a:schemeClr val="accent6"/>
          </a:effectRef>
          <a:fontRef idx="minor">
            <a:schemeClr val="tx1"/>
          </a:fontRef>
        </p:style>
      </p:cxnSp>
      <p:sp>
        <p:nvSpPr>
          <p:cNvPr id="6" name="TextBox 5"/>
          <p:cNvSpPr txBox="1"/>
          <p:nvPr/>
        </p:nvSpPr>
        <p:spPr>
          <a:xfrm>
            <a:off x="1756802" y="1219200"/>
            <a:ext cx="477054" cy="2438400"/>
          </a:xfrm>
          <a:prstGeom prst="rect">
            <a:avLst/>
          </a:prstGeom>
          <a:noFill/>
        </p:spPr>
        <p:txBody>
          <a:bodyPr vert="vert270" wrap="square">
            <a:spAutoFit/>
          </a:bodyPr>
          <a:lstStyle/>
          <a:p>
            <a:pPr algn="ctr">
              <a:defRPr/>
            </a:pPr>
            <a:r>
              <a:rPr lang="en-US" dirty="0">
                <a:latin typeface="Consolas" pitchFamily="49" charset="0"/>
                <a:cs typeface="Consolas" pitchFamily="49" charset="0"/>
              </a:rPr>
              <a:t>Cloud</a:t>
            </a:r>
          </a:p>
        </p:txBody>
      </p:sp>
      <p:sp>
        <p:nvSpPr>
          <p:cNvPr id="7" name="TextBox 6"/>
          <p:cNvSpPr txBox="1"/>
          <p:nvPr/>
        </p:nvSpPr>
        <p:spPr>
          <a:xfrm>
            <a:off x="1756802" y="3688773"/>
            <a:ext cx="477054" cy="2840182"/>
          </a:xfrm>
          <a:prstGeom prst="rect">
            <a:avLst/>
          </a:prstGeom>
          <a:noFill/>
        </p:spPr>
        <p:txBody>
          <a:bodyPr vert="vert270" wrap="square">
            <a:spAutoFit/>
          </a:bodyPr>
          <a:lstStyle/>
          <a:p>
            <a:pPr algn="ctr">
              <a:defRPr/>
            </a:pPr>
            <a:r>
              <a:rPr lang="en-US" dirty="0">
                <a:latin typeface="Consolas" pitchFamily="49" charset="0"/>
                <a:cs typeface="Consolas" pitchFamily="49" charset="0"/>
              </a:rPr>
              <a:t>On-premises</a:t>
            </a:r>
          </a:p>
        </p:txBody>
      </p:sp>
      <p:sp>
        <p:nvSpPr>
          <p:cNvPr id="8" name="Flowchart: Magnetic Disk 7"/>
          <p:cNvSpPr/>
          <p:nvPr/>
        </p:nvSpPr>
        <p:spPr>
          <a:xfrm>
            <a:off x="2360612" y="4648200"/>
            <a:ext cx="838200" cy="990600"/>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solidFill>
                  <a:schemeClr val="accent5">
                    <a:lumMod val="10000"/>
                  </a:schemeClr>
                </a:solidFill>
              </a:rPr>
              <a:t>db</a:t>
            </a:r>
            <a:endParaRPr lang="en-US" dirty="0">
              <a:solidFill>
                <a:schemeClr val="accent5">
                  <a:lumMod val="10000"/>
                </a:schemeClr>
              </a:solidFill>
            </a:endParaRPr>
          </a:p>
        </p:txBody>
      </p:sp>
      <p:sp>
        <p:nvSpPr>
          <p:cNvPr id="9" name="Rectangle 8"/>
          <p:cNvSpPr/>
          <p:nvPr/>
        </p:nvSpPr>
        <p:spPr>
          <a:xfrm>
            <a:off x="3319320" y="5499506"/>
            <a:ext cx="1524000" cy="1025236"/>
          </a:xfrm>
          <a:prstGeom prst="rect">
            <a:avLst/>
          </a:prstGeom>
          <a:solidFill>
            <a:schemeClr val="accent5">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accent5">
                    <a:lumMod val="10000"/>
                  </a:schemeClr>
                </a:solidFill>
              </a:rPr>
              <a:t>Application</a:t>
            </a:r>
          </a:p>
        </p:txBody>
      </p:sp>
      <p:sp>
        <p:nvSpPr>
          <p:cNvPr id="10" name="Flowchart: Process 9"/>
          <p:cNvSpPr/>
          <p:nvPr/>
        </p:nvSpPr>
        <p:spPr bwMode="auto">
          <a:xfrm>
            <a:off x="2976420" y="1295400"/>
            <a:ext cx="2144556" cy="2018538"/>
          </a:xfrm>
          <a:prstGeom prst="flowChartProcess">
            <a:avLst/>
          </a:prstGeom>
          <a:solidFill>
            <a:schemeClr val="accent2">
              <a:lumMod val="75000"/>
            </a:schemeClr>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algn="ctr" defTabSz="914099" fontAlgn="base">
              <a:spcBef>
                <a:spcPct val="0"/>
              </a:spcBef>
              <a:spcAft>
                <a:spcPct val="0"/>
              </a:spcAft>
            </a:pPr>
            <a:r>
              <a:rPr lang="en-GB" sz="2000" dirty="0">
                <a:solidFill>
                  <a:srgbClr val="FFFFFF"/>
                </a:solidFill>
                <a:effectLst>
                  <a:outerShdw blurRad="38100" dist="38100" dir="2700000" algn="tl">
                    <a:srgbClr val="000000">
                      <a:alpha val="43137"/>
                    </a:srgbClr>
                  </a:outerShdw>
                </a:effectLst>
                <a:latin typeface="Segoe" pitchFamily="34" charset="0"/>
              </a:rPr>
              <a:t>Blob Container</a:t>
            </a:r>
          </a:p>
        </p:txBody>
      </p:sp>
      <p:grpSp>
        <p:nvGrpSpPr>
          <p:cNvPr id="16" name="Group 15"/>
          <p:cNvGrpSpPr/>
          <p:nvPr/>
        </p:nvGrpSpPr>
        <p:grpSpPr>
          <a:xfrm>
            <a:off x="3433620" y="3928232"/>
            <a:ext cx="1219200" cy="1382272"/>
            <a:chOff x="3970638" y="4347519"/>
            <a:chExt cx="1219200" cy="1382272"/>
          </a:xfrm>
        </p:grpSpPr>
        <p:sp>
          <p:nvSpPr>
            <p:cNvPr id="11" name="Action Button: Document 10">
              <a:hlinkClick r:id="" action="ppaction://noaction" highlightClick="1"/>
            </p:cNvPr>
            <p:cNvSpPr/>
            <p:nvPr/>
          </p:nvSpPr>
          <p:spPr>
            <a:xfrm>
              <a:off x="3970638" y="4347519"/>
              <a:ext cx="609600" cy="772672"/>
            </a:xfrm>
            <a:prstGeom prst="actionButtonDocument">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p>
          </p:txBody>
        </p:sp>
        <p:sp>
          <p:nvSpPr>
            <p:cNvPr id="12" name="Action Button: Document 11">
              <a:hlinkClick r:id="" action="ppaction://noaction" highlightClick="1"/>
            </p:cNvPr>
            <p:cNvSpPr/>
            <p:nvPr/>
          </p:nvSpPr>
          <p:spPr>
            <a:xfrm>
              <a:off x="4123038" y="4499919"/>
              <a:ext cx="609600" cy="772672"/>
            </a:xfrm>
            <a:prstGeom prst="actionButtonDocument">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p>
          </p:txBody>
        </p:sp>
        <p:sp>
          <p:nvSpPr>
            <p:cNvPr id="13" name="Action Button: Document 12">
              <a:hlinkClick r:id="" action="ppaction://noaction" highlightClick="1"/>
            </p:cNvPr>
            <p:cNvSpPr/>
            <p:nvPr/>
          </p:nvSpPr>
          <p:spPr>
            <a:xfrm>
              <a:off x="4275438" y="4652319"/>
              <a:ext cx="609600" cy="772672"/>
            </a:xfrm>
            <a:prstGeom prst="actionButtonDocument">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p>
          </p:txBody>
        </p:sp>
        <p:sp>
          <p:nvSpPr>
            <p:cNvPr id="14" name="Action Button: Document 13">
              <a:hlinkClick r:id="" action="ppaction://noaction" highlightClick="1"/>
            </p:cNvPr>
            <p:cNvSpPr/>
            <p:nvPr/>
          </p:nvSpPr>
          <p:spPr>
            <a:xfrm>
              <a:off x="4427838" y="4804719"/>
              <a:ext cx="609600" cy="772672"/>
            </a:xfrm>
            <a:prstGeom prst="actionButtonDocument">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p>
          </p:txBody>
        </p:sp>
        <p:sp>
          <p:nvSpPr>
            <p:cNvPr id="15" name="Action Button: Document 14">
              <a:hlinkClick r:id="" action="ppaction://noaction" highlightClick="1"/>
            </p:cNvPr>
            <p:cNvSpPr/>
            <p:nvPr/>
          </p:nvSpPr>
          <p:spPr>
            <a:xfrm>
              <a:off x="4580238" y="4957119"/>
              <a:ext cx="609600" cy="772672"/>
            </a:xfrm>
            <a:prstGeom prst="actionButtonDocument">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p>
          </p:txBody>
        </p:sp>
      </p:grpSp>
      <p:sp>
        <p:nvSpPr>
          <p:cNvPr id="3" name="Rectangle 2"/>
          <p:cNvSpPr/>
          <p:nvPr/>
        </p:nvSpPr>
        <p:spPr>
          <a:xfrm>
            <a:off x="3319320" y="3810000"/>
            <a:ext cx="1524000" cy="168566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lowchart: Direct Access Storage 18"/>
          <p:cNvSpPr/>
          <p:nvPr/>
        </p:nvSpPr>
        <p:spPr>
          <a:xfrm>
            <a:off x="5012062" y="4363012"/>
            <a:ext cx="3666931" cy="1382272"/>
          </a:xfrm>
          <a:prstGeom prst="flowChartMagneticDrum">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dirty="0"/>
              <a:t>Bandwidth</a:t>
            </a:r>
          </a:p>
        </p:txBody>
      </p:sp>
      <p:sp>
        <p:nvSpPr>
          <p:cNvPr id="18" name="Notched Right Arrow 17"/>
          <p:cNvSpPr/>
          <p:nvPr/>
        </p:nvSpPr>
        <p:spPr>
          <a:xfrm>
            <a:off x="5218869" y="4537832"/>
            <a:ext cx="3348135" cy="668716"/>
          </a:xfrm>
          <a:prstGeom prst="notchedRightArrow">
            <a:avLst/>
          </a:prstGeom>
          <a:solidFill>
            <a:srgbClr val="FFC000"/>
          </a:solidFill>
          <a:ln>
            <a:solidFill>
              <a:schemeClr val="tx1">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lumMod val="10000"/>
                  </a:schemeClr>
                </a:solidFill>
              </a:rPr>
              <a:t>CSS/Images/JS</a:t>
            </a:r>
          </a:p>
        </p:txBody>
      </p:sp>
      <p:sp>
        <p:nvSpPr>
          <p:cNvPr id="20" name="Notched Right Arrow 19"/>
          <p:cNvSpPr/>
          <p:nvPr/>
        </p:nvSpPr>
        <p:spPr>
          <a:xfrm>
            <a:off x="5218870" y="4972612"/>
            <a:ext cx="3348135" cy="668716"/>
          </a:xfrm>
          <a:prstGeom prst="notchedRightArrow">
            <a:avLst/>
          </a:prstGeom>
          <a:solidFill>
            <a:srgbClr val="FFC000"/>
          </a:solidFill>
          <a:ln>
            <a:solidFill>
              <a:schemeClr val="tx1">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lumMod val="10000"/>
                  </a:schemeClr>
                </a:solidFill>
              </a:rPr>
              <a:t>HTML</a:t>
            </a:r>
          </a:p>
        </p:txBody>
      </p:sp>
      <p:sp>
        <p:nvSpPr>
          <p:cNvPr id="22" name="Flowchart: Direct Access Storage 21"/>
          <p:cNvSpPr/>
          <p:nvPr/>
        </p:nvSpPr>
        <p:spPr>
          <a:xfrm>
            <a:off x="5246103" y="1295400"/>
            <a:ext cx="4282751" cy="2018538"/>
          </a:xfrm>
          <a:prstGeom prst="flowChartMagneticDrum">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dirty="0"/>
              <a:t>Bandwidth</a:t>
            </a:r>
          </a:p>
        </p:txBody>
      </p:sp>
      <p:sp>
        <p:nvSpPr>
          <p:cNvPr id="23" name="Notched Right Arrow 22"/>
          <p:cNvSpPr/>
          <p:nvPr/>
        </p:nvSpPr>
        <p:spPr>
          <a:xfrm>
            <a:off x="5713413" y="1405856"/>
            <a:ext cx="3348135" cy="668716"/>
          </a:xfrm>
          <a:prstGeom prst="notchedRightArrow">
            <a:avLst/>
          </a:prstGeom>
          <a:solidFill>
            <a:srgbClr val="FFC000"/>
          </a:solidFill>
          <a:ln>
            <a:solidFill>
              <a:schemeClr val="tx1">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lumMod val="10000"/>
                  </a:schemeClr>
                </a:solidFill>
              </a:rPr>
              <a:t>CSS</a:t>
            </a:r>
          </a:p>
        </p:txBody>
      </p:sp>
      <p:sp>
        <p:nvSpPr>
          <p:cNvPr id="24" name="Notched Right Arrow 23"/>
          <p:cNvSpPr/>
          <p:nvPr/>
        </p:nvSpPr>
        <p:spPr>
          <a:xfrm>
            <a:off x="5713410" y="1849013"/>
            <a:ext cx="3348135" cy="668716"/>
          </a:xfrm>
          <a:prstGeom prst="notchedRightArrow">
            <a:avLst/>
          </a:prstGeom>
          <a:solidFill>
            <a:srgbClr val="FFC000"/>
          </a:solidFill>
          <a:ln>
            <a:solidFill>
              <a:schemeClr val="tx1">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lumMod val="10000"/>
                  </a:schemeClr>
                </a:solidFill>
              </a:rPr>
              <a:t>Images</a:t>
            </a:r>
          </a:p>
        </p:txBody>
      </p:sp>
      <p:sp>
        <p:nvSpPr>
          <p:cNvPr id="25" name="Notched Right Arrow 24"/>
          <p:cNvSpPr/>
          <p:nvPr/>
        </p:nvSpPr>
        <p:spPr>
          <a:xfrm>
            <a:off x="5713409" y="2352896"/>
            <a:ext cx="3348135" cy="668716"/>
          </a:xfrm>
          <a:prstGeom prst="notchedRightArrow">
            <a:avLst/>
          </a:prstGeom>
          <a:solidFill>
            <a:srgbClr val="FFC000"/>
          </a:solidFill>
          <a:ln>
            <a:solidFill>
              <a:schemeClr val="tx1">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lumMod val="10000"/>
                  </a:schemeClr>
                </a:solidFill>
              </a:rPr>
              <a:t>JS</a:t>
            </a:r>
          </a:p>
        </p:txBody>
      </p:sp>
      <p:cxnSp>
        <p:nvCxnSpPr>
          <p:cNvPr id="31" name="Straight Arrow Connector 30"/>
          <p:cNvCxnSpPr/>
          <p:nvPr/>
        </p:nvCxnSpPr>
        <p:spPr>
          <a:xfrm flipH="1">
            <a:off x="8800291" y="4700904"/>
            <a:ext cx="662473" cy="0"/>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flipH="1">
            <a:off x="8812732" y="4924168"/>
            <a:ext cx="662473" cy="0"/>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5012061" y="3863701"/>
            <a:ext cx="4587218" cy="384721"/>
          </a:xfrm>
          <a:prstGeom prst="rect">
            <a:avLst/>
          </a:prstGeom>
          <a:noFill/>
        </p:spPr>
        <p:txBody>
          <a:bodyPr wrap="none" rtlCol="0">
            <a:spAutoFit/>
          </a:bodyPr>
          <a:lstStyle/>
          <a:p>
            <a:r>
              <a:rPr lang="en-US" dirty="0"/>
              <a:t>http://</a:t>
            </a:r>
            <a:r>
              <a:rPr lang="en-US" b="1" dirty="0"/>
              <a:t>www.myco.com</a:t>
            </a:r>
            <a:r>
              <a:rPr lang="en-US" dirty="0"/>
              <a:t>/images/brian.jpg</a:t>
            </a:r>
          </a:p>
        </p:txBody>
      </p:sp>
      <p:sp>
        <p:nvSpPr>
          <p:cNvPr id="34" name="TextBox 33"/>
          <p:cNvSpPr txBox="1"/>
          <p:nvPr/>
        </p:nvSpPr>
        <p:spPr>
          <a:xfrm>
            <a:off x="6309651" y="239265"/>
            <a:ext cx="5879174" cy="969496"/>
          </a:xfrm>
          <a:prstGeom prst="rect">
            <a:avLst/>
          </a:prstGeom>
          <a:noFill/>
        </p:spPr>
        <p:txBody>
          <a:bodyPr wrap="none" rtlCol="0">
            <a:spAutoFit/>
          </a:bodyPr>
          <a:lstStyle/>
          <a:p>
            <a:r>
              <a:rPr lang="en-US" dirty="0"/>
              <a:t>http://</a:t>
            </a:r>
            <a:r>
              <a:rPr lang="en-US" b="1" dirty="0"/>
              <a:t>img.blob.core.windows.net</a:t>
            </a:r>
            <a:r>
              <a:rPr lang="en-US" dirty="0"/>
              <a:t>/images/brian.jpg</a:t>
            </a:r>
          </a:p>
          <a:p>
            <a:r>
              <a:rPr lang="en-US" dirty="0"/>
              <a:t>http://</a:t>
            </a:r>
            <a:r>
              <a:rPr lang="en-US" b="1" dirty="0"/>
              <a:t>css.blob.core.windows.net</a:t>
            </a:r>
            <a:r>
              <a:rPr lang="en-US" dirty="0"/>
              <a:t>/main.css</a:t>
            </a:r>
          </a:p>
          <a:p>
            <a:r>
              <a:rPr lang="en-US" dirty="0"/>
              <a:t>http://</a:t>
            </a:r>
            <a:r>
              <a:rPr lang="en-US" b="1" dirty="0"/>
              <a:t>js.blob.core.windows.net</a:t>
            </a:r>
            <a:r>
              <a:rPr lang="en-US" dirty="0"/>
              <a:t>/animations.js</a:t>
            </a:r>
          </a:p>
        </p:txBody>
      </p:sp>
      <p:cxnSp>
        <p:nvCxnSpPr>
          <p:cNvPr id="41" name="Curved Connector 40"/>
          <p:cNvCxnSpPr/>
          <p:nvPr/>
        </p:nvCxnSpPr>
        <p:spPr>
          <a:xfrm rot="16200000" flipV="1">
            <a:off x="8551311" y="2656739"/>
            <a:ext cx="2308486" cy="359624"/>
          </a:xfrm>
          <a:prstGeom prst="curvedConnector3">
            <a:avLst>
              <a:gd name="adj1" fmla="val 100120"/>
            </a:avLst>
          </a:prstGeom>
          <a:ln w="38100">
            <a:tailEnd type="arrow"/>
          </a:ln>
        </p:spPr>
        <p:style>
          <a:lnRef idx="1">
            <a:schemeClr val="accent1"/>
          </a:lnRef>
          <a:fillRef idx="0">
            <a:schemeClr val="accent1"/>
          </a:fillRef>
          <a:effectRef idx="0">
            <a:schemeClr val="accent1"/>
          </a:effectRef>
          <a:fontRef idx="minor">
            <a:schemeClr val="tx1"/>
          </a:fontRef>
        </p:style>
      </p:cxnSp>
      <p:cxnSp>
        <p:nvCxnSpPr>
          <p:cNvPr id="44" name="Curved Connector 43"/>
          <p:cNvCxnSpPr/>
          <p:nvPr/>
        </p:nvCxnSpPr>
        <p:spPr>
          <a:xfrm rot="16200000" flipV="1">
            <a:off x="9013963" y="2656739"/>
            <a:ext cx="2308486" cy="359624"/>
          </a:xfrm>
          <a:prstGeom prst="curvedConnector3">
            <a:avLst>
              <a:gd name="adj1" fmla="val 100120"/>
            </a:avLst>
          </a:prstGeom>
          <a:ln w="38100">
            <a:tailEnd type="arrow"/>
          </a:ln>
        </p:spPr>
        <p:style>
          <a:lnRef idx="1">
            <a:schemeClr val="accent1"/>
          </a:lnRef>
          <a:fillRef idx="0">
            <a:schemeClr val="accent1"/>
          </a:fillRef>
          <a:effectRef idx="0">
            <a:schemeClr val="accent1"/>
          </a:effectRef>
          <a:fontRef idx="minor">
            <a:schemeClr val="tx1"/>
          </a:fontRef>
        </p:style>
      </p:cxnSp>
      <p:cxnSp>
        <p:nvCxnSpPr>
          <p:cNvPr id="45" name="Curved Connector 44"/>
          <p:cNvCxnSpPr/>
          <p:nvPr/>
        </p:nvCxnSpPr>
        <p:spPr>
          <a:xfrm rot="16200000" flipV="1">
            <a:off x="8563171" y="3143180"/>
            <a:ext cx="2308486" cy="359624"/>
          </a:xfrm>
          <a:prstGeom prst="curvedConnector3">
            <a:avLst>
              <a:gd name="adj1" fmla="val 100120"/>
            </a:avLst>
          </a:prstGeom>
          <a:ln w="38100">
            <a:tailEnd type="arrow"/>
          </a:ln>
        </p:spPr>
        <p:style>
          <a:lnRef idx="1">
            <a:schemeClr val="accent1"/>
          </a:lnRef>
          <a:fillRef idx="0">
            <a:schemeClr val="accent1"/>
          </a:fillRef>
          <a:effectRef idx="0">
            <a:schemeClr val="accent1"/>
          </a:effectRef>
          <a:fontRef idx="minor">
            <a:schemeClr val="tx1"/>
          </a:fontRef>
        </p:style>
      </p:cxnSp>
      <p:cxnSp>
        <p:nvCxnSpPr>
          <p:cNvPr id="46" name="Curved Connector 45"/>
          <p:cNvCxnSpPr/>
          <p:nvPr/>
        </p:nvCxnSpPr>
        <p:spPr>
          <a:xfrm rot="16200000" flipV="1">
            <a:off x="9013382" y="3135356"/>
            <a:ext cx="2308486" cy="359624"/>
          </a:xfrm>
          <a:prstGeom prst="curvedConnector3">
            <a:avLst>
              <a:gd name="adj1" fmla="val 100120"/>
            </a:avLst>
          </a:prstGeom>
          <a:ln w="38100">
            <a:tailEnd type="arrow"/>
          </a:ln>
        </p:spPr>
        <p:style>
          <a:lnRef idx="1">
            <a:schemeClr val="accent1"/>
          </a:lnRef>
          <a:fillRef idx="0">
            <a:schemeClr val="accent1"/>
          </a:fillRef>
          <a:effectRef idx="0">
            <a:schemeClr val="accent1"/>
          </a:effectRef>
          <a:fontRef idx="minor">
            <a:schemeClr val="tx1"/>
          </a:fontRef>
        </p:style>
      </p:cxnSp>
      <p:cxnSp>
        <p:nvCxnSpPr>
          <p:cNvPr id="47" name="Curved Connector 46"/>
          <p:cNvCxnSpPr/>
          <p:nvPr/>
        </p:nvCxnSpPr>
        <p:spPr>
          <a:xfrm rot="16200000" flipV="1">
            <a:off x="8584368" y="3671649"/>
            <a:ext cx="2308486" cy="359624"/>
          </a:xfrm>
          <a:prstGeom prst="curvedConnector3">
            <a:avLst>
              <a:gd name="adj1" fmla="val 100120"/>
            </a:avLst>
          </a:prstGeom>
          <a:ln w="38100">
            <a:tailEnd type="arrow"/>
          </a:ln>
        </p:spPr>
        <p:style>
          <a:lnRef idx="1">
            <a:schemeClr val="accent1"/>
          </a:lnRef>
          <a:fillRef idx="0">
            <a:schemeClr val="accent1"/>
          </a:fillRef>
          <a:effectRef idx="0">
            <a:schemeClr val="accent1"/>
          </a:effectRef>
          <a:fontRef idx="minor">
            <a:schemeClr val="tx1"/>
          </a:fontRef>
        </p:style>
      </p:cxnSp>
      <p:cxnSp>
        <p:nvCxnSpPr>
          <p:cNvPr id="50" name="Curved Connector 49"/>
          <p:cNvCxnSpPr/>
          <p:nvPr/>
        </p:nvCxnSpPr>
        <p:spPr>
          <a:xfrm rot="16200000" flipV="1">
            <a:off x="9037684" y="3671649"/>
            <a:ext cx="2308486" cy="359624"/>
          </a:xfrm>
          <a:prstGeom prst="curvedConnector3">
            <a:avLst>
              <a:gd name="adj1" fmla="val 100120"/>
            </a:avLst>
          </a:prstGeom>
          <a:ln w="38100">
            <a:tailEnd type="arrow"/>
          </a:ln>
        </p:spPr>
        <p:style>
          <a:lnRef idx="1">
            <a:schemeClr val="accent1"/>
          </a:lnRef>
          <a:fillRef idx="0">
            <a:schemeClr val="accent1"/>
          </a:fillRef>
          <a:effectRef idx="0">
            <a:schemeClr val="accent1"/>
          </a:effectRef>
          <a:fontRef idx="minor">
            <a:schemeClr val="tx1"/>
          </a:fontRef>
        </p:style>
      </p:cxnSp>
      <p:sp>
        <p:nvSpPr>
          <p:cNvPr id="4" name="Smiley Face 3"/>
          <p:cNvSpPr/>
          <p:nvPr/>
        </p:nvSpPr>
        <p:spPr>
          <a:xfrm>
            <a:off x="9532360" y="4558848"/>
            <a:ext cx="990600" cy="990600"/>
          </a:xfrm>
          <a:prstGeom prst="smileyFace">
            <a:avLst/>
          </a:prstGeom>
          <a:solidFill>
            <a:srgbClr val="FFFF0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nvGrpSpPr>
          <p:cNvPr id="51" name="Group 50"/>
          <p:cNvGrpSpPr/>
          <p:nvPr/>
        </p:nvGrpSpPr>
        <p:grpSpPr>
          <a:xfrm>
            <a:off x="2284412" y="1571538"/>
            <a:ext cx="609600" cy="691136"/>
            <a:chOff x="3970638" y="4347519"/>
            <a:chExt cx="1219200" cy="1382272"/>
          </a:xfrm>
        </p:grpSpPr>
        <p:sp>
          <p:nvSpPr>
            <p:cNvPr id="52" name="Action Button: Document 51">
              <a:hlinkClick r:id="" action="ppaction://noaction" highlightClick="1"/>
            </p:cNvPr>
            <p:cNvSpPr/>
            <p:nvPr/>
          </p:nvSpPr>
          <p:spPr>
            <a:xfrm>
              <a:off x="3970638" y="4347519"/>
              <a:ext cx="609600" cy="772672"/>
            </a:xfrm>
            <a:prstGeom prst="actionButtonDocument">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p>
          </p:txBody>
        </p:sp>
        <p:sp>
          <p:nvSpPr>
            <p:cNvPr id="53" name="Action Button: Document 52">
              <a:hlinkClick r:id="" action="ppaction://noaction" highlightClick="1"/>
            </p:cNvPr>
            <p:cNvSpPr/>
            <p:nvPr/>
          </p:nvSpPr>
          <p:spPr>
            <a:xfrm>
              <a:off x="4123038" y="4499919"/>
              <a:ext cx="609600" cy="772672"/>
            </a:xfrm>
            <a:prstGeom prst="actionButtonDocument">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p>
          </p:txBody>
        </p:sp>
        <p:sp>
          <p:nvSpPr>
            <p:cNvPr id="54" name="Action Button: Document 53">
              <a:hlinkClick r:id="" action="ppaction://noaction" highlightClick="1"/>
            </p:cNvPr>
            <p:cNvSpPr/>
            <p:nvPr/>
          </p:nvSpPr>
          <p:spPr>
            <a:xfrm>
              <a:off x="4275438" y="4652319"/>
              <a:ext cx="609600" cy="772672"/>
            </a:xfrm>
            <a:prstGeom prst="actionButtonDocument">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p>
          </p:txBody>
        </p:sp>
        <p:sp>
          <p:nvSpPr>
            <p:cNvPr id="55" name="Action Button: Document 54">
              <a:hlinkClick r:id="" action="ppaction://noaction" highlightClick="1"/>
            </p:cNvPr>
            <p:cNvSpPr/>
            <p:nvPr/>
          </p:nvSpPr>
          <p:spPr>
            <a:xfrm>
              <a:off x="4427838" y="4804719"/>
              <a:ext cx="609600" cy="772672"/>
            </a:xfrm>
            <a:prstGeom prst="actionButtonDocument">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p>
          </p:txBody>
        </p:sp>
        <p:sp>
          <p:nvSpPr>
            <p:cNvPr id="56" name="Action Button: Document 55">
              <a:hlinkClick r:id="" action="ppaction://noaction" highlightClick="1"/>
            </p:cNvPr>
            <p:cNvSpPr/>
            <p:nvPr/>
          </p:nvSpPr>
          <p:spPr>
            <a:xfrm>
              <a:off x="4580238" y="4957119"/>
              <a:ext cx="609600" cy="772672"/>
            </a:xfrm>
            <a:prstGeom prst="actionButtonDocument">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p>
          </p:txBody>
        </p:sp>
      </p:grpSp>
      <p:grpSp>
        <p:nvGrpSpPr>
          <p:cNvPr id="57" name="Group 56"/>
          <p:cNvGrpSpPr/>
          <p:nvPr/>
        </p:nvGrpSpPr>
        <p:grpSpPr>
          <a:xfrm>
            <a:off x="2284412" y="2352896"/>
            <a:ext cx="609600" cy="691136"/>
            <a:chOff x="3970638" y="4347519"/>
            <a:chExt cx="1219200" cy="1382272"/>
          </a:xfrm>
        </p:grpSpPr>
        <p:sp>
          <p:nvSpPr>
            <p:cNvPr id="58" name="Action Button: Document 57">
              <a:hlinkClick r:id="" action="ppaction://noaction" highlightClick="1"/>
            </p:cNvPr>
            <p:cNvSpPr/>
            <p:nvPr/>
          </p:nvSpPr>
          <p:spPr>
            <a:xfrm>
              <a:off x="3970638" y="4347519"/>
              <a:ext cx="609600" cy="772672"/>
            </a:xfrm>
            <a:prstGeom prst="actionButtonDocument">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p>
          </p:txBody>
        </p:sp>
        <p:sp>
          <p:nvSpPr>
            <p:cNvPr id="59" name="Action Button: Document 58">
              <a:hlinkClick r:id="" action="ppaction://noaction" highlightClick="1"/>
            </p:cNvPr>
            <p:cNvSpPr/>
            <p:nvPr/>
          </p:nvSpPr>
          <p:spPr>
            <a:xfrm>
              <a:off x="4123038" y="4499919"/>
              <a:ext cx="609600" cy="772672"/>
            </a:xfrm>
            <a:prstGeom prst="actionButtonDocument">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p>
          </p:txBody>
        </p:sp>
        <p:sp>
          <p:nvSpPr>
            <p:cNvPr id="60" name="Action Button: Document 59">
              <a:hlinkClick r:id="" action="ppaction://noaction" highlightClick="1"/>
            </p:cNvPr>
            <p:cNvSpPr/>
            <p:nvPr/>
          </p:nvSpPr>
          <p:spPr>
            <a:xfrm>
              <a:off x="4275438" y="4652319"/>
              <a:ext cx="609600" cy="772672"/>
            </a:xfrm>
            <a:prstGeom prst="actionButtonDocument">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p>
          </p:txBody>
        </p:sp>
        <p:sp>
          <p:nvSpPr>
            <p:cNvPr id="61" name="Action Button: Document 60">
              <a:hlinkClick r:id="" action="ppaction://noaction" highlightClick="1"/>
            </p:cNvPr>
            <p:cNvSpPr/>
            <p:nvPr/>
          </p:nvSpPr>
          <p:spPr>
            <a:xfrm>
              <a:off x="4427838" y="4804719"/>
              <a:ext cx="609600" cy="772672"/>
            </a:xfrm>
            <a:prstGeom prst="actionButtonDocument">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p>
          </p:txBody>
        </p:sp>
        <p:sp>
          <p:nvSpPr>
            <p:cNvPr id="62" name="Action Button: Document 61">
              <a:hlinkClick r:id="" action="ppaction://noaction" highlightClick="1"/>
            </p:cNvPr>
            <p:cNvSpPr/>
            <p:nvPr/>
          </p:nvSpPr>
          <p:spPr>
            <a:xfrm>
              <a:off x="4580238" y="4957119"/>
              <a:ext cx="609600" cy="772672"/>
            </a:xfrm>
            <a:prstGeom prst="actionButtonDocument">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p>
          </p:txBody>
        </p:sp>
      </p:grpSp>
      <p:sp>
        <p:nvSpPr>
          <p:cNvPr id="48" name="Title 2"/>
          <p:cNvSpPr>
            <a:spLocks noGrp="1"/>
          </p:cNvSpPr>
          <p:nvPr>
            <p:ph type="title"/>
          </p:nvPr>
        </p:nvSpPr>
        <p:spPr>
          <a:xfrm>
            <a:off x="269170" y="289512"/>
            <a:ext cx="11652805" cy="899665"/>
          </a:xfrm>
        </p:spPr>
        <p:txBody>
          <a:bodyPr/>
          <a:lstStyle/>
          <a:p>
            <a:r>
              <a:rPr lang="en-US" dirty="0" smtClean="0"/>
              <a:t>Hybrid Architecture</a:t>
            </a:r>
            <a:endParaRPr lang="en-US" dirty="0"/>
          </a:p>
        </p:txBody>
      </p:sp>
    </p:spTree>
    <p:extLst>
      <p:ext uri="{BB962C8B-B14F-4D97-AF65-F5344CB8AC3E}">
        <p14:creationId xmlns:p14="http://schemas.microsoft.com/office/powerpoint/2010/main" val="28288142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wipe(left)">
                                      <p:cBhvr>
                                        <p:cTn id="7" dur="500"/>
                                        <p:tgtEl>
                                          <p:spTgt spid="20"/>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33"/>
                                        </p:tgtEl>
                                        <p:attrNameLst>
                                          <p:attrName>style.visibility</p:attrName>
                                        </p:attrNameLst>
                                      </p:cBhvr>
                                      <p:to>
                                        <p:strVal val="visible"/>
                                      </p:to>
                                    </p:set>
                                  </p:childTnLst>
                                </p:cTn>
                              </p:par>
                            </p:childTnLst>
                          </p:cTn>
                        </p:par>
                        <p:par>
                          <p:cTn id="12" fill="hold">
                            <p:stCondLst>
                              <p:cond delay="0"/>
                            </p:stCondLst>
                            <p:childTnLst>
                              <p:par>
                                <p:cTn id="13" presetID="22" presetClass="entr" presetSubtype="2" fill="hold" nodeType="afterEffect">
                                  <p:stCondLst>
                                    <p:cond delay="0"/>
                                  </p:stCondLst>
                                  <p:childTnLst>
                                    <p:set>
                                      <p:cBhvr>
                                        <p:cTn id="14" dur="1" fill="hold">
                                          <p:stCondLst>
                                            <p:cond delay="0"/>
                                          </p:stCondLst>
                                        </p:cTn>
                                        <p:tgtEl>
                                          <p:spTgt spid="31"/>
                                        </p:tgtEl>
                                        <p:attrNameLst>
                                          <p:attrName>style.visibility</p:attrName>
                                        </p:attrNameLst>
                                      </p:cBhvr>
                                      <p:to>
                                        <p:strVal val="visible"/>
                                      </p:to>
                                    </p:set>
                                    <p:animEffect transition="in" filter="wipe(right)">
                                      <p:cBhvr>
                                        <p:cTn id="15" dur="500"/>
                                        <p:tgtEl>
                                          <p:spTgt spid="31"/>
                                        </p:tgtEl>
                                      </p:cBhvr>
                                    </p:animEffect>
                                  </p:childTnLst>
                                </p:cTn>
                              </p:par>
                              <p:par>
                                <p:cTn id="16" presetID="22" presetClass="entr" presetSubtype="2" fill="hold" nodeType="withEffect">
                                  <p:stCondLst>
                                    <p:cond delay="0"/>
                                  </p:stCondLst>
                                  <p:childTnLst>
                                    <p:set>
                                      <p:cBhvr>
                                        <p:cTn id="17" dur="1" fill="hold">
                                          <p:stCondLst>
                                            <p:cond delay="0"/>
                                          </p:stCondLst>
                                        </p:cTn>
                                        <p:tgtEl>
                                          <p:spTgt spid="32"/>
                                        </p:tgtEl>
                                        <p:attrNameLst>
                                          <p:attrName>style.visibility</p:attrName>
                                        </p:attrNameLst>
                                      </p:cBhvr>
                                      <p:to>
                                        <p:strVal val="visible"/>
                                      </p:to>
                                    </p:set>
                                    <p:animEffect transition="in" filter="wipe(right)">
                                      <p:cBhvr>
                                        <p:cTn id="18" dur="500"/>
                                        <p:tgtEl>
                                          <p:spTgt spid="32"/>
                                        </p:tgtEl>
                                      </p:cBhvr>
                                    </p:animEffect>
                                  </p:childTnLst>
                                </p:cTn>
                              </p:par>
                            </p:childTnLst>
                          </p:cTn>
                        </p:par>
                        <p:par>
                          <p:cTn id="19" fill="hold">
                            <p:stCondLst>
                              <p:cond delay="500"/>
                            </p:stCondLst>
                            <p:childTnLst>
                              <p:par>
                                <p:cTn id="20" presetID="22" presetClass="entr" presetSubtype="8" fill="hold" grpId="0" nodeType="after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wipe(left)">
                                      <p:cBhvr>
                                        <p:cTn id="22" dur="500"/>
                                        <p:tgtEl>
                                          <p:spTgt spid="18"/>
                                        </p:tgtEl>
                                      </p:cBhvr>
                                    </p:animEffec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6"/>
                                        </p:tgtEl>
                                        <p:attrNameLst>
                                          <p:attrName>style.visibility</p:attrName>
                                        </p:attrNameLst>
                                      </p:cBhvr>
                                      <p:to>
                                        <p:strVal val="visible"/>
                                      </p:to>
                                    </p:set>
                                  </p:childTnLst>
                                </p:cTn>
                              </p:par>
                              <p:par>
                                <p:cTn id="29" presetID="10" presetClass="entr" presetSubtype="0" fill="hold" grpId="0" nodeType="withEffect">
                                  <p:stCondLst>
                                    <p:cond delay="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childTnLst>
                          </p:cTn>
                        </p:par>
                        <p:par>
                          <p:cTn id="32" fill="hold">
                            <p:stCondLst>
                              <p:cond delay="500"/>
                            </p:stCondLst>
                            <p:childTnLst>
                              <p:par>
                                <p:cTn id="33" presetID="1" presetClass="entr" presetSubtype="0" fill="hold" grpId="0" nodeType="afterEffect">
                                  <p:stCondLst>
                                    <p:cond delay="0"/>
                                  </p:stCondLst>
                                  <p:childTnLst>
                                    <p:set>
                                      <p:cBhvr>
                                        <p:cTn id="34" dur="1" fill="hold">
                                          <p:stCondLst>
                                            <p:cond delay="0"/>
                                          </p:stCondLst>
                                        </p:cTn>
                                        <p:tgtEl>
                                          <p:spTgt spid="22"/>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42" presetClass="path" presetSubtype="0" accel="50000" decel="50000" fill="hold" nodeType="clickEffect">
                                  <p:stCondLst>
                                    <p:cond delay="0"/>
                                  </p:stCondLst>
                                  <p:childTnLst>
                                    <p:animMotion origin="layout" path="M -3.33333E-6 3.7037E-7 L 0.00417 -0.35116 " pathEditMode="relative" rAng="0" ptsTypes="AA">
                                      <p:cBhvr>
                                        <p:cTn id="38" dur="2000" fill="hold"/>
                                        <p:tgtEl>
                                          <p:spTgt spid="16"/>
                                        </p:tgtEl>
                                        <p:attrNameLst>
                                          <p:attrName>ppt_x</p:attrName>
                                          <p:attrName>ppt_y</p:attrName>
                                        </p:attrNameLst>
                                      </p:cBhvr>
                                      <p:rCtr x="208" y="-17569"/>
                                    </p:animMotion>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51"/>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57"/>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34"/>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22" presetClass="entr" presetSubtype="8" fill="hold" grpId="0" nodeType="clickEffect">
                                  <p:stCondLst>
                                    <p:cond delay="0"/>
                                  </p:stCondLst>
                                  <p:childTnLst>
                                    <p:set>
                                      <p:cBhvr>
                                        <p:cTn id="52" dur="1" fill="hold">
                                          <p:stCondLst>
                                            <p:cond delay="0"/>
                                          </p:stCondLst>
                                        </p:cTn>
                                        <p:tgtEl>
                                          <p:spTgt spid="23"/>
                                        </p:tgtEl>
                                        <p:attrNameLst>
                                          <p:attrName>style.visibility</p:attrName>
                                        </p:attrNameLst>
                                      </p:cBhvr>
                                      <p:to>
                                        <p:strVal val="visible"/>
                                      </p:to>
                                    </p:set>
                                    <p:animEffect transition="in" filter="wipe(left)">
                                      <p:cBhvr>
                                        <p:cTn id="53" dur="500"/>
                                        <p:tgtEl>
                                          <p:spTgt spid="23"/>
                                        </p:tgtEl>
                                      </p:cBhvr>
                                    </p:animEffect>
                                  </p:childTnLst>
                                </p:cTn>
                              </p:par>
                              <p:par>
                                <p:cTn id="54" presetID="22" presetClass="entr" presetSubtype="8" fill="hold" grpId="0" nodeType="withEffect">
                                  <p:stCondLst>
                                    <p:cond delay="0"/>
                                  </p:stCondLst>
                                  <p:childTnLst>
                                    <p:set>
                                      <p:cBhvr>
                                        <p:cTn id="55" dur="1" fill="hold">
                                          <p:stCondLst>
                                            <p:cond delay="0"/>
                                          </p:stCondLst>
                                        </p:cTn>
                                        <p:tgtEl>
                                          <p:spTgt spid="24"/>
                                        </p:tgtEl>
                                        <p:attrNameLst>
                                          <p:attrName>style.visibility</p:attrName>
                                        </p:attrNameLst>
                                      </p:cBhvr>
                                      <p:to>
                                        <p:strVal val="visible"/>
                                      </p:to>
                                    </p:set>
                                    <p:animEffect transition="in" filter="wipe(left)">
                                      <p:cBhvr>
                                        <p:cTn id="56" dur="500"/>
                                        <p:tgtEl>
                                          <p:spTgt spid="24"/>
                                        </p:tgtEl>
                                      </p:cBhvr>
                                    </p:animEffect>
                                  </p:childTnLst>
                                </p:cTn>
                              </p:par>
                              <p:par>
                                <p:cTn id="57" presetID="22" presetClass="entr" presetSubtype="8" fill="hold" grpId="0" nodeType="withEffect">
                                  <p:stCondLst>
                                    <p:cond delay="0"/>
                                  </p:stCondLst>
                                  <p:childTnLst>
                                    <p:set>
                                      <p:cBhvr>
                                        <p:cTn id="58" dur="1" fill="hold">
                                          <p:stCondLst>
                                            <p:cond delay="0"/>
                                          </p:stCondLst>
                                        </p:cTn>
                                        <p:tgtEl>
                                          <p:spTgt spid="25"/>
                                        </p:tgtEl>
                                        <p:attrNameLst>
                                          <p:attrName>style.visibility</p:attrName>
                                        </p:attrNameLst>
                                      </p:cBhvr>
                                      <p:to>
                                        <p:strVal val="visible"/>
                                      </p:to>
                                    </p:set>
                                    <p:animEffect transition="in" filter="wipe(left)">
                                      <p:cBhvr>
                                        <p:cTn id="59" dur="500"/>
                                        <p:tgtEl>
                                          <p:spTgt spid="25"/>
                                        </p:tgtEl>
                                      </p:cBhvr>
                                    </p:animEffect>
                                  </p:childTnLst>
                                </p:cTn>
                              </p:par>
                            </p:childTnLst>
                          </p:cTn>
                        </p:par>
                        <p:par>
                          <p:cTn id="60" fill="hold">
                            <p:stCondLst>
                              <p:cond delay="500"/>
                            </p:stCondLst>
                            <p:childTnLst>
                              <p:par>
                                <p:cTn id="61" presetID="22" presetClass="entr" presetSubtype="4" fill="hold" nodeType="afterEffect">
                                  <p:stCondLst>
                                    <p:cond delay="0"/>
                                  </p:stCondLst>
                                  <p:childTnLst>
                                    <p:set>
                                      <p:cBhvr>
                                        <p:cTn id="62" dur="1" fill="hold">
                                          <p:stCondLst>
                                            <p:cond delay="0"/>
                                          </p:stCondLst>
                                        </p:cTn>
                                        <p:tgtEl>
                                          <p:spTgt spid="41"/>
                                        </p:tgtEl>
                                        <p:attrNameLst>
                                          <p:attrName>style.visibility</p:attrName>
                                        </p:attrNameLst>
                                      </p:cBhvr>
                                      <p:to>
                                        <p:strVal val="visible"/>
                                      </p:to>
                                    </p:set>
                                    <p:animEffect transition="in" filter="wipe(down)">
                                      <p:cBhvr>
                                        <p:cTn id="63" dur="500"/>
                                        <p:tgtEl>
                                          <p:spTgt spid="41"/>
                                        </p:tgtEl>
                                      </p:cBhvr>
                                    </p:animEffect>
                                  </p:childTnLst>
                                </p:cTn>
                              </p:par>
                              <p:par>
                                <p:cTn id="64" presetID="22" presetClass="entr" presetSubtype="4" fill="hold" nodeType="withEffect">
                                  <p:stCondLst>
                                    <p:cond delay="0"/>
                                  </p:stCondLst>
                                  <p:childTnLst>
                                    <p:set>
                                      <p:cBhvr>
                                        <p:cTn id="65" dur="1" fill="hold">
                                          <p:stCondLst>
                                            <p:cond delay="0"/>
                                          </p:stCondLst>
                                        </p:cTn>
                                        <p:tgtEl>
                                          <p:spTgt spid="44"/>
                                        </p:tgtEl>
                                        <p:attrNameLst>
                                          <p:attrName>style.visibility</p:attrName>
                                        </p:attrNameLst>
                                      </p:cBhvr>
                                      <p:to>
                                        <p:strVal val="visible"/>
                                      </p:to>
                                    </p:set>
                                    <p:animEffect transition="in" filter="wipe(down)">
                                      <p:cBhvr>
                                        <p:cTn id="66" dur="500"/>
                                        <p:tgtEl>
                                          <p:spTgt spid="44"/>
                                        </p:tgtEl>
                                      </p:cBhvr>
                                    </p:animEffect>
                                  </p:childTnLst>
                                </p:cTn>
                              </p:par>
                              <p:par>
                                <p:cTn id="67" presetID="22" presetClass="entr" presetSubtype="4" fill="hold" nodeType="withEffect">
                                  <p:stCondLst>
                                    <p:cond delay="0"/>
                                  </p:stCondLst>
                                  <p:childTnLst>
                                    <p:set>
                                      <p:cBhvr>
                                        <p:cTn id="68" dur="1" fill="hold">
                                          <p:stCondLst>
                                            <p:cond delay="0"/>
                                          </p:stCondLst>
                                        </p:cTn>
                                        <p:tgtEl>
                                          <p:spTgt spid="46"/>
                                        </p:tgtEl>
                                        <p:attrNameLst>
                                          <p:attrName>style.visibility</p:attrName>
                                        </p:attrNameLst>
                                      </p:cBhvr>
                                      <p:to>
                                        <p:strVal val="visible"/>
                                      </p:to>
                                    </p:set>
                                    <p:animEffect transition="in" filter="wipe(down)">
                                      <p:cBhvr>
                                        <p:cTn id="69" dur="500"/>
                                        <p:tgtEl>
                                          <p:spTgt spid="46"/>
                                        </p:tgtEl>
                                      </p:cBhvr>
                                    </p:animEffect>
                                  </p:childTnLst>
                                </p:cTn>
                              </p:par>
                              <p:par>
                                <p:cTn id="70" presetID="22" presetClass="entr" presetSubtype="4" fill="hold" nodeType="withEffect">
                                  <p:stCondLst>
                                    <p:cond delay="0"/>
                                  </p:stCondLst>
                                  <p:childTnLst>
                                    <p:set>
                                      <p:cBhvr>
                                        <p:cTn id="71" dur="1" fill="hold">
                                          <p:stCondLst>
                                            <p:cond delay="0"/>
                                          </p:stCondLst>
                                        </p:cTn>
                                        <p:tgtEl>
                                          <p:spTgt spid="45"/>
                                        </p:tgtEl>
                                        <p:attrNameLst>
                                          <p:attrName>style.visibility</p:attrName>
                                        </p:attrNameLst>
                                      </p:cBhvr>
                                      <p:to>
                                        <p:strVal val="visible"/>
                                      </p:to>
                                    </p:set>
                                    <p:animEffect transition="in" filter="wipe(down)">
                                      <p:cBhvr>
                                        <p:cTn id="72" dur="500"/>
                                        <p:tgtEl>
                                          <p:spTgt spid="45"/>
                                        </p:tgtEl>
                                      </p:cBhvr>
                                    </p:animEffect>
                                  </p:childTnLst>
                                </p:cTn>
                              </p:par>
                              <p:par>
                                <p:cTn id="73" presetID="22" presetClass="entr" presetSubtype="4" fill="hold" nodeType="withEffect">
                                  <p:stCondLst>
                                    <p:cond delay="0"/>
                                  </p:stCondLst>
                                  <p:childTnLst>
                                    <p:set>
                                      <p:cBhvr>
                                        <p:cTn id="74" dur="1" fill="hold">
                                          <p:stCondLst>
                                            <p:cond delay="0"/>
                                          </p:stCondLst>
                                        </p:cTn>
                                        <p:tgtEl>
                                          <p:spTgt spid="47"/>
                                        </p:tgtEl>
                                        <p:attrNameLst>
                                          <p:attrName>style.visibility</p:attrName>
                                        </p:attrNameLst>
                                      </p:cBhvr>
                                      <p:to>
                                        <p:strVal val="visible"/>
                                      </p:to>
                                    </p:set>
                                    <p:animEffect transition="in" filter="wipe(down)">
                                      <p:cBhvr>
                                        <p:cTn id="75" dur="500"/>
                                        <p:tgtEl>
                                          <p:spTgt spid="47"/>
                                        </p:tgtEl>
                                      </p:cBhvr>
                                    </p:animEffect>
                                  </p:childTnLst>
                                </p:cTn>
                              </p:par>
                              <p:par>
                                <p:cTn id="76" presetID="22" presetClass="entr" presetSubtype="4" fill="hold" nodeType="withEffect">
                                  <p:stCondLst>
                                    <p:cond delay="0"/>
                                  </p:stCondLst>
                                  <p:childTnLst>
                                    <p:set>
                                      <p:cBhvr>
                                        <p:cTn id="77" dur="1" fill="hold">
                                          <p:stCondLst>
                                            <p:cond delay="0"/>
                                          </p:stCondLst>
                                        </p:cTn>
                                        <p:tgtEl>
                                          <p:spTgt spid="50"/>
                                        </p:tgtEl>
                                        <p:attrNameLst>
                                          <p:attrName>style.visibility</p:attrName>
                                        </p:attrNameLst>
                                      </p:cBhvr>
                                      <p:to>
                                        <p:strVal val="visible"/>
                                      </p:to>
                                    </p:set>
                                    <p:animEffect transition="in" filter="wipe(down)">
                                      <p:cBhvr>
                                        <p:cTn id="78"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0" grpId="0" animBg="1"/>
      <p:bldP spid="18" grpId="0" animBg="1"/>
      <p:bldP spid="20" grpId="0" animBg="1"/>
      <p:bldP spid="22" grpId="0" animBg="1"/>
      <p:bldP spid="23" grpId="0" animBg="1"/>
      <p:bldP spid="24" grpId="0" animBg="1"/>
      <p:bldP spid="25" grpId="0" animBg="1"/>
      <p:bldP spid="33" grpId="0"/>
      <p:bldP spid="34"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Hybrid Architecture</a:t>
            </a:r>
            <a:endParaRPr lang="en-US" dirty="0"/>
          </a:p>
        </p:txBody>
      </p:sp>
      <p:sp>
        <p:nvSpPr>
          <p:cNvPr id="7" name="On Prem Resource Files"/>
          <p:cNvSpPr>
            <a:spLocks noChangeAspect="1"/>
          </p:cNvSpPr>
          <p:nvPr/>
        </p:nvSpPr>
        <p:spPr bwMode="auto">
          <a:xfrm>
            <a:off x="5272409" y="4737590"/>
            <a:ext cx="1372442" cy="1146342"/>
          </a:xfrm>
          <a:custGeom>
            <a:avLst/>
            <a:gdLst>
              <a:gd name="connsiteX0" fmla="*/ 2879361 w 7694150"/>
              <a:gd name="connsiteY0" fmla="*/ 599225 h 6426586"/>
              <a:gd name="connsiteX1" fmla="*/ 2879361 w 7694150"/>
              <a:gd name="connsiteY1" fmla="*/ 2178977 h 6426586"/>
              <a:gd name="connsiteX2" fmla="*/ 4515242 w 7694150"/>
              <a:gd name="connsiteY2" fmla="*/ 2178977 h 6426586"/>
              <a:gd name="connsiteX3" fmla="*/ 3447182 w 7694150"/>
              <a:gd name="connsiteY3" fmla="*/ 0 h 6426586"/>
              <a:gd name="connsiteX4" fmla="*/ 4145170 w 7694150"/>
              <a:gd name="connsiteY4" fmla="*/ 0 h 6426586"/>
              <a:gd name="connsiteX5" fmla="*/ 4145170 w 7694150"/>
              <a:gd name="connsiteY5" fmla="*/ 785 h 6426586"/>
              <a:gd name="connsiteX6" fmla="*/ 4154056 w 7694150"/>
              <a:gd name="connsiteY6" fmla="*/ 1 h 6426586"/>
              <a:gd name="connsiteX7" fmla="*/ 4488501 w 7694150"/>
              <a:gd name="connsiteY7" fmla="*/ 102159 h 6426586"/>
              <a:gd name="connsiteX8" fmla="*/ 4556957 w 7694150"/>
              <a:gd name="connsiteY8" fmla="*/ 158641 h 6426586"/>
              <a:gd name="connsiteX9" fmla="*/ 4558423 w 7694150"/>
              <a:gd name="connsiteY9" fmla="*/ 157121 h 6426586"/>
              <a:gd name="connsiteX10" fmla="*/ 6229181 w 7694150"/>
              <a:gd name="connsiteY10" fmla="*/ 1770553 h 6426586"/>
              <a:gd name="connsiteX11" fmla="*/ 6228771 w 7694150"/>
              <a:gd name="connsiteY11" fmla="*/ 1770977 h 6426586"/>
              <a:gd name="connsiteX12" fmla="*/ 6298757 w 7694150"/>
              <a:gd name="connsiteY12" fmla="*/ 1855801 h 6426586"/>
              <a:gd name="connsiteX13" fmla="*/ 6394023 w 7694150"/>
              <a:gd name="connsiteY13" fmla="*/ 2099148 h 6426586"/>
              <a:gd name="connsiteX14" fmla="*/ 6400081 w 7694150"/>
              <a:gd name="connsiteY14" fmla="*/ 2179235 h 6426586"/>
              <a:gd name="connsiteX15" fmla="*/ 6400915 w 7694150"/>
              <a:gd name="connsiteY15" fmla="*/ 2179235 h 6426586"/>
              <a:gd name="connsiteX16" fmla="*/ 6400915 w 7694150"/>
              <a:gd name="connsiteY16" fmla="*/ 2190243 h 6426586"/>
              <a:gd name="connsiteX17" fmla="*/ 6400915 w 7694150"/>
              <a:gd name="connsiteY17" fmla="*/ 5844302 h 6426586"/>
              <a:gd name="connsiteX18" fmla="*/ 5812969 w 7694150"/>
              <a:gd name="connsiteY18" fmla="*/ 6426586 h 6426586"/>
              <a:gd name="connsiteX19" fmla="*/ 5684245 w 7694150"/>
              <a:gd name="connsiteY19" fmla="*/ 6426586 h 6426586"/>
              <a:gd name="connsiteX20" fmla="*/ 5733681 w 7694150"/>
              <a:gd name="connsiteY20" fmla="*/ 6336385 h 6426586"/>
              <a:gd name="connsiteX21" fmla="*/ 5779885 w 7694150"/>
              <a:gd name="connsiteY21" fmla="*/ 6109734 h 6426586"/>
              <a:gd name="connsiteX22" fmla="*/ 5779885 w 7694150"/>
              <a:gd name="connsiteY22" fmla="*/ 2455675 h 6426586"/>
              <a:gd name="connsiteX23" fmla="*/ 5757821 w 7694150"/>
              <a:gd name="connsiteY23" fmla="*/ 2178977 h 6426586"/>
              <a:gd name="connsiteX24" fmla="*/ 4121940 w 7694150"/>
              <a:gd name="connsiteY24" fmla="*/ 599225 h 6426586"/>
              <a:gd name="connsiteX25" fmla="*/ 4121940 w 7694150"/>
              <a:gd name="connsiteY25" fmla="*/ 600768 h 6426586"/>
              <a:gd name="connsiteX26" fmla="*/ 3937393 w 7694150"/>
              <a:gd name="connsiteY26" fmla="*/ 422553 h 6426586"/>
              <a:gd name="connsiteX27" fmla="*/ 3935926 w 7694150"/>
              <a:gd name="connsiteY27" fmla="*/ 424073 h 6426586"/>
              <a:gd name="connsiteX28" fmla="*/ 3867470 w 7694150"/>
              <a:gd name="connsiteY28" fmla="*/ 367591 h 6426586"/>
              <a:gd name="connsiteX29" fmla="*/ 3533026 w 7694150"/>
              <a:gd name="connsiteY29" fmla="*/ 265433 h 6426586"/>
              <a:gd name="connsiteX30" fmla="*/ 3524140 w 7694150"/>
              <a:gd name="connsiteY30" fmla="*/ 266217 h 6426586"/>
              <a:gd name="connsiteX31" fmla="*/ 3524140 w 7694150"/>
              <a:gd name="connsiteY31" fmla="*/ 265432 h 6426586"/>
              <a:gd name="connsiteX32" fmla="*/ 3447182 w 7694150"/>
              <a:gd name="connsiteY32" fmla="*/ 265432 h 6426586"/>
              <a:gd name="connsiteX33" fmla="*/ 587945 w 7694150"/>
              <a:gd name="connsiteY33" fmla="*/ 0 h 6426586"/>
              <a:gd name="connsiteX34" fmla="*/ 2902591 w 7694150"/>
              <a:gd name="connsiteY34" fmla="*/ 0 h 6426586"/>
              <a:gd name="connsiteX35" fmla="*/ 2902591 w 7694150"/>
              <a:gd name="connsiteY35" fmla="*/ 785 h 6426586"/>
              <a:gd name="connsiteX36" fmla="*/ 2911477 w 7694150"/>
              <a:gd name="connsiteY36" fmla="*/ 1 h 6426586"/>
              <a:gd name="connsiteX37" fmla="*/ 3245921 w 7694150"/>
              <a:gd name="connsiteY37" fmla="*/ 102159 h 6426586"/>
              <a:gd name="connsiteX38" fmla="*/ 3314377 w 7694150"/>
              <a:gd name="connsiteY38" fmla="*/ 158641 h 6426586"/>
              <a:gd name="connsiteX39" fmla="*/ 3315844 w 7694150"/>
              <a:gd name="connsiteY39" fmla="*/ 157121 h 6426586"/>
              <a:gd name="connsiteX40" fmla="*/ 4986602 w 7694150"/>
              <a:gd name="connsiteY40" fmla="*/ 1770553 h 6426586"/>
              <a:gd name="connsiteX41" fmla="*/ 4986192 w 7694150"/>
              <a:gd name="connsiteY41" fmla="*/ 1770977 h 6426586"/>
              <a:gd name="connsiteX42" fmla="*/ 5056178 w 7694150"/>
              <a:gd name="connsiteY42" fmla="*/ 1855801 h 6426586"/>
              <a:gd name="connsiteX43" fmla="*/ 5151444 w 7694150"/>
              <a:gd name="connsiteY43" fmla="*/ 2099148 h 6426586"/>
              <a:gd name="connsiteX44" fmla="*/ 5157503 w 7694150"/>
              <a:gd name="connsiteY44" fmla="*/ 2179235 h 6426586"/>
              <a:gd name="connsiteX45" fmla="*/ 5158336 w 7694150"/>
              <a:gd name="connsiteY45" fmla="*/ 2179235 h 6426586"/>
              <a:gd name="connsiteX46" fmla="*/ 5158336 w 7694150"/>
              <a:gd name="connsiteY46" fmla="*/ 2190243 h 6426586"/>
              <a:gd name="connsiteX47" fmla="*/ 5158336 w 7694150"/>
              <a:gd name="connsiteY47" fmla="*/ 5844302 h 6426586"/>
              <a:gd name="connsiteX48" fmla="*/ 4570391 w 7694150"/>
              <a:gd name="connsiteY48" fmla="*/ 6426586 h 6426586"/>
              <a:gd name="connsiteX49" fmla="*/ 587945 w 7694150"/>
              <a:gd name="connsiteY49" fmla="*/ 6426586 h 6426586"/>
              <a:gd name="connsiteX50" fmla="*/ 0 w 7694150"/>
              <a:gd name="connsiteY50" fmla="*/ 5844302 h 6426586"/>
              <a:gd name="connsiteX51" fmla="*/ 0 w 7694150"/>
              <a:gd name="connsiteY51" fmla="*/ 582285 h 6426586"/>
              <a:gd name="connsiteX52" fmla="*/ 587945 w 7694150"/>
              <a:gd name="connsiteY52" fmla="*/ 0 h 6426586"/>
              <a:gd name="connsiteX53" fmla="*/ 4740417 w 7694150"/>
              <a:gd name="connsiteY53" fmla="*/ 0 h 6426586"/>
              <a:gd name="connsiteX54" fmla="*/ 5438405 w 7694150"/>
              <a:gd name="connsiteY54" fmla="*/ 0 h 6426586"/>
              <a:gd name="connsiteX55" fmla="*/ 5438405 w 7694150"/>
              <a:gd name="connsiteY55" fmla="*/ 785 h 6426586"/>
              <a:gd name="connsiteX56" fmla="*/ 5447291 w 7694150"/>
              <a:gd name="connsiteY56" fmla="*/ 1 h 6426586"/>
              <a:gd name="connsiteX57" fmla="*/ 5781736 w 7694150"/>
              <a:gd name="connsiteY57" fmla="*/ 102159 h 6426586"/>
              <a:gd name="connsiteX58" fmla="*/ 5850192 w 7694150"/>
              <a:gd name="connsiteY58" fmla="*/ 158641 h 6426586"/>
              <a:gd name="connsiteX59" fmla="*/ 5851658 w 7694150"/>
              <a:gd name="connsiteY59" fmla="*/ 157121 h 6426586"/>
              <a:gd name="connsiteX60" fmla="*/ 7522416 w 7694150"/>
              <a:gd name="connsiteY60" fmla="*/ 1770553 h 6426586"/>
              <a:gd name="connsiteX61" fmla="*/ 7522006 w 7694150"/>
              <a:gd name="connsiteY61" fmla="*/ 1770977 h 6426586"/>
              <a:gd name="connsiteX62" fmla="*/ 7591992 w 7694150"/>
              <a:gd name="connsiteY62" fmla="*/ 1855801 h 6426586"/>
              <a:gd name="connsiteX63" fmla="*/ 7687258 w 7694150"/>
              <a:gd name="connsiteY63" fmla="*/ 2099148 h 6426586"/>
              <a:gd name="connsiteX64" fmla="*/ 7693316 w 7694150"/>
              <a:gd name="connsiteY64" fmla="*/ 2179235 h 6426586"/>
              <a:gd name="connsiteX65" fmla="*/ 7694150 w 7694150"/>
              <a:gd name="connsiteY65" fmla="*/ 2179235 h 6426586"/>
              <a:gd name="connsiteX66" fmla="*/ 7694150 w 7694150"/>
              <a:gd name="connsiteY66" fmla="*/ 2190243 h 6426586"/>
              <a:gd name="connsiteX67" fmla="*/ 7694150 w 7694150"/>
              <a:gd name="connsiteY67" fmla="*/ 5844302 h 6426586"/>
              <a:gd name="connsiteX68" fmla="*/ 7106204 w 7694150"/>
              <a:gd name="connsiteY68" fmla="*/ 6426586 h 6426586"/>
              <a:gd name="connsiteX69" fmla="*/ 6977480 w 7694150"/>
              <a:gd name="connsiteY69" fmla="*/ 6426586 h 6426586"/>
              <a:gd name="connsiteX70" fmla="*/ 7026916 w 7694150"/>
              <a:gd name="connsiteY70" fmla="*/ 6336385 h 6426586"/>
              <a:gd name="connsiteX71" fmla="*/ 7073120 w 7694150"/>
              <a:gd name="connsiteY71" fmla="*/ 6109734 h 6426586"/>
              <a:gd name="connsiteX72" fmla="*/ 7073120 w 7694150"/>
              <a:gd name="connsiteY72" fmla="*/ 2455675 h 6426586"/>
              <a:gd name="connsiteX73" fmla="*/ 7051056 w 7694150"/>
              <a:gd name="connsiteY73" fmla="*/ 2178977 h 6426586"/>
              <a:gd name="connsiteX74" fmla="*/ 5415175 w 7694150"/>
              <a:gd name="connsiteY74" fmla="*/ 599225 h 6426586"/>
              <a:gd name="connsiteX75" fmla="*/ 5415175 w 7694150"/>
              <a:gd name="connsiteY75" fmla="*/ 600768 h 6426586"/>
              <a:gd name="connsiteX76" fmla="*/ 5230628 w 7694150"/>
              <a:gd name="connsiteY76" fmla="*/ 422553 h 6426586"/>
              <a:gd name="connsiteX77" fmla="*/ 5229161 w 7694150"/>
              <a:gd name="connsiteY77" fmla="*/ 424073 h 6426586"/>
              <a:gd name="connsiteX78" fmla="*/ 5160705 w 7694150"/>
              <a:gd name="connsiteY78" fmla="*/ 367591 h 6426586"/>
              <a:gd name="connsiteX79" fmla="*/ 4826261 w 7694150"/>
              <a:gd name="connsiteY79" fmla="*/ 265433 h 6426586"/>
              <a:gd name="connsiteX80" fmla="*/ 4817375 w 7694150"/>
              <a:gd name="connsiteY80" fmla="*/ 266217 h 6426586"/>
              <a:gd name="connsiteX81" fmla="*/ 4817375 w 7694150"/>
              <a:gd name="connsiteY81" fmla="*/ 265432 h 6426586"/>
              <a:gd name="connsiteX82" fmla="*/ 4740417 w 7694150"/>
              <a:gd name="connsiteY82" fmla="*/ 265432 h 6426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694150" h="6426586">
                <a:moveTo>
                  <a:pt x="2879361" y="599225"/>
                </a:moveTo>
                <a:lnTo>
                  <a:pt x="2879361" y="2178977"/>
                </a:lnTo>
                <a:lnTo>
                  <a:pt x="4515242" y="2178977"/>
                </a:lnTo>
                <a:close/>
                <a:moveTo>
                  <a:pt x="3447182" y="0"/>
                </a:moveTo>
                <a:lnTo>
                  <a:pt x="4145170" y="0"/>
                </a:lnTo>
                <a:lnTo>
                  <a:pt x="4145170" y="785"/>
                </a:lnTo>
                <a:lnTo>
                  <a:pt x="4154056" y="1"/>
                </a:lnTo>
                <a:cubicBezTo>
                  <a:pt x="4277942" y="1"/>
                  <a:pt x="4393031" y="37662"/>
                  <a:pt x="4488501" y="102159"/>
                </a:cubicBezTo>
                <a:lnTo>
                  <a:pt x="4556957" y="158641"/>
                </a:lnTo>
                <a:lnTo>
                  <a:pt x="4558423" y="157121"/>
                </a:lnTo>
                <a:lnTo>
                  <a:pt x="6229181" y="1770553"/>
                </a:lnTo>
                <a:lnTo>
                  <a:pt x="6228771" y="1770977"/>
                </a:lnTo>
                <a:lnTo>
                  <a:pt x="6298757" y="1855801"/>
                </a:lnTo>
                <a:cubicBezTo>
                  <a:pt x="6347129" y="1927402"/>
                  <a:pt x="6380407" y="2010040"/>
                  <a:pt x="6394023" y="2099148"/>
                </a:cubicBezTo>
                <a:lnTo>
                  <a:pt x="6400081" y="2179235"/>
                </a:lnTo>
                <a:lnTo>
                  <a:pt x="6400915" y="2179235"/>
                </a:lnTo>
                <a:lnTo>
                  <a:pt x="6400915" y="2190243"/>
                </a:lnTo>
                <a:lnTo>
                  <a:pt x="6400915" y="5844302"/>
                </a:lnTo>
                <a:cubicBezTo>
                  <a:pt x="6400915" y="6165888"/>
                  <a:pt x="6137683" y="6426586"/>
                  <a:pt x="5812969" y="6426586"/>
                </a:cubicBezTo>
                <a:lnTo>
                  <a:pt x="5684245" y="6426586"/>
                </a:lnTo>
                <a:lnTo>
                  <a:pt x="5733681" y="6336385"/>
                </a:lnTo>
                <a:cubicBezTo>
                  <a:pt x="5763433" y="6266722"/>
                  <a:pt x="5779885" y="6190131"/>
                  <a:pt x="5779885" y="6109734"/>
                </a:cubicBezTo>
                <a:lnTo>
                  <a:pt x="5779885" y="2455675"/>
                </a:lnTo>
                <a:cubicBezTo>
                  <a:pt x="5780150" y="2317722"/>
                  <a:pt x="5780416" y="2212790"/>
                  <a:pt x="5757821" y="2178977"/>
                </a:cubicBezTo>
                <a:lnTo>
                  <a:pt x="4121940" y="599225"/>
                </a:lnTo>
                <a:lnTo>
                  <a:pt x="4121940" y="600768"/>
                </a:lnTo>
                <a:lnTo>
                  <a:pt x="3937393" y="422553"/>
                </a:lnTo>
                <a:lnTo>
                  <a:pt x="3935926" y="424073"/>
                </a:lnTo>
                <a:lnTo>
                  <a:pt x="3867470" y="367591"/>
                </a:lnTo>
                <a:cubicBezTo>
                  <a:pt x="3772001" y="303094"/>
                  <a:pt x="3656912" y="265433"/>
                  <a:pt x="3533026" y="265433"/>
                </a:cubicBezTo>
                <a:lnTo>
                  <a:pt x="3524140" y="266217"/>
                </a:lnTo>
                <a:lnTo>
                  <a:pt x="3524140" y="265432"/>
                </a:lnTo>
                <a:lnTo>
                  <a:pt x="3447182" y="265432"/>
                </a:lnTo>
                <a:close/>
                <a:moveTo>
                  <a:pt x="587945" y="0"/>
                </a:moveTo>
                <a:lnTo>
                  <a:pt x="2902591" y="0"/>
                </a:lnTo>
                <a:lnTo>
                  <a:pt x="2902591" y="785"/>
                </a:lnTo>
                <a:lnTo>
                  <a:pt x="2911477" y="1"/>
                </a:lnTo>
                <a:cubicBezTo>
                  <a:pt x="3035363" y="1"/>
                  <a:pt x="3150452" y="37662"/>
                  <a:pt x="3245921" y="102159"/>
                </a:cubicBezTo>
                <a:lnTo>
                  <a:pt x="3314377" y="158641"/>
                </a:lnTo>
                <a:lnTo>
                  <a:pt x="3315844" y="157121"/>
                </a:lnTo>
                <a:lnTo>
                  <a:pt x="4986602" y="1770553"/>
                </a:lnTo>
                <a:lnTo>
                  <a:pt x="4986192" y="1770977"/>
                </a:lnTo>
                <a:lnTo>
                  <a:pt x="5056178" y="1855801"/>
                </a:lnTo>
                <a:cubicBezTo>
                  <a:pt x="5104551" y="1927402"/>
                  <a:pt x="5137828" y="2010040"/>
                  <a:pt x="5151444" y="2099148"/>
                </a:cubicBezTo>
                <a:lnTo>
                  <a:pt x="5157503" y="2179235"/>
                </a:lnTo>
                <a:lnTo>
                  <a:pt x="5158336" y="2179235"/>
                </a:lnTo>
                <a:lnTo>
                  <a:pt x="5158336" y="2190243"/>
                </a:lnTo>
                <a:lnTo>
                  <a:pt x="5158336" y="5844302"/>
                </a:lnTo>
                <a:cubicBezTo>
                  <a:pt x="5158336" y="6165888"/>
                  <a:pt x="4895104" y="6426586"/>
                  <a:pt x="4570391" y="6426586"/>
                </a:cubicBezTo>
                <a:lnTo>
                  <a:pt x="587945" y="6426586"/>
                </a:lnTo>
                <a:cubicBezTo>
                  <a:pt x="263233" y="6426586"/>
                  <a:pt x="0" y="6165888"/>
                  <a:pt x="0" y="5844302"/>
                </a:cubicBezTo>
                <a:lnTo>
                  <a:pt x="0" y="582285"/>
                </a:lnTo>
                <a:cubicBezTo>
                  <a:pt x="0" y="260698"/>
                  <a:pt x="263233" y="0"/>
                  <a:pt x="587945" y="0"/>
                </a:cubicBezTo>
                <a:close/>
                <a:moveTo>
                  <a:pt x="4740417" y="0"/>
                </a:moveTo>
                <a:lnTo>
                  <a:pt x="5438405" y="0"/>
                </a:lnTo>
                <a:lnTo>
                  <a:pt x="5438405" y="785"/>
                </a:lnTo>
                <a:lnTo>
                  <a:pt x="5447291" y="1"/>
                </a:lnTo>
                <a:cubicBezTo>
                  <a:pt x="5571177" y="1"/>
                  <a:pt x="5686266" y="37662"/>
                  <a:pt x="5781736" y="102159"/>
                </a:cubicBezTo>
                <a:lnTo>
                  <a:pt x="5850192" y="158641"/>
                </a:lnTo>
                <a:lnTo>
                  <a:pt x="5851658" y="157121"/>
                </a:lnTo>
                <a:lnTo>
                  <a:pt x="7522416" y="1770553"/>
                </a:lnTo>
                <a:lnTo>
                  <a:pt x="7522006" y="1770977"/>
                </a:lnTo>
                <a:lnTo>
                  <a:pt x="7591992" y="1855801"/>
                </a:lnTo>
                <a:cubicBezTo>
                  <a:pt x="7640364" y="1927402"/>
                  <a:pt x="7673642" y="2010040"/>
                  <a:pt x="7687258" y="2099148"/>
                </a:cubicBezTo>
                <a:lnTo>
                  <a:pt x="7693316" y="2179235"/>
                </a:lnTo>
                <a:lnTo>
                  <a:pt x="7694150" y="2179235"/>
                </a:lnTo>
                <a:lnTo>
                  <a:pt x="7694150" y="2190243"/>
                </a:lnTo>
                <a:lnTo>
                  <a:pt x="7694150" y="5844302"/>
                </a:lnTo>
                <a:cubicBezTo>
                  <a:pt x="7694150" y="6165888"/>
                  <a:pt x="7430918" y="6426586"/>
                  <a:pt x="7106204" y="6426586"/>
                </a:cubicBezTo>
                <a:lnTo>
                  <a:pt x="6977480" y="6426586"/>
                </a:lnTo>
                <a:lnTo>
                  <a:pt x="7026916" y="6336385"/>
                </a:lnTo>
                <a:cubicBezTo>
                  <a:pt x="7056668" y="6266722"/>
                  <a:pt x="7073120" y="6190131"/>
                  <a:pt x="7073120" y="6109734"/>
                </a:cubicBezTo>
                <a:lnTo>
                  <a:pt x="7073120" y="2455675"/>
                </a:lnTo>
                <a:cubicBezTo>
                  <a:pt x="7073385" y="2317722"/>
                  <a:pt x="7073651" y="2212790"/>
                  <a:pt x="7051056" y="2178977"/>
                </a:cubicBezTo>
                <a:lnTo>
                  <a:pt x="5415175" y="599225"/>
                </a:lnTo>
                <a:lnTo>
                  <a:pt x="5415175" y="600768"/>
                </a:lnTo>
                <a:lnTo>
                  <a:pt x="5230628" y="422553"/>
                </a:lnTo>
                <a:lnTo>
                  <a:pt x="5229161" y="424073"/>
                </a:lnTo>
                <a:lnTo>
                  <a:pt x="5160705" y="367591"/>
                </a:lnTo>
                <a:cubicBezTo>
                  <a:pt x="5065236" y="303094"/>
                  <a:pt x="4950147" y="265433"/>
                  <a:pt x="4826261" y="265433"/>
                </a:cubicBezTo>
                <a:lnTo>
                  <a:pt x="4817375" y="266217"/>
                </a:lnTo>
                <a:lnTo>
                  <a:pt x="4817375" y="265432"/>
                </a:lnTo>
                <a:lnTo>
                  <a:pt x="4740417" y="265432"/>
                </a:lnTo>
                <a:close/>
              </a:path>
            </a:pathLst>
          </a:custGeom>
          <a:solidFill>
            <a:srgbClr val="637283"/>
          </a:solidFill>
          <a:ln w="9525" cap="flat" cmpd="sng" algn="ctr">
            <a:noFill/>
            <a:prstDash val="solid"/>
            <a:headEnd type="none" w="med" len="med"/>
            <a:tailEnd type="none" w="med" len="med"/>
          </a:ln>
          <a:effectLst/>
        </p:spPr>
        <p:txBody>
          <a:bodyPr vert="horz" wrap="square" lIns="91440" tIns="0" rIns="0" bIns="0" numCol="1" rtlCol="0" anchor="b" anchorCtr="0" compatLnSpc="1">
            <a:prstTxWarp prst="textNoShape">
              <a:avLst/>
            </a:prstTxWarp>
          </a:bodyPr>
          <a:lstStyle/>
          <a:p>
            <a:pPr marL="0" marR="0" lvl="0" indent="0" defTabSz="914099" eaLnBrk="1" fontAlgn="base" latinLnBrk="0" hangingPunct="1">
              <a:lnSpc>
                <a:spcPct val="100000"/>
              </a:lnSpc>
              <a:spcBef>
                <a:spcPct val="0"/>
              </a:spcBef>
              <a:spcAft>
                <a:spcPct val="0"/>
              </a:spcAft>
              <a:buClrTx/>
              <a:buSzTx/>
              <a:buFontTx/>
              <a:buNone/>
              <a:tabLst/>
              <a:defRPr/>
            </a:pPr>
            <a:r>
              <a:rPr lang="en-US" sz="1800" kern="0" dirty="0">
                <a:gradFill>
                  <a:gsLst>
                    <a:gs pos="0">
                      <a:srgbClr val="FFFFFF"/>
                    </a:gs>
                    <a:gs pos="100000">
                      <a:srgbClr val="FFFFFF"/>
                    </a:gs>
                  </a:gsLst>
                  <a:lin ang="5400000" scaled="0"/>
                </a:gradFill>
                <a:latin typeface="Segoe Semibold"/>
              </a:rPr>
              <a:t>j</a:t>
            </a:r>
            <a:r>
              <a:rPr kumimoji="0" lang="en-US" sz="18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Semibold"/>
              </a:rPr>
              <a:t>pg</a:t>
            </a:r>
            <a:endParaRPr kumimoji="0" lang="en-US" sz="18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Semibold"/>
            </a:endParaRPr>
          </a:p>
          <a:p>
            <a:pPr marL="0" marR="0" lvl="0" indent="0" defTabSz="914099" eaLnBrk="1" fontAlgn="base" latinLnBrk="0" hangingPunct="1">
              <a:lnSpc>
                <a:spcPct val="100000"/>
              </a:lnSpc>
              <a:spcBef>
                <a:spcPct val="0"/>
              </a:spcBef>
              <a:spcAft>
                <a:spcPct val="0"/>
              </a:spcAft>
              <a:buClrTx/>
              <a:buSzTx/>
              <a:buFontTx/>
              <a:buNone/>
              <a:tabLst/>
              <a:defRPr/>
            </a:pPr>
            <a:r>
              <a:rPr lang="en-US" sz="1800" kern="0" dirty="0" err="1" smtClean="0">
                <a:gradFill>
                  <a:gsLst>
                    <a:gs pos="0">
                      <a:srgbClr val="FFFFFF"/>
                    </a:gs>
                    <a:gs pos="100000">
                      <a:srgbClr val="FFFFFF"/>
                    </a:gs>
                  </a:gsLst>
                  <a:lin ang="5400000" scaled="0"/>
                </a:gradFill>
                <a:latin typeface="Segoe Semibold"/>
              </a:rPr>
              <a:t>css</a:t>
            </a:r>
            <a:endParaRPr lang="en-US" sz="1800" kern="0" dirty="0" smtClean="0">
              <a:gradFill>
                <a:gsLst>
                  <a:gs pos="0">
                    <a:srgbClr val="FFFFFF"/>
                  </a:gs>
                  <a:gs pos="100000">
                    <a:srgbClr val="FFFFFF"/>
                  </a:gs>
                </a:gsLst>
                <a:lin ang="5400000" scaled="0"/>
              </a:gradFill>
              <a:latin typeface="Segoe Semibold"/>
            </a:endParaRPr>
          </a:p>
          <a:p>
            <a:pPr marL="0" marR="0" lvl="0" indent="0" defTabSz="914099"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Semibold"/>
              </a:rPr>
              <a:t>js</a:t>
            </a:r>
            <a:endParaRPr kumimoji="0" lang="en-US" sz="18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Semibold"/>
            </a:endParaRPr>
          </a:p>
        </p:txBody>
      </p:sp>
      <p:sp>
        <p:nvSpPr>
          <p:cNvPr id="8" name="On-Prem / Cloud Divider"/>
          <p:cNvSpPr/>
          <p:nvPr/>
        </p:nvSpPr>
        <p:spPr bwMode="auto">
          <a:xfrm>
            <a:off x="269170" y="3861956"/>
            <a:ext cx="7336972" cy="65314"/>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4" name="Browser"/>
          <p:cNvGrpSpPr/>
          <p:nvPr/>
        </p:nvGrpSpPr>
        <p:grpSpPr>
          <a:xfrm>
            <a:off x="8670793" y="2806369"/>
            <a:ext cx="2603058" cy="1882902"/>
            <a:chOff x="8670793" y="2806369"/>
            <a:chExt cx="2603058" cy="1882902"/>
          </a:xfrm>
          <a:solidFill>
            <a:srgbClr val="3C454F"/>
          </a:solidFill>
        </p:grpSpPr>
        <p:sp>
          <p:nvSpPr>
            <p:cNvPr id="12" name="Freeform 11"/>
            <p:cNvSpPr/>
            <p:nvPr/>
          </p:nvSpPr>
          <p:spPr>
            <a:xfrm flipH="1">
              <a:off x="8670793" y="2806369"/>
              <a:ext cx="2603058" cy="1882902"/>
            </a:xfrm>
            <a:custGeom>
              <a:avLst/>
              <a:gdLst>
                <a:gd name="connsiteX0" fmla="*/ 1583380 w 2809103"/>
                <a:gd name="connsiteY0" fmla="*/ 1759063 h 2031941"/>
                <a:gd name="connsiteX1" fmla="*/ 1593885 w 2809103"/>
                <a:gd name="connsiteY1" fmla="*/ 1772073 h 2031941"/>
                <a:gd name="connsiteX2" fmla="*/ 1630450 w 2809103"/>
                <a:gd name="connsiteY2" fmla="*/ 1948709 h 2031941"/>
                <a:gd name="connsiteX3" fmla="*/ 1626814 w 2809103"/>
                <a:gd name="connsiteY3" fmla="*/ 1967223 h 2031941"/>
                <a:gd name="connsiteX4" fmla="*/ 1404856 w 2809103"/>
                <a:gd name="connsiteY4" fmla="*/ 1967223 h 2031941"/>
                <a:gd name="connsiteX5" fmla="*/ 1404250 w 2809103"/>
                <a:gd name="connsiteY5" fmla="*/ 1967223 h 2031941"/>
                <a:gd name="connsiteX6" fmla="*/ 1182292 w 2809103"/>
                <a:gd name="connsiteY6" fmla="*/ 1967223 h 2031941"/>
                <a:gd name="connsiteX7" fmla="*/ 1178656 w 2809103"/>
                <a:gd name="connsiteY7" fmla="*/ 1948709 h 2031941"/>
                <a:gd name="connsiteX8" fmla="*/ 1215220 w 2809103"/>
                <a:gd name="connsiteY8" fmla="*/ 1772073 h 2031941"/>
                <a:gd name="connsiteX9" fmla="*/ 1225725 w 2809103"/>
                <a:gd name="connsiteY9" fmla="*/ 1759063 h 2031941"/>
                <a:gd name="connsiteX10" fmla="*/ 1404553 w 2809103"/>
                <a:gd name="connsiteY10" fmla="*/ 1759232 h 2031941"/>
                <a:gd name="connsiteX11" fmla="*/ 2514862 w 2809103"/>
                <a:gd name="connsiteY11" fmla="*/ 1510162 h 2031941"/>
                <a:gd name="connsiteX12" fmla="*/ 1404552 w 2809103"/>
                <a:gd name="connsiteY12" fmla="*/ 1510586 h 2031941"/>
                <a:gd name="connsiteX13" fmla="*/ 294242 w 2809103"/>
                <a:gd name="connsiteY13" fmla="*/ 1510162 h 2031941"/>
                <a:gd name="connsiteX14" fmla="*/ 229019 w 2809103"/>
                <a:gd name="connsiteY14" fmla="*/ 1542773 h 2031941"/>
                <a:gd name="connsiteX15" fmla="*/ 1995 w 2809103"/>
                <a:gd name="connsiteY15" fmla="*/ 1985533 h 2031941"/>
                <a:gd name="connsiteX16" fmla="*/ 24572 w 2809103"/>
                <a:gd name="connsiteY16" fmla="*/ 2031941 h 2031941"/>
                <a:gd name="connsiteX17" fmla="*/ 1402670 w 2809103"/>
                <a:gd name="connsiteY17" fmla="*/ 2031941 h 2031941"/>
                <a:gd name="connsiteX18" fmla="*/ 1406433 w 2809103"/>
                <a:gd name="connsiteY18" fmla="*/ 2031941 h 2031941"/>
                <a:gd name="connsiteX19" fmla="*/ 2784531 w 2809103"/>
                <a:gd name="connsiteY19" fmla="*/ 2031941 h 2031941"/>
                <a:gd name="connsiteX20" fmla="*/ 2807108 w 2809103"/>
                <a:gd name="connsiteY20" fmla="*/ 1985533 h 2031941"/>
                <a:gd name="connsiteX21" fmla="*/ 2580084 w 2809103"/>
                <a:gd name="connsiteY21" fmla="*/ 1542773 h 2031941"/>
                <a:gd name="connsiteX22" fmla="*/ 2514862 w 2809103"/>
                <a:gd name="connsiteY22" fmla="*/ 1510162 h 2031941"/>
                <a:gd name="connsiteX23" fmla="*/ 1386851 w 2809103"/>
                <a:gd name="connsiteY23" fmla="*/ 1351922 h 2031941"/>
                <a:gd name="connsiteX24" fmla="*/ 1386851 w 2809103"/>
                <a:gd name="connsiteY24" fmla="*/ 1378750 h 2031941"/>
                <a:gd name="connsiteX25" fmla="*/ 1350620 w 2809103"/>
                <a:gd name="connsiteY25" fmla="*/ 1383753 h 2031941"/>
                <a:gd name="connsiteX26" fmla="*/ 1350673 w 2809103"/>
                <a:gd name="connsiteY26" fmla="*/ 1351922 h 2031941"/>
                <a:gd name="connsiteX27" fmla="*/ 1417668 w 2809103"/>
                <a:gd name="connsiteY27" fmla="*/ 1351922 h 2031941"/>
                <a:gd name="connsiteX28" fmla="*/ 1417665 w 2809103"/>
                <a:gd name="connsiteY28" fmla="*/ 1374497 h 2031941"/>
                <a:gd name="connsiteX29" fmla="*/ 1390237 w 2809103"/>
                <a:gd name="connsiteY29" fmla="*/ 1378283 h 2031941"/>
                <a:gd name="connsiteX30" fmla="*/ 1390237 w 2809103"/>
                <a:gd name="connsiteY30" fmla="*/ 1351922 h 2031941"/>
                <a:gd name="connsiteX31" fmla="*/ 1390237 w 2809103"/>
                <a:gd name="connsiteY31" fmla="*/ 1322122 h 2031941"/>
                <a:gd name="connsiteX32" fmla="*/ 1417665 w 2809103"/>
                <a:gd name="connsiteY32" fmla="*/ 1325961 h 2031941"/>
                <a:gd name="connsiteX33" fmla="*/ 1417662 w 2809103"/>
                <a:gd name="connsiteY33" fmla="*/ 1348536 h 2031941"/>
                <a:gd name="connsiteX34" fmla="*/ 1390237 w 2809103"/>
                <a:gd name="connsiteY34" fmla="*/ 1348536 h 2031941"/>
                <a:gd name="connsiteX35" fmla="*/ 1350732 w 2809103"/>
                <a:gd name="connsiteY35" fmla="*/ 1316593 h 2031941"/>
                <a:gd name="connsiteX36" fmla="*/ 1386851 w 2809103"/>
                <a:gd name="connsiteY36" fmla="*/ 1321648 h 2031941"/>
                <a:gd name="connsiteX37" fmla="*/ 1386851 w 2809103"/>
                <a:gd name="connsiteY37" fmla="*/ 1348536 h 2031941"/>
                <a:gd name="connsiteX38" fmla="*/ 1350679 w 2809103"/>
                <a:gd name="connsiteY38" fmla="*/ 1348536 h 2031941"/>
                <a:gd name="connsiteX39" fmla="*/ 2396659 w 2809103"/>
                <a:gd name="connsiteY39" fmla="*/ 151144 h 2031941"/>
                <a:gd name="connsiteX40" fmla="*/ 2396659 w 2809103"/>
                <a:gd name="connsiteY40" fmla="*/ 1279894 h 2031941"/>
                <a:gd name="connsiteX41" fmla="*/ 371646 w 2809103"/>
                <a:gd name="connsiteY41" fmla="*/ 1279894 h 2031941"/>
                <a:gd name="connsiteX42" fmla="*/ 371646 w 2809103"/>
                <a:gd name="connsiteY42" fmla="*/ 151144 h 2031941"/>
                <a:gd name="connsiteX43" fmla="*/ 2507770 w 2809103"/>
                <a:gd name="connsiteY43" fmla="*/ 0 h 2031941"/>
                <a:gd name="connsiteX44" fmla="*/ 260534 w 2809103"/>
                <a:gd name="connsiteY44" fmla="*/ 0 h 2031941"/>
                <a:gd name="connsiteX45" fmla="*/ 229040 w 2809103"/>
                <a:gd name="connsiteY45" fmla="*/ 31494 h 2031941"/>
                <a:gd name="connsiteX46" fmla="*/ 229040 w 2809103"/>
                <a:gd name="connsiteY46" fmla="*/ 1398137 h 2031941"/>
                <a:gd name="connsiteX47" fmla="*/ 260534 w 2809103"/>
                <a:gd name="connsiteY47" fmla="*/ 1429631 h 2031941"/>
                <a:gd name="connsiteX48" fmla="*/ 2507770 w 2809103"/>
                <a:gd name="connsiteY48" fmla="*/ 1429631 h 2031941"/>
                <a:gd name="connsiteX49" fmla="*/ 2539265 w 2809103"/>
                <a:gd name="connsiteY49" fmla="*/ 1398137 h 2031941"/>
                <a:gd name="connsiteX50" fmla="*/ 2539265 w 2809103"/>
                <a:gd name="connsiteY50" fmla="*/ 31494 h 2031941"/>
                <a:gd name="connsiteX51" fmla="*/ 2507770 w 2809103"/>
                <a:gd name="connsiteY51" fmla="*/ 0 h 2031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2809103" h="2031941">
                  <a:moveTo>
                    <a:pt x="1583380" y="1759063"/>
                  </a:moveTo>
                  <a:cubicBezTo>
                    <a:pt x="1588902" y="1759897"/>
                    <a:pt x="1592404" y="1765235"/>
                    <a:pt x="1593885" y="1772073"/>
                  </a:cubicBezTo>
                  <a:lnTo>
                    <a:pt x="1630450" y="1948709"/>
                  </a:lnTo>
                  <a:cubicBezTo>
                    <a:pt x="1631460" y="1954380"/>
                    <a:pt x="1630046" y="1966556"/>
                    <a:pt x="1626814" y="1967223"/>
                  </a:cubicBezTo>
                  <a:lnTo>
                    <a:pt x="1404856" y="1967223"/>
                  </a:lnTo>
                  <a:lnTo>
                    <a:pt x="1404250" y="1967223"/>
                  </a:lnTo>
                  <a:lnTo>
                    <a:pt x="1182292" y="1967223"/>
                  </a:lnTo>
                  <a:cubicBezTo>
                    <a:pt x="1179060" y="1966556"/>
                    <a:pt x="1177646" y="1954380"/>
                    <a:pt x="1178656" y="1948709"/>
                  </a:cubicBezTo>
                  <a:lnTo>
                    <a:pt x="1215220" y="1772073"/>
                  </a:lnTo>
                  <a:cubicBezTo>
                    <a:pt x="1216702" y="1765235"/>
                    <a:pt x="1220203" y="1759897"/>
                    <a:pt x="1225725" y="1759063"/>
                  </a:cubicBezTo>
                  <a:lnTo>
                    <a:pt x="1404553" y="1759232"/>
                  </a:lnTo>
                  <a:close/>
                  <a:moveTo>
                    <a:pt x="2514862" y="1510162"/>
                  </a:moveTo>
                  <a:lnTo>
                    <a:pt x="1404552" y="1510586"/>
                  </a:lnTo>
                  <a:lnTo>
                    <a:pt x="294242" y="1510162"/>
                  </a:lnTo>
                  <a:cubicBezTo>
                    <a:pt x="259958" y="1512253"/>
                    <a:pt x="238217" y="1525632"/>
                    <a:pt x="229019" y="1542773"/>
                  </a:cubicBezTo>
                  <a:lnTo>
                    <a:pt x="1995" y="1985533"/>
                  </a:lnTo>
                  <a:cubicBezTo>
                    <a:pt x="-4276" y="1999748"/>
                    <a:pt x="4504" y="2030269"/>
                    <a:pt x="24572" y="2031941"/>
                  </a:cubicBezTo>
                  <a:lnTo>
                    <a:pt x="1402670" y="2031941"/>
                  </a:lnTo>
                  <a:lnTo>
                    <a:pt x="1406433" y="2031941"/>
                  </a:lnTo>
                  <a:lnTo>
                    <a:pt x="2784531" y="2031941"/>
                  </a:lnTo>
                  <a:cubicBezTo>
                    <a:pt x="2804599" y="2030269"/>
                    <a:pt x="2813379" y="1999748"/>
                    <a:pt x="2807108" y="1985533"/>
                  </a:cubicBezTo>
                  <a:lnTo>
                    <a:pt x="2580084" y="1542773"/>
                  </a:lnTo>
                  <a:cubicBezTo>
                    <a:pt x="2570886" y="1525632"/>
                    <a:pt x="2549145" y="1512253"/>
                    <a:pt x="2514862" y="1510162"/>
                  </a:cubicBezTo>
                  <a:close/>
                  <a:moveTo>
                    <a:pt x="1386851" y="1351922"/>
                  </a:moveTo>
                  <a:lnTo>
                    <a:pt x="1386851" y="1378750"/>
                  </a:lnTo>
                  <a:lnTo>
                    <a:pt x="1350620" y="1383753"/>
                  </a:lnTo>
                  <a:cubicBezTo>
                    <a:pt x="1350636" y="1373142"/>
                    <a:pt x="1350654" y="1362532"/>
                    <a:pt x="1350673" y="1351922"/>
                  </a:cubicBezTo>
                  <a:close/>
                  <a:moveTo>
                    <a:pt x="1417668" y="1351922"/>
                  </a:moveTo>
                  <a:cubicBezTo>
                    <a:pt x="1417686" y="1361582"/>
                    <a:pt x="1417700" y="1370924"/>
                    <a:pt x="1417665" y="1374497"/>
                  </a:cubicBezTo>
                  <a:lnTo>
                    <a:pt x="1390237" y="1378283"/>
                  </a:lnTo>
                  <a:lnTo>
                    <a:pt x="1390237" y="1351922"/>
                  </a:lnTo>
                  <a:close/>
                  <a:moveTo>
                    <a:pt x="1390237" y="1322122"/>
                  </a:moveTo>
                  <a:lnTo>
                    <a:pt x="1417665" y="1325961"/>
                  </a:lnTo>
                  <a:cubicBezTo>
                    <a:pt x="1417629" y="1329534"/>
                    <a:pt x="1417644" y="1338876"/>
                    <a:pt x="1417662" y="1348536"/>
                  </a:cubicBezTo>
                  <a:lnTo>
                    <a:pt x="1390237" y="1348536"/>
                  </a:lnTo>
                  <a:close/>
                  <a:moveTo>
                    <a:pt x="1350732" y="1316593"/>
                  </a:moveTo>
                  <a:lnTo>
                    <a:pt x="1386851" y="1321648"/>
                  </a:lnTo>
                  <a:lnTo>
                    <a:pt x="1386851" y="1348536"/>
                  </a:lnTo>
                  <a:lnTo>
                    <a:pt x="1350679" y="1348536"/>
                  </a:lnTo>
                  <a:close/>
                  <a:moveTo>
                    <a:pt x="2396659" y="151144"/>
                  </a:moveTo>
                  <a:lnTo>
                    <a:pt x="2396659" y="1279894"/>
                  </a:lnTo>
                  <a:lnTo>
                    <a:pt x="371646" y="1279894"/>
                  </a:lnTo>
                  <a:lnTo>
                    <a:pt x="371646" y="151144"/>
                  </a:lnTo>
                  <a:close/>
                  <a:moveTo>
                    <a:pt x="2507770" y="0"/>
                  </a:moveTo>
                  <a:lnTo>
                    <a:pt x="260534" y="0"/>
                  </a:lnTo>
                  <a:cubicBezTo>
                    <a:pt x="243141" y="0"/>
                    <a:pt x="229040" y="14100"/>
                    <a:pt x="229040" y="31494"/>
                  </a:cubicBezTo>
                  <a:lnTo>
                    <a:pt x="229040" y="1398137"/>
                  </a:lnTo>
                  <a:cubicBezTo>
                    <a:pt x="229040" y="1415530"/>
                    <a:pt x="243141" y="1429631"/>
                    <a:pt x="260534" y="1429631"/>
                  </a:cubicBezTo>
                  <a:lnTo>
                    <a:pt x="2507770" y="1429631"/>
                  </a:lnTo>
                  <a:cubicBezTo>
                    <a:pt x="2525165" y="1429631"/>
                    <a:pt x="2539265" y="1415530"/>
                    <a:pt x="2539265" y="1398137"/>
                  </a:cubicBezTo>
                  <a:lnTo>
                    <a:pt x="2539265" y="31494"/>
                  </a:lnTo>
                  <a:cubicBezTo>
                    <a:pt x="2539265" y="14100"/>
                    <a:pt x="2525165" y="0"/>
                    <a:pt x="2507770" y="0"/>
                  </a:cubicBezTo>
                  <a:close/>
                </a:path>
              </a:pathLst>
            </a:custGeom>
            <a:grp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2F2F2"/>
                </a:solidFill>
                <a:effectLst/>
                <a:uLnTx/>
                <a:uFillTx/>
                <a:latin typeface="Segoe Semibold"/>
              </a:endParaRPr>
            </a:p>
          </p:txBody>
        </p:sp>
        <p:sp>
          <p:nvSpPr>
            <p:cNvPr id="13" name="IE Icon"/>
            <p:cNvSpPr>
              <a:spLocks noChangeAspect="1" noEditPoints="1"/>
            </p:cNvSpPr>
            <p:nvPr/>
          </p:nvSpPr>
          <p:spPr bwMode="auto">
            <a:xfrm>
              <a:off x="9595860" y="3101226"/>
              <a:ext cx="767340" cy="760730"/>
            </a:xfrm>
            <a:custGeom>
              <a:avLst/>
              <a:gdLst>
                <a:gd name="T0" fmla="*/ 9621 w 11969"/>
                <a:gd name="T1" fmla="*/ 8 h 11876"/>
                <a:gd name="T2" fmla="*/ 6818 w 11969"/>
                <a:gd name="T3" fmla="*/ 748 h 11876"/>
                <a:gd name="T4" fmla="*/ 6509 w 11969"/>
                <a:gd name="T5" fmla="*/ 737 h 11876"/>
                <a:gd name="T6" fmla="*/ 1526 w 11969"/>
                <a:gd name="T7" fmla="*/ 4734 h 11876"/>
                <a:gd name="T8" fmla="*/ 4049 w 11969"/>
                <a:gd name="T9" fmla="*/ 2619 h 11876"/>
                <a:gd name="T10" fmla="*/ 1405 w 11969"/>
                <a:gd name="T11" fmla="*/ 5958 h 11876"/>
                <a:gd name="T12" fmla="*/ 1405 w 11969"/>
                <a:gd name="T13" fmla="*/ 5962 h 11876"/>
                <a:gd name="T14" fmla="*/ 256 w 11969"/>
                <a:gd name="T15" fmla="*/ 9052 h 11876"/>
                <a:gd name="T16" fmla="*/ 4301 w 11969"/>
                <a:gd name="T17" fmla="*/ 10465 h 11876"/>
                <a:gd name="T18" fmla="*/ 6509 w 11969"/>
                <a:gd name="T19" fmla="*/ 10965 h 11876"/>
                <a:gd name="T20" fmla="*/ 11351 w 11969"/>
                <a:gd name="T21" fmla="*/ 7481 h 11876"/>
                <a:gd name="T22" fmla="*/ 8688 w 11969"/>
                <a:gd name="T23" fmla="*/ 7481 h 11876"/>
                <a:gd name="T24" fmla="*/ 6664 w 11969"/>
                <a:gd name="T25" fmla="*/ 8696 h 11876"/>
                <a:gd name="T26" fmla="*/ 4458 w 11969"/>
                <a:gd name="T27" fmla="*/ 7033 h 11876"/>
                <a:gd name="T28" fmla="*/ 4455 w 11969"/>
                <a:gd name="T29" fmla="*/ 7025 h 11876"/>
                <a:gd name="T30" fmla="*/ 4337 w 11969"/>
                <a:gd name="T31" fmla="*/ 6509 h 11876"/>
                <a:gd name="T32" fmla="*/ 11572 w 11969"/>
                <a:gd name="T33" fmla="*/ 6509 h 11876"/>
                <a:gd name="T34" fmla="*/ 11616 w 11969"/>
                <a:gd name="T35" fmla="*/ 5852 h 11876"/>
                <a:gd name="T36" fmla="*/ 10992 w 11969"/>
                <a:gd name="T37" fmla="*/ 3401 h 11876"/>
                <a:gd name="T38" fmla="*/ 9621 w 11969"/>
                <a:gd name="T39" fmla="*/ 8 h 11876"/>
                <a:gd name="T40" fmla="*/ 9998 w 11969"/>
                <a:gd name="T41" fmla="*/ 700 h 11876"/>
                <a:gd name="T42" fmla="*/ 10843 w 11969"/>
                <a:gd name="T43" fmla="*/ 3147 h 11876"/>
                <a:gd name="T44" fmla="*/ 8420 w 11969"/>
                <a:gd name="T45" fmla="*/ 1109 h 11876"/>
                <a:gd name="T46" fmla="*/ 9998 w 11969"/>
                <a:gd name="T47" fmla="*/ 700 h 11876"/>
                <a:gd name="T48" fmla="*/ 6631 w 11969"/>
                <a:gd name="T49" fmla="*/ 2975 h 11876"/>
                <a:gd name="T50" fmla="*/ 8911 w 11969"/>
                <a:gd name="T51" fmla="*/ 5016 h 11876"/>
                <a:gd name="T52" fmla="*/ 4351 w 11969"/>
                <a:gd name="T53" fmla="*/ 5016 h 11876"/>
                <a:gd name="T54" fmla="*/ 6631 w 11969"/>
                <a:gd name="T55" fmla="*/ 2975 h 11876"/>
                <a:gd name="T56" fmla="*/ 1705 w 11969"/>
                <a:gd name="T57" fmla="*/ 7589 h 11876"/>
                <a:gd name="T58" fmla="*/ 2332 w 11969"/>
                <a:gd name="T59" fmla="*/ 8790 h 11876"/>
                <a:gd name="T60" fmla="*/ 2396 w 11969"/>
                <a:gd name="T61" fmla="*/ 8881 h 11876"/>
                <a:gd name="T62" fmla="*/ 2459 w 11969"/>
                <a:gd name="T63" fmla="*/ 8967 h 11876"/>
                <a:gd name="T64" fmla="*/ 2464 w 11969"/>
                <a:gd name="T65" fmla="*/ 8972 h 11876"/>
                <a:gd name="T66" fmla="*/ 2531 w 11969"/>
                <a:gd name="T67" fmla="*/ 9057 h 11876"/>
                <a:gd name="T68" fmla="*/ 3801 w 11969"/>
                <a:gd name="T69" fmla="*/ 10187 h 11876"/>
                <a:gd name="T70" fmla="*/ 3931 w 11969"/>
                <a:gd name="T71" fmla="*/ 10277 h 11876"/>
                <a:gd name="T72" fmla="*/ 1123 w 11969"/>
                <a:gd name="T73" fmla="*/ 9441 h 11876"/>
                <a:gd name="T74" fmla="*/ 1705 w 11969"/>
                <a:gd name="T75" fmla="*/ 7589 h 11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969" h="11876">
                  <a:moveTo>
                    <a:pt x="9621" y="8"/>
                  </a:moveTo>
                  <a:cubicBezTo>
                    <a:pt x="8901" y="11"/>
                    <a:pt x="7935" y="229"/>
                    <a:pt x="6818" y="748"/>
                  </a:cubicBezTo>
                  <a:cubicBezTo>
                    <a:pt x="6715" y="742"/>
                    <a:pt x="6613" y="737"/>
                    <a:pt x="6509" y="737"/>
                  </a:cubicBezTo>
                  <a:cubicBezTo>
                    <a:pt x="4072" y="737"/>
                    <a:pt x="2035" y="2447"/>
                    <a:pt x="1526" y="4734"/>
                  </a:cubicBezTo>
                  <a:cubicBezTo>
                    <a:pt x="2407" y="3759"/>
                    <a:pt x="3221" y="2981"/>
                    <a:pt x="4049" y="2619"/>
                  </a:cubicBezTo>
                  <a:cubicBezTo>
                    <a:pt x="3019" y="3541"/>
                    <a:pt x="2272" y="4539"/>
                    <a:pt x="1405" y="5958"/>
                  </a:cubicBezTo>
                  <a:cubicBezTo>
                    <a:pt x="1405" y="5960"/>
                    <a:pt x="1405" y="5961"/>
                    <a:pt x="1405" y="5962"/>
                  </a:cubicBezTo>
                  <a:cubicBezTo>
                    <a:pt x="708" y="7129"/>
                    <a:pt x="351" y="8264"/>
                    <a:pt x="256" y="9052"/>
                  </a:cubicBezTo>
                  <a:cubicBezTo>
                    <a:pt x="0" y="11167"/>
                    <a:pt x="1579" y="11876"/>
                    <a:pt x="4301" y="10465"/>
                  </a:cubicBezTo>
                  <a:cubicBezTo>
                    <a:pt x="4969" y="10786"/>
                    <a:pt x="5718" y="10965"/>
                    <a:pt x="6509" y="10965"/>
                  </a:cubicBezTo>
                  <a:cubicBezTo>
                    <a:pt x="8760" y="10965"/>
                    <a:pt x="10671" y="9506"/>
                    <a:pt x="11351" y="7481"/>
                  </a:cubicBezTo>
                  <a:lnTo>
                    <a:pt x="8688" y="7481"/>
                  </a:lnTo>
                  <a:cubicBezTo>
                    <a:pt x="8303" y="8204"/>
                    <a:pt x="7541" y="8696"/>
                    <a:pt x="6664" y="8696"/>
                  </a:cubicBezTo>
                  <a:cubicBezTo>
                    <a:pt x="5615" y="8696"/>
                    <a:pt x="4731" y="7993"/>
                    <a:pt x="4458" y="7033"/>
                  </a:cubicBezTo>
                  <a:cubicBezTo>
                    <a:pt x="4457" y="7030"/>
                    <a:pt x="4456" y="7027"/>
                    <a:pt x="4455" y="7025"/>
                  </a:cubicBezTo>
                  <a:cubicBezTo>
                    <a:pt x="4416" y="6913"/>
                    <a:pt x="4378" y="6750"/>
                    <a:pt x="4337" y="6509"/>
                  </a:cubicBezTo>
                  <a:lnTo>
                    <a:pt x="11572" y="6509"/>
                  </a:lnTo>
                  <a:cubicBezTo>
                    <a:pt x="11599" y="6294"/>
                    <a:pt x="11616" y="6075"/>
                    <a:pt x="11616" y="5852"/>
                  </a:cubicBezTo>
                  <a:cubicBezTo>
                    <a:pt x="11616" y="4964"/>
                    <a:pt x="11390" y="4129"/>
                    <a:pt x="10992" y="3401"/>
                  </a:cubicBezTo>
                  <a:cubicBezTo>
                    <a:pt x="11969" y="1466"/>
                    <a:pt x="11453" y="0"/>
                    <a:pt x="9621" y="8"/>
                  </a:cubicBezTo>
                  <a:close/>
                  <a:moveTo>
                    <a:pt x="9998" y="700"/>
                  </a:moveTo>
                  <a:cubicBezTo>
                    <a:pt x="11176" y="696"/>
                    <a:pt x="11503" y="1693"/>
                    <a:pt x="10843" y="3147"/>
                  </a:cubicBezTo>
                  <a:cubicBezTo>
                    <a:pt x="10274" y="2235"/>
                    <a:pt x="9427" y="1516"/>
                    <a:pt x="8420" y="1109"/>
                  </a:cubicBezTo>
                  <a:cubicBezTo>
                    <a:pt x="9049" y="829"/>
                    <a:pt x="9578" y="701"/>
                    <a:pt x="9998" y="700"/>
                  </a:cubicBezTo>
                  <a:close/>
                  <a:moveTo>
                    <a:pt x="6631" y="2975"/>
                  </a:moveTo>
                  <a:cubicBezTo>
                    <a:pt x="7813" y="2975"/>
                    <a:pt x="8786" y="3868"/>
                    <a:pt x="8911" y="5016"/>
                  </a:cubicBezTo>
                  <a:lnTo>
                    <a:pt x="4351" y="5016"/>
                  </a:lnTo>
                  <a:cubicBezTo>
                    <a:pt x="4477" y="3868"/>
                    <a:pt x="5450" y="2975"/>
                    <a:pt x="6631" y="2975"/>
                  </a:cubicBezTo>
                  <a:close/>
                  <a:moveTo>
                    <a:pt x="1705" y="7589"/>
                  </a:moveTo>
                  <a:cubicBezTo>
                    <a:pt x="1860" y="8020"/>
                    <a:pt x="2073" y="8422"/>
                    <a:pt x="2332" y="8790"/>
                  </a:cubicBezTo>
                  <a:cubicBezTo>
                    <a:pt x="2353" y="8820"/>
                    <a:pt x="2374" y="8851"/>
                    <a:pt x="2396" y="8881"/>
                  </a:cubicBezTo>
                  <a:cubicBezTo>
                    <a:pt x="2417" y="8910"/>
                    <a:pt x="2437" y="8939"/>
                    <a:pt x="2459" y="8967"/>
                  </a:cubicBezTo>
                  <a:cubicBezTo>
                    <a:pt x="2460" y="8969"/>
                    <a:pt x="2462" y="8970"/>
                    <a:pt x="2464" y="8972"/>
                  </a:cubicBezTo>
                  <a:cubicBezTo>
                    <a:pt x="2486" y="9001"/>
                    <a:pt x="2508" y="9029"/>
                    <a:pt x="2531" y="9057"/>
                  </a:cubicBezTo>
                  <a:cubicBezTo>
                    <a:pt x="2888" y="9500"/>
                    <a:pt x="3317" y="9883"/>
                    <a:pt x="3801" y="10187"/>
                  </a:cubicBezTo>
                  <a:cubicBezTo>
                    <a:pt x="3844" y="10217"/>
                    <a:pt x="3888" y="10247"/>
                    <a:pt x="3931" y="10277"/>
                  </a:cubicBezTo>
                  <a:cubicBezTo>
                    <a:pt x="2160" y="11227"/>
                    <a:pt x="1000" y="10743"/>
                    <a:pt x="1123" y="9441"/>
                  </a:cubicBezTo>
                  <a:cubicBezTo>
                    <a:pt x="1167" y="8976"/>
                    <a:pt x="1295" y="8268"/>
                    <a:pt x="1705" y="758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12121"/>
                </a:solidFill>
                <a:effectLst/>
                <a:uLnTx/>
                <a:uFillTx/>
                <a:latin typeface="Segoe Semibold"/>
              </a:endParaRPr>
            </a:p>
          </p:txBody>
        </p:sp>
      </p:grpSp>
      <p:sp>
        <p:nvSpPr>
          <p:cNvPr id="16" name="Server Rack Icon"/>
          <p:cNvSpPr>
            <a:spLocks noChangeAspect="1"/>
          </p:cNvSpPr>
          <p:nvPr/>
        </p:nvSpPr>
        <p:spPr>
          <a:xfrm flipH="1">
            <a:off x="3316329" y="4737590"/>
            <a:ext cx="576265" cy="1146342"/>
          </a:xfrm>
          <a:custGeom>
            <a:avLst/>
            <a:gdLst>
              <a:gd name="connsiteX0" fmla="*/ 89609 w 1675901"/>
              <a:gd name="connsiteY0" fmla="*/ 2007056 h 3333809"/>
              <a:gd name="connsiteX1" fmla="*/ 89610 w 1675901"/>
              <a:gd name="connsiteY1" fmla="*/ 3056163 h 3333809"/>
              <a:gd name="connsiteX2" fmla="*/ 1013913 w 1675901"/>
              <a:gd name="connsiteY2" fmla="*/ 3235549 h 3333809"/>
              <a:gd name="connsiteX3" fmla="*/ 1013913 w 1675901"/>
              <a:gd name="connsiteY3" fmla="*/ 2052914 h 3333809"/>
              <a:gd name="connsiteX4" fmla="*/ 89609 w 1675901"/>
              <a:gd name="connsiteY4" fmla="*/ 1712818 h 3333809"/>
              <a:gd name="connsiteX5" fmla="*/ 89609 w 1675901"/>
              <a:gd name="connsiteY5" fmla="*/ 1925114 h 3333809"/>
              <a:gd name="connsiteX6" fmla="*/ 1013914 w 1675901"/>
              <a:gd name="connsiteY6" fmla="*/ 1970973 h 3333809"/>
              <a:gd name="connsiteX7" fmla="*/ 1013914 w 1675901"/>
              <a:gd name="connsiteY7" fmla="*/ 1728952 h 3333809"/>
              <a:gd name="connsiteX8" fmla="*/ 1013913 w 1675901"/>
              <a:gd name="connsiteY8" fmla="*/ 1401101 h 3333809"/>
              <a:gd name="connsiteX9" fmla="*/ 89609 w 1675901"/>
              <a:gd name="connsiteY9" fmla="*/ 1417234 h 3333809"/>
              <a:gd name="connsiteX10" fmla="*/ 89609 w 1675901"/>
              <a:gd name="connsiteY10" fmla="*/ 1630964 h 3333809"/>
              <a:gd name="connsiteX11" fmla="*/ 1013913 w 1675901"/>
              <a:gd name="connsiteY11" fmla="*/ 1647098 h 3333809"/>
              <a:gd name="connsiteX12" fmla="*/ 1013914 w 1675901"/>
              <a:gd name="connsiteY12" fmla="*/ 1073898 h 3333809"/>
              <a:gd name="connsiteX13" fmla="*/ 89609 w 1675901"/>
              <a:gd name="connsiteY13" fmla="*/ 1129619 h 3333809"/>
              <a:gd name="connsiteX14" fmla="*/ 89609 w 1675901"/>
              <a:gd name="connsiteY14" fmla="*/ 1335381 h 3333809"/>
              <a:gd name="connsiteX15" fmla="*/ 1013914 w 1675901"/>
              <a:gd name="connsiteY15" fmla="*/ 1319247 h 3333809"/>
              <a:gd name="connsiteX16" fmla="*/ 1013914 w 1675901"/>
              <a:gd name="connsiteY16" fmla="*/ 748160 h 3333809"/>
              <a:gd name="connsiteX17" fmla="*/ 89609 w 1675901"/>
              <a:gd name="connsiteY17" fmla="*/ 834737 h 3333809"/>
              <a:gd name="connsiteX18" fmla="*/ 89610 w 1675901"/>
              <a:gd name="connsiteY18" fmla="*/ 1047630 h 3333809"/>
              <a:gd name="connsiteX19" fmla="*/ 1013913 w 1675901"/>
              <a:gd name="connsiteY19" fmla="*/ 991908 h 3333809"/>
              <a:gd name="connsiteX20" fmla="*/ 1013914 w 1675901"/>
              <a:gd name="connsiteY20" fmla="*/ 423555 h 3333809"/>
              <a:gd name="connsiteX21" fmla="*/ 89609 w 1675901"/>
              <a:gd name="connsiteY21" fmla="*/ 545235 h 3333809"/>
              <a:gd name="connsiteX22" fmla="*/ 89609 w 1675901"/>
              <a:gd name="connsiteY22" fmla="*/ 752539 h 3333809"/>
              <a:gd name="connsiteX23" fmla="*/ 1013913 w 1675901"/>
              <a:gd name="connsiteY23" fmla="*/ 665960 h 3333809"/>
              <a:gd name="connsiteX24" fmla="*/ 1013913 w 1675901"/>
              <a:gd name="connsiteY24" fmla="*/ 100012 h 3333809"/>
              <a:gd name="connsiteX25" fmla="*/ 89609 w 1675901"/>
              <a:gd name="connsiteY25" fmla="*/ 247389 h 3333809"/>
              <a:gd name="connsiteX26" fmla="*/ 89609 w 1675901"/>
              <a:gd name="connsiteY26" fmla="*/ 462687 h 3333809"/>
              <a:gd name="connsiteX27" fmla="*/ 1013913 w 1675901"/>
              <a:gd name="connsiteY27" fmla="*/ 341009 h 3333809"/>
              <a:gd name="connsiteX28" fmla="*/ 1123579 w 1675901"/>
              <a:gd name="connsiteY28" fmla="*/ 0 h 3333809"/>
              <a:gd name="connsiteX29" fmla="*/ 1675901 w 1675901"/>
              <a:gd name="connsiteY29" fmla="*/ 238293 h 3333809"/>
              <a:gd name="connsiteX30" fmla="*/ 1675901 w 1675901"/>
              <a:gd name="connsiteY30" fmla="*/ 3043784 h 3333809"/>
              <a:gd name="connsiteX31" fmla="*/ 1095839 w 1675901"/>
              <a:gd name="connsiteY31" fmla="*/ 3333809 h 3333809"/>
              <a:gd name="connsiteX32" fmla="*/ 0 w 1675901"/>
              <a:gd name="connsiteY32" fmla="*/ 3121133 h 3333809"/>
              <a:gd name="connsiteX33" fmla="*/ 0 w 1675901"/>
              <a:gd name="connsiteY33" fmla="*/ 179150 h 3333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675901" h="3333809">
                <a:moveTo>
                  <a:pt x="89609" y="2007056"/>
                </a:moveTo>
                <a:lnTo>
                  <a:pt x="89610" y="3056163"/>
                </a:lnTo>
                <a:lnTo>
                  <a:pt x="1013913" y="3235549"/>
                </a:lnTo>
                <a:lnTo>
                  <a:pt x="1013913" y="2052914"/>
                </a:lnTo>
                <a:close/>
                <a:moveTo>
                  <a:pt x="89609" y="1712818"/>
                </a:moveTo>
                <a:lnTo>
                  <a:pt x="89609" y="1925114"/>
                </a:lnTo>
                <a:lnTo>
                  <a:pt x="1013914" y="1970973"/>
                </a:lnTo>
                <a:lnTo>
                  <a:pt x="1013914" y="1728952"/>
                </a:lnTo>
                <a:close/>
                <a:moveTo>
                  <a:pt x="1013913" y="1401101"/>
                </a:moveTo>
                <a:lnTo>
                  <a:pt x="89609" y="1417234"/>
                </a:lnTo>
                <a:lnTo>
                  <a:pt x="89609" y="1630964"/>
                </a:lnTo>
                <a:lnTo>
                  <a:pt x="1013913" y="1647098"/>
                </a:lnTo>
                <a:close/>
                <a:moveTo>
                  <a:pt x="1013914" y="1073898"/>
                </a:moveTo>
                <a:lnTo>
                  <a:pt x="89609" y="1129619"/>
                </a:lnTo>
                <a:lnTo>
                  <a:pt x="89609" y="1335381"/>
                </a:lnTo>
                <a:lnTo>
                  <a:pt x="1013914" y="1319247"/>
                </a:lnTo>
                <a:close/>
                <a:moveTo>
                  <a:pt x="1013914" y="748160"/>
                </a:moveTo>
                <a:lnTo>
                  <a:pt x="89609" y="834737"/>
                </a:lnTo>
                <a:lnTo>
                  <a:pt x="89610" y="1047630"/>
                </a:lnTo>
                <a:lnTo>
                  <a:pt x="1013913" y="991908"/>
                </a:lnTo>
                <a:close/>
                <a:moveTo>
                  <a:pt x="1013914" y="423555"/>
                </a:moveTo>
                <a:lnTo>
                  <a:pt x="89609" y="545235"/>
                </a:lnTo>
                <a:lnTo>
                  <a:pt x="89609" y="752539"/>
                </a:lnTo>
                <a:lnTo>
                  <a:pt x="1013913" y="665960"/>
                </a:lnTo>
                <a:close/>
                <a:moveTo>
                  <a:pt x="1013913" y="100012"/>
                </a:moveTo>
                <a:lnTo>
                  <a:pt x="89609" y="247389"/>
                </a:lnTo>
                <a:lnTo>
                  <a:pt x="89609" y="462687"/>
                </a:lnTo>
                <a:lnTo>
                  <a:pt x="1013913" y="341009"/>
                </a:lnTo>
                <a:close/>
                <a:moveTo>
                  <a:pt x="1123579" y="0"/>
                </a:moveTo>
                <a:lnTo>
                  <a:pt x="1675901" y="238293"/>
                </a:lnTo>
                <a:lnTo>
                  <a:pt x="1675901" y="3043784"/>
                </a:lnTo>
                <a:lnTo>
                  <a:pt x="1095839" y="3333809"/>
                </a:lnTo>
                <a:lnTo>
                  <a:pt x="0" y="3121133"/>
                </a:lnTo>
                <a:lnTo>
                  <a:pt x="0" y="179150"/>
                </a:lnTo>
                <a:close/>
              </a:path>
            </a:pathLst>
          </a:custGeom>
          <a:solidFill>
            <a:srgbClr val="3C454F"/>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2F2F2"/>
              </a:solidFill>
              <a:effectLst/>
              <a:uLnTx/>
              <a:uFillTx/>
              <a:latin typeface="Segoe Semibold"/>
            </a:endParaRPr>
          </a:p>
        </p:txBody>
      </p:sp>
      <p:sp>
        <p:nvSpPr>
          <p:cNvPr id="18" name="Database Icon"/>
          <p:cNvSpPr/>
          <p:nvPr/>
        </p:nvSpPr>
        <p:spPr>
          <a:xfrm>
            <a:off x="804547" y="4737590"/>
            <a:ext cx="867176" cy="1146342"/>
          </a:xfrm>
          <a:custGeom>
            <a:avLst/>
            <a:gdLst/>
            <a:ahLst/>
            <a:cxnLst/>
            <a:rect l="l" t="t" r="r" b="b"/>
            <a:pathLst>
              <a:path w="922288" h="1219200">
                <a:moveTo>
                  <a:pt x="461144" y="59606"/>
                </a:moveTo>
                <a:cubicBezTo>
                  <a:pt x="278004" y="59606"/>
                  <a:pt x="129540" y="108270"/>
                  <a:pt x="129540" y="168300"/>
                </a:cubicBezTo>
                <a:cubicBezTo>
                  <a:pt x="129540" y="228330"/>
                  <a:pt x="278004" y="276994"/>
                  <a:pt x="461144" y="276994"/>
                </a:cubicBezTo>
                <a:cubicBezTo>
                  <a:pt x="644284" y="276994"/>
                  <a:pt x="792748" y="228330"/>
                  <a:pt x="792748" y="168300"/>
                </a:cubicBezTo>
                <a:cubicBezTo>
                  <a:pt x="792748" y="108270"/>
                  <a:pt x="644284" y="59606"/>
                  <a:pt x="461144" y="59606"/>
                </a:cubicBezTo>
                <a:close/>
                <a:moveTo>
                  <a:pt x="461144" y="0"/>
                </a:moveTo>
                <a:cubicBezTo>
                  <a:pt x="715827" y="0"/>
                  <a:pt x="922288" y="67674"/>
                  <a:pt x="922288" y="151155"/>
                </a:cubicBezTo>
                <a:lnTo>
                  <a:pt x="922288" y="1068045"/>
                </a:lnTo>
                <a:lnTo>
                  <a:pt x="922288" y="1076960"/>
                </a:lnTo>
                <a:lnTo>
                  <a:pt x="919546" y="1076960"/>
                </a:lnTo>
                <a:cubicBezTo>
                  <a:pt x="906835" y="1156476"/>
                  <a:pt x="706337" y="1219200"/>
                  <a:pt x="461144" y="1219200"/>
                </a:cubicBezTo>
                <a:cubicBezTo>
                  <a:pt x="215951" y="1219200"/>
                  <a:pt x="15454" y="1156476"/>
                  <a:pt x="2742" y="1076960"/>
                </a:cubicBezTo>
                <a:lnTo>
                  <a:pt x="0" y="1076960"/>
                </a:lnTo>
                <a:lnTo>
                  <a:pt x="0" y="1068045"/>
                </a:lnTo>
                <a:lnTo>
                  <a:pt x="0" y="151155"/>
                </a:lnTo>
                <a:cubicBezTo>
                  <a:pt x="0" y="67674"/>
                  <a:pt x="206461" y="0"/>
                  <a:pt x="461144" y="0"/>
                </a:cubicBezTo>
                <a:close/>
              </a:path>
            </a:pathLst>
          </a:custGeom>
          <a:solidFill>
            <a:srgbClr val="3C454F"/>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smtClean="0">
              <a:ln>
                <a:noFill/>
              </a:ln>
              <a:solidFill>
                <a:srgbClr val="303030"/>
              </a:solidFill>
              <a:effectLst/>
              <a:uLnTx/>
              <a:uFillTx/>
              <a:latin typeface="Segoe Semibold"/>
            </a:endParaRPr>
          </a:p>
        </p:txBody>
      </p:sp>
      <p:sp>
        <p:nvSpPr>
          <p:cNvPr id="10" name="HTML File"/>
          <p:cNvSpPr>
            <a:spLocks noChangeAspect="1"/>
          </p:cNvSpPr>
          <p:nvPr/>
        </p:nvSpPr>
        <p:spPr bwMode="auto">
          <a:xfrm>
            <a:off x="3604461" y="5441314"/>
            <a:ext cx="920119" cy="1146342"/>
          </a:xfrm>
          <a:custGeom>
            <a:avLst/>
            <a:gdLst>
              <a:gd name="connsiteX0" fmla="*/ 2879361 w 5158336"/>
              <a:gd name="connsiteY0" fmla="*/ 599225 h 6426586"/>
              <a:gd name="connsiteX1" fmla="*/ 2879361 w 5158336"/>
              <a:gd name="connsiteY1" fmla="*/ 2178977 h 6426586"/>
              <a:gd name="connsiteX2" fmla="*/ 4515242 w 5158336"/>
              <a:gd name="connsiteY2" fmla="*/ 2178977 h 6426586"/>
              <a:gd name="connsiteX3" fmla="*/ 587945 w 5158336"/>
              <a:gd name="connsiteY3" fmla="*/ 0 h 6426586"/>
              <a:gd name="connsiteX4" fmla="*/ 2902591 w 5158336"/>
              <a:gd name="connsiteY4" fmla="*/ 0 h 6426586"/>
              <a:gd name="connsiteX5" fmla="*/ 2902591 w 5158336"/>
              <a:gd name="connsiteY5" fmla="*/ 785 h 6426586"/>
              <a:gd name="connsiteX6" fmla="*/ 2911477 w 5158336"/>
              <a:gd name="connsiteY6" fmla="*/ 1 h 6426586"/>
              <a:gd name="connsiteX7" fmla="*/ 3245921 w 5158336"/>
              <a:gd name="connsiteY7" fmla="*/ 102159 h 6426586"/>
              <a:gd name="connsiteX8" fmla="*/ 3314377 w 5158336"/>
              <a:gd name="connsiteY8" fmla="*/ 158641 h 6426586"/>
              <a:gd name="connsiteX9" fmla="*/ 3315844 w 5158336"/>
              <a:gd name="connsiteY9" fmla="*/ 157121 h 6426586"/>
              <a:gd name="connsiteX10" fmla="*/ 4986602 w 5158336"/>
              <a:gd name="connsiteY10" fmla="*/ 1770553 h 6426586"/>
              <a:gd name="connsiteX11" fmla="*/ 4986192 w 5158336"/>
              <a:gd name="connsiteY11" fmla="*/ 1770977 h 6426586"/>
              <a:gd name="connsiteX12" fmla="*/ 5056178 w 5158336"/>
              <a:gd name="connsiteY12" fmla="*/ 1855801 h 6426586"/>
              <a:gd name="connsiteX13" fmla="*/ 5151444 w 5158336"/>
              <a:gd name="connsiteY13" fmla="*/ 2099148 h 6426586"/>
              <a:gd name="connsiteX14" fmla="*/ 5157503 w 5158336"/>
              <a:gd name="connsiteY14" fmla="*/ 2179235 h 6426586"/>
              <a:gd name="connsiteX15" fmla="*/ 5158336 w 5158336"/>
              <a:gd name="connsiteY15" fmla="*/ 2179235 h 6426586"/>
              <a:gd name="connsiteX16" fmla="*/ 5158336 w 5158336"/>
              <a:gd name="connsiteY16" fmla="*/ 2190243 h 6426586"/>
              <a:gd name="connsiteX17" fmla="*/ 5158336 w 5158336"/>
              <a:gd name="connsiteY17" fmla="*/ 5844302 h 6426586"/>
              <a:gd name="connsiteX18" fmla="*/ 4570391 w 5158336"/>
              <a:gd name="connsiteY18" fmla="*/ 6426586 h 6426586"/>
              <a:gd name="connsiteX19" fmla="*/ 587945 w 5158336"/>
              <a:gd name="connsiteY19" fmla="*/ 6426586 h 6426586"/>
              <a:gd name="connsiteX20" fmla="*/ 0 w 5158336"/>
              <a:gd name="connsiteY20" fmla="*/ 5844302 h 6426586"/>
              <a:gd name="connsiteX21" fmla="*/ 0 w 5158336"/>
              <a:gd name="connsiteY21" fmla="*/ 582285 h 6426586"/>
              <a:gd name="connsiteX22" fmla="*/ 587945 w 5158336"/>
              <a:gd name="connsiteY22" fmla="*/ 0 h 6426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158336" h="6426586">
                <a:moveTo>
                  <a:pt x="2879361" y="599225"/>
                </a:moveTo>
                <a:lnTo>
                  <a:pt x="2879361" y="2178977"/>
                </a:lnTo>
                <a:lnTo>
                  <a:pt x="4515242" y="2178977"/>
                </a:lnTo>
                <a:close/>
                <a:moveTo>
                  <a:pt x="587945" y="0"/>
                </a:moveTo>
                <a:lnTo>
                  <a:pt x="2902591" y="0"/>
                </a:lnTo>
                <a:lnTo>
                  <a:pt x="2902591" y="785"/>
                </a:lnTo>
                <a:lnTo>
                  <a:pt x="2911477" y="1"/>
                </a:lnTo>
                <a:cubicBezTo>
                  <a:pt x="3035363" y="1"/>
                  <a:pt x="3150452" y="37662"/>
                  <a:pt x="3245921" y="102159"/>
                </a:cubicBezTo>
                <a:lnTo>
                  <a:pt x="3314377" y="158641"/>
                </a:lnTo>
                <a:lnTo>
                  <a:pt x="3315844" y="157121"/>
                </a:lnTo>
                <a:lnTo>
                  <a:pt x="4986602" y="1770553"/>
                </a:lnTo>
                <a:lnTo>
                  <a:pt x="4986192" y="1770977"/>
                </a:lnTo>
                <a:lnTo>
                  <a:pt x="5056178" y="1855801"/>
                </a:lnTo>
                <a:cubicBezTo>
                  <a:pt x="5104551" y="1927402"/>
                  <a:pt x="5137828" y="2010040"/>
                  <a:pt x="5151444" y="2099148"/>
                </a:cubicBezTo>
                <a:lnTo>
                  <a:pt x="5157503" y="2179235"/>
                </a:lnTo>
                <a:lnTo>
                  <a:pt x="5158336" y="2179235"/>
                </a:lnTo>
                <a:lnTo>
                  <a:pt x="5158336" y="2190243"/>
                </a:lnTo>
                <a:lnTo>
                  <a:pt x="5158336" y="5844302"/>
                </a:lnTo>
                <a:cubicBezTo>
                  <a:pt x="5158336" y="6165888"/>
                  <a:pt x="4895104" y="6426586"/>
                  <a:pt x="4570391" y="6426586"/>
                </a:cubicBezTo>
                <a:lnTo>
                  <a:pt x="587945" y="6426586"/>
                </a:lnTo>
                <a:cubicBezTo>
                  <a:pt x="263233" y="6426586"/>
                  <a:pt x="0" y="6165888"/>
                  <a:pt x="0" y="5844302"/>
                </a:cubicBezTo>
                <a:lnTo>
                  <a:pt x="0" y="582285"/>
                </a:lnTo>
                <a:cubicBezTo>
                  <a:pt x="0" y="260698"/>
                  <a:pt x="263233" y="0"/>
                  <a:pt x="587945" y="0"/>
                </a:cubicBezTo>
                <a:close/>
              </a:path>
            </a:pathLst>
          </a:custGeom>
          <a:solidFill>
            <a:srgbClr val="637283"/>
          </a:solidFill>
          <a:ln w="9525" cap="flat" cmpd="sng" algn="ctr">
            <a:noFill/>
            <a:prstDash val="solid"/>
            <a:headEnd type="none" w="med" len="med"/>
            <a:tailEnd type="none" w="med" len="med"/>
          </a:ln>
          <a:effectLst/>
        </p:spPr>
        <p:txBody>
          <a:bodyPr vert="horz" wrap="square" lIns="91440" tIns="0" rIns="0" bIns="0" numCol="1" rtlCol="0" anchor="b" anchorCtr="0" compatLnSpc="1">
            <a:prstTxWarp prst="textNoShape">
              <a:avLst/>
            </a:prstTxWarp>
          </a:bodyPr>
          <a:lstStyle/>
          <a:p>
            <a:pPr marL="0" marR="0" lvl="0" indent="0" defTabSz="914099" eaLnBrk="1" fontAlgn="base" latinLnBrk="0" hangingPunct="1">
              <a:lnSpc>
                <a:spcPct val="100000"/>
              </a:lnSpc>
              <a:spcBef>
                <a:spcPct val="0"/>
              </a:spcBef>
              <a:spcAft>
                <a:spcPct val="0"/>
              </a:spcAft>
              <a:buClrTx/>
              <a:buSzTx/>
              <a:buFontTx/>
              <a:buNone/>
              <a:tabLst/>
              <a:defRPr/>
            </a:pPr>
            <a:r>
              <a:rPr lang="en-US" sz="1800" kern="0" dirty="0" err="1">
                <a:gradFill>
                  <a:gsLst>
                    <a:gs pos="0">
                      <a:srgbClr val="FFFFFF"/>
                    </a:gs>
                    <a:gs pos="100000">
                      <a:srgbClr val="FFFFFF"/>
                    </a:gs>
                  </a:gsLst>
                  <a:lin ang="5400000" scaled="0"/>
                </a:gradFill>
                <a:latin typeface="Segoe Semibold"/>
              </a:rPr>
              <a:t>a</a:t>
            </a:r>
            <a:r>
              <a:rPr kumimoji="0" lang="en-US" sz="18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Semibold"/>
              </a:rPr>
              <a:t>spx</a:t>
            </a:r>
            <a:endParaRPr kumimoji="0" lang="en-US" sz="18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Semibold"/>
            </a:endParaRPr>
          </a:p>
          <a:p>
            <a:pPr marL="0" marR="0" lvl="0" indent="0" defTabSz="914099"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Semibold"/>
              </a:rPr>
              <a:t>html</a:t>
            </a:r>
          </a:p>
        </p:txBody>
      </p:sp>
      <p:sp>
        <p:nvSpPr>
          <p:cNvPr id="19" name="On Prem HTML Arrow"/>
          <p:cNvSpPr/>
          <p:nvPr/>
        </p:nvSpPr>
        <p:spPr bwMode="auto">
          <a:xfrm>
            <a:off x="4618909" y="6014485"/>
            <a:ext cx="4051884" cy="484632"/>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0" name="On Prem Resources Arrow"/>
          <p:cNvSpPr/>
          <p:nvPr/>
        </p:nvSpPr>
        <p:spPr bwMode="auto">
          <a:xfrm>
            <a:off x="6762749" y="4875128"/>
            <a:ext cx="1908043" cy="484632"/>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1" name="SQL Database Icon"/>
          <p:cNvSpPr>
            <a:spLocks noChangeAspect="1"/>
          </p:cNvSpPr>
          <p:nvPr/>
        </p:nvSpPr>
        <p:spPr>
          <a:xfrm>
            <a:off x="804547" y="1809980"/>
            <a:ext cx="867176" cy="1146342"/>
          </a:xfrm>
          <a:custGeom>
            <a:avLst/>
            <a:gdLst>
              <a:gd name="connsiteX0" fmla="*/ 221877 w 338942"/>
              <a:gd name="connsiteY0" fmla="*/ 278494 h 448056"/>
              <a:gd name="connsiteX1" fmla="*/ 239164 w 338942"/>
              <a:gd name="connsiteY1" fmla="*/ 278494 h 448056"/>
              <a:gd name="connsiteX2" fmla="*/ 256158 w 338942"/>
              <a:gd name="connsiteY2" fmla="*/ 283280 h 448056"/>
              <a:gd name="connsiteX3" fmla="*/ 262311 w 338942"/>
              <a:gd name="connsiteY3" fmla="*/ 296465 h 448056"/>
              <a:gd name="connsiteX4" fmla="*/ 256256 w 338942"/>
              <a:gd name="connsiteY4" fmla="*/ 310237 h 448056"/>
              <a:gd name="connsiteX5" fmla="*/ 238969 w 338942"/>
              <a:gd name="connsiteY5" fmla="*/ 315413 h 448056"/>
              <a:gd name="connsiteX6" fmla="*/ 221877 w 338942"/>
              <a:gd name="connsiteY6" fmla="*/ 315413 h 448056"/>
              <a:gd name="connsiteX7" fmla="*/ 79002 w 338942"/>
              <a:gd name="connsiteY7" fmla="*/ 224288 h 448056"/>
              <a:gd name="connsiteX8" fmla="*/ 94433 w 338942"/>
              <a:gd name="connsiteY8" fmla="*/ 224288 h 448056"/>
              <a:gd name="connsiteX9" fmla="*/ 127348 w 338942"/>
              <a:gd name="connsiteY9" fmla="*/ 236204 h 448056"/>
              <a:gd name="connsiteX10" fmla="*/ 138482 w 338942"/>
              <a:gd name="connsiteY10" fmla="*/ 267262 h 448056"/>
              <a:gd name="connsiteX11" fmla="*/ 127055 w 338942"/>
              <a:gd name="connsiteY11" fmla="*/ 300470 h 448056"/>
              <a:gd name="connsiteX12" fmla="*/ 94629 w 338942"/>
              <a:gd name="connsiteY12" fmla="*/ 313069 h 448056"/>
              <a:gd name="connsiteX13" fmla="*/ 79002 w 338942"/>
              <a:gd name="connsiteY13" fmla="*/ 313069 h 448056"/>
              <a:gd name="connsiteX14" fmla="*/ 221877 w 338942"/>
              <a:gd name="connsiteY14" fmla="*/ 221847 h 448056"/>
              <a:gd name="connsiteX15" fmla="*/ 233695 w 338942"/>
              <a:gd name="connsiteY15" fmla="*/ 221847 h 448056"/>
              <a:gd name="connsiteX16" fmla="*/ 256744 w 338942"/>
              <a:gd name="connsiteY16" fmla="*/ 237278 h 448056"/>
              <a:gd name="connsiteX17" fmla="*/ 251080 w 338942"/>
              <a:gd name="connsiteY17" fmla="*/ 250268 h 448056"/>
              <a:gd name="connsiteX18" fmla="*/ 235746 w 338942"/>
              <a:gd name="connsiteY18" fmla="*/ 255054 h 448056"/>
              <a:gd name="connsiteX19" fmla="*/ 221877 w 338942"/>
              <a:gd name="connsiteY19" fmla="*/ 255054 h 448056"/>
              <a:gd name="connsiteX20" fmla="*/ 190330 w 338942"/>
              <a:gd name="connsiteY20" fmla="*/ 198602 h 448056"/>
              <a:gd name="connsiteX21" fmla="*/ 190330 w 338942"/>
              <a:gd name="connsiteY21" fmla="*/ 338658 h 448056"/>
              <a:gd name="connsiteX22" fmla="*/ 244145 w 338942"/>
              <a:gd name="connsiteY22" fmla="*/ 338658 h 448056"/>
              <a:gd name="connsiteX23" fmla="*/ 281796 w 338942"/>
              <a:gd name="connsiteY23" fmla="*/ 327329 h 448056"/>
              <a:gd name="connsiteX24" fmla="*/ 295519 w 338942"/>
              <a:gd name="connsiteY24" fmla="*/ 296856 h 448056"/>
              <a:gd name="connsiteX25" fmla="*/ 286826 w 338942"/>
              <a:gd name="connsiteY25" fmla="*/ 274783 h 448056"/>
              <a:gd name="connsiteX26" fmla="*/ 262702 w 338942"/>
              <a:gd name="connsiteY26" fmla="*/ 263453 h 448056"/>
              <a:gd name="connsiteX27" fmla="*/ 262702 w 338942"/>
              <a:gd name="connsiteY27" fmla="*/ 263063 h 448056"/>
              <a:gd name="connsiteX28" fmla="*/ 281162 w 338942"/>
              <a:gd name="connsiteY28" fmla="*/ 252514 h 448056"/>
              <a:gd name="connsiteX29" fmla="*/ 289952 w 338942"/>
              <a:gd name="connsiteY29" fmla="*/ 231418 h 448056"/>
              <a:gd name="connsiteX30" fmla="*/ 278036 w 338942"/>
              <a:gd name="connsiteY30" fmla="*/ 207685 h 448056"/>
              <a:gd name="connsiteX31" fmla="*/ 241313 w 338942"/>
              <a:gd name="connsiteY31" fmla="*/ 198602 h 448056"/>
              <a:gd name="connsiteX32" fmla="*/ 47455 w 338942"/>
              <a:gd name="connsiteY32" fmla="*/ 198602 h 448056"/>
              <a:gd name="connsiteX33" fmla="*/ 47455 w 338942"/>
              <a:gd name="connsiteY33" fmla="*/ 338658 h 448056"/>
              <a:gd name="connsiteX34" fmla="*/ 97070 w 338942"/>
              <a:gd name="connsiteY34" fmla="*/ 338658 h 448056"/>
              <a:gd name="connsiteX35" fmla="*/ 151325 w 338942"/>
              <a:gd name="connsiteY35" fmla="*/ 319076 h 448056"/>
              <a:gd name="connsiteX36" fmla="*/ 171689 w 338942"/>
              <a:gd name="connsiteY36" fmla="*/ 266872 h 448056"/>
              <a:gd name="connsiteX37" fmla="*/ 97070 w 338942"/>
              <a:gd name="connsiteY37" fmla="*/ 198602 h 448056"/>
              <a:gd name="connsiteX38" fmla="*/ 169471 w 338942"/>
              <a:gd name="connsiteY38" fmla="*/ 21905 h 448056"/>
              <a:gd name="connsiteX39" fmla="*/ 47606 w 338942"/>
              <a:gd name="connsiteY39" fmla="*/ 61850 h 448056"/>
              <a:gd name="connsiteX40" fmla="*/ 169471 w 338942"/>
              <a:gd name="connsiteY40" fmla="*/ 101795 h 448056"/>
              <a:gd name="connsiteX41" fmla="*/ 291336 w 338942"/>
              <a:gd name="connsiteY41" fmla="*/ 61850 h 448056"/>
              <a:gd name="connsiteX42" fmla="*/ 169471 w 338942"/>
              <a:gd name="connsiteY42" fmla="*/ 21905 h 448056"/>
              <a:gd name="connsiteX43" fmla="*/ 169471 w 338942"/>
              <a:gd name="connsiteY43" fmla="*/ 0 h 448056"/>
              <a:gd name="connsiteX44" fmla="*/ 338942 w 338942"/>
              <a:gd name="connsiteY44" fmla="*/ 55550 h 448056"/>
              <a:gd name="connsiteX45" fmla="*/ 338942 w 338942"/>
              <a:gd name="connsiteY45" fmla="*/ 392507 h 448056"/>
              <a:gd name="connsiteX46" fmla="*/ 338942 w 338942"/>
              <a:gd name="connsiteY46" fmla="*/ 395783 h 448056"/>
              <a:gd name="connsiteX47" fmla="*/ 337934 w 338942"/>
              <a:gd name="connsiteY47" fmla="*/ 395783 h 448056"/>
              <a:gd name="connsiteX48" fmla="*/ 169471 w 338942"/>
              <a:gd name="connsiteY48" fmla="*/ 448056 h 448056"/>
              <a:gd name="connsiteX49" fmla="*/ 1008 w 338942"/>
              <a:gd name="connsiteY49" fmla="*/ 395783 h 448056"/>
              <a:gd name="connsiteX50" fmla="*/ 0 w 338942"/>
              <a:gd name="connsiteY50" fmla="*/ 395783 h 448056"/>
              <a:gd name="connsiteX51" fmla="*/ 0 w 338942"/>
              <a:gd name="connsiteY51" fmla="*/ 392507 h 448056"/>
              <a:gd name="connsiteX52" fmla="*/ 0 w 338942"/>
              <a:gd name="connsiteY52" fmla="*/ 55550 h 448056"/>
              <a:gd name="connsiteX53" fmla="*/ 169471 w 338942"/>
              <a:gd name="connsiteY53" fmla="*/ 0 h 44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338942" h="448056">
                <a:moveTo>
                  <a:pt x="221877" y="278494"/>
                </a:moveTo>
                <a:lnTo>
                  <a:pt x="239164" y="278494"/>
                </a:lnTo>
                <a:cubicBezTo>
                  <a:pt x="246392" y="278494"/>
                  <a:pt x="252056" y="280090"/>
                  <a:pt x="256158" y="283280"/>
                </a:cubicBezTo>
                <a:cubicBezTo>
                  <a:pt x="260260" y="286471"/>
                  <a:pt x="262311" y="290866"/>
                  <a:pt x="262311" y="296465"/>
                </a:cubicBezTo>
                <a:cubicBezTo>
                  <a:pt x="262311" y="302195"/>
                  <a:pt x="260293" y="306786"/>
                  <a:pt x="256256" y="310237"/>
                </a:cubicBezTo>
                <a:cubicBezTo>
                  <a:pt x="252024" y="313687"/>
                  <a:pt x="246261" y="315413"/>
                  <a:pt x="238969" y="315413"/>
                </a:cubicBezTo>
                <a:lnTo>
                  <a:pt x="221877" y="315413"/>
                </a:lnTo>
                <a:close/>
                <a:moveTo>
                  <a:pt x="79002" y="224288"/>
                </a:moveTo>
                <a:lnTo>
                  <a:pt x="94433" y="224288"/>
                </a:lnTo>
                <a:cubicBezTo>
                  <a:pt x="108628" y="224288"/>
                  <a:pt x="119599" y="228260"/>
                  <a:pt x="127348" y="236204"/>
                </a:cubicBezTo>
                <a:cubicBezTo>
                  <a:pt x="134770" y="243822"/>
                  <a:pt x="138482" y="254175"/>
                  <a:pt x="138482" y="267262"/>
                </a:cubicBezTo>
                <a:cubicBezTo>
                  <a:pt x="138482" y="281262"/>
                  <a:pt x="134673" y="292331"/>
                  <a:pt x="127055" y="300470"/>
                </a:cubicBezTo>
                <a:cubicBezTo>
                  <a:pt x="119241" y="308869"/>
                  <a:pt x="108433" y="313069"/>
                  <a:pt x="94629" y="313069"/>
                </a:cubicBezTo>
                <a:lnTo>
                  <a:pt x="79002" y="313069"/>
                </a:lnTo>
                <a:close/>
                <a:moveTo>
                  <a:pt x="221877" y="221847"/>
                </a:moveTo>
                <a:lnTo>
                  <a:pt x="233695" y="221847"/>
                </a:lnTo>
                <a:cubicBezTo>
                  <a:pt x="249061" y="221847"/>
                  <a:pt x="256744" y="226990"/>
                  <a:pt x="256744" y="237278"/>
                </a:cubicBezTo>
                <a:cubicBezTo>
                  <a:pt x="256744" y="242748"/>
                  <a:pt x="254856" y="247078"/>
                  <a:pt x="251080" y="250268"/>
                </a:cubicBezTo>
                <a:cubicBezTo>
                  <a:pt x="247303" y="253459"/>
                  <a:pt x="242192" y="255054"/>
                  <a:pt x="235746" y="255054"/>
                </a:cubicBezTo>
                <a:lnTo>
                  <a:pt x="221877" y="255054"/>
                </a:lnTo>
                <a:close/>
                <a:moveTo>
                  <a:pt x="190330" y="198602"/>
                </a:moveTo>
                <a:lnTo>
                  <a:pt x="190330" y="338658"/>
                </a:lnTo>
                <a:lnTo>
                  <a:pt x="244145" y="338658"/>
                </a:lnTo>
                <a:cubicBezTo>
                  <a:pt x="260098" y="338658"/>
                  <a:pt x="272648" y="334882"/>
                  <a:pt x="281796" y="327329"/>
                </a:cubicBezTo>
                <a:cubicBezTo>
                  <a:pt x="290945" y="319775"/>
                  <a:pt x="295519" y="309618"/>
                  <a:pt x="295519" y="296856"/>
                </a:cubicBezTo>
                <a:cubicBezTo>
                  <a:pt x="295519" y="288196"/>
                  <a:pt x="292621" y="280838"/>
                  <a:pt x="286826" y="274783"/>
                </a:cubicBezTo>
                <a:cubicBezTo>
                  <a:pt x="280836" y="268467"/>
                  <a:pt x="272795" y="264691"/>
                  <a:pt x="262702" y="263453"/>
                </a:cubicBezTo>
                <a:lnTo>
                  <a:pt x="262702" y="263063"/>
                </a:lnTo>
                <a:cubicBezTo>
                  <a:pt x="270060" y="261044"/>
                  <a:pt x="276213" y="257528"/>
                  <a:pt x="281162" y="252514"/>
                </a:cubicBezTo>
                <a:cubicBezTo>
                  <a:pt x="287022" y="246589"/>
                  <a:pt x="289952" y="239557"/>
                  <a:pt x="289952" y="231418"/>
                </a:cubicBezTo>
                <a:cubicBezTo>
                  <a:pt x="289952" y="221326"/>
                  <a:pt x="285980" y="213415"/>
                  <a:pt x="278036" y="207685"/>
                </a:cubicBezTo>
                <a:cubicBezTo>
                  <a:pt x="269637" y="201629"/>
                  <a:pt x="257396" y="198602"/>
                  <a:pt x="241313" y="198602"/>
                </a:cubicBezTo>
                <a:close/>
                <a:moveTo>
                  <a:pt x="47455" y="198602"/>
                </a:moveTo>
                <a:lnTo>
                  <a:pt x="47455" y="338658"/>
                </a:lnTo>
                <a:lnTo>
                  <a:pt x="97070" y="338658"/>
                </a:lnTo>
                <a:cubicBezTo>
                  <a:pt x="119664" y="338658"/>
                  <a:pt x="137749" y="332131"/>
                  <a:pt x="151325" y="319076"/>
                </a:cubicBezTo>
                <a:cubicBezTo>
                  <a:pt x="164901" y="306021"/>
                  <a:pt x="171689" y="288619"/>
                  <a:pt x="171689" y="266872"/>
                </a:cubicBezTo>
                <a:cubicBezTo>
                  <a:pt x="171689" y="221358"/>
                  <a:pt x="146816" y="198602"/>
                  <a:pt x="97070" y="198602"/>
                </a:cubicBezTo>
                <a:close/>
                <a:moveTo>
                  <a:pt x="169471" y="21905"/>
                </a:moveTo>
                <a:cubicBezTo>
                  <a:pt x="102167" y="21905"/>
                  <a:pt x="47606" y="39789"/>
                  <a:pt x="47606" y="61850"/>
                </a:cubicBezTo>
                <a:cubicBezTo>
                  <a:pt x="47606" y="83911"/>
                  <a:pt x="102167" y="101795"/>
                  <a:pt x="169471" y="101795"/>
                </a:cubicBezTo>
                <a:cubicBezTo>
                  <a:pt x="236775" y="101795"/>
                  <a:pt x="291336" y="83911"/>
                  <a:pt x="291336" y="61850"/>
                </a:cubicBezTo>
                <a:cubicBezTo>
                  <a:pt x="291336" y="39789"/>
                  <a:pt x="236775" y="21905"/>
                  <a:pt x="169471" y="21905"/>
                </a:cubicBezTo>
                <a:close/>
                <a:moveTo>
                  <a:pt x="169471" y="0"/>
                </a:moveTo>
                <a:cubicBezTo>
                  <a:pt x="263067" y="0"/>
                  <a:pt x="338942" y="24870"/>
                  <a:pt x="338942" y="55550"/>
                </a:cubicBezTo>
                <a:lnTo>
                  <a:pt x="338942" y="392507"/>
                </a:lnTo>
                <a:lnTo>
                  <a:pt x="338942" y="395783"/>
                </a:lnTo>
                <a:lnTo>
                  <a:pt x="337934" y="395783"/>
                </a:lnTo>
                <a:cubicBezTo>
                  <a:pt x="333263" y="425005"/>
                  <a:pt x="259580" y="448056"/>
                  <a:pt x="169471" y="448056"/>
                </a:cubicBezTo>
                <a:cubicBezTo>
                  <a:pt x="79363" y="448056"/>
                  <a:pt x="5680" y="425005"/>
                  <a:pt x="1008" y="395783"/>
                </a:cubicBezTo>
                <a:lnTo>
                  <a:pt x="0" y="395783"/>
                </a:lnTo>
                <a:lnTo>
                  <a:pt x="0" y="392507"/>
                </a:lnTo>
                <a:lnTo>
                  <a:pt x="0" y="55550"/>
                </a:lnTo>
                <a:cubicBezTo>
                  <a:pt x="0" y="24870"/>
                  <a:pt x="75875" y="0"/>
                  <a:pt x="169471" y="0"/>
                </a:cubicBezTo>
                <a:close/>
              </a:path>
            </a:pathLst>
          </a:custGeom>
          <a:solidFill>
            <a:srgbClr val="3C454F"/>
          </a:solidFill>
          <a:ln w="10795" cap="flat" cmpd="sng" algn="ctr">
            <a:noFill/>
            <a:prstDash val="solid"/>
          </a:ln>
          <a:effectLst/>
        </p:spPr>
        <p:txBody>
          <a:bodyPr wrap="square" lIns="45720" rIns="4572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smtClean="0">
              <a:ln>
                <a:noFill/>
              </a:ln>
              <a:solidFill>
                <a:srgbClr val="303030"/>
              </a:solidFill>
              <a:effectLst/>
              <a:uLnTx/>
              <a:uFillTx/>
              <a:latin typeface="Segoe Semibold"/>
            </a:endParaRPr>
          </a:p>
        </p:txBody>
      </p:sp>
      <p:sp>
        <p:nvSpPr>
          <p:cNvPr id="22" name="Storage Icon"/>
          <p:cNvSpPr>
            <a:spLocks noChangeAspect="1"/>
          </p:cNvSpPr>
          <p:nvPr/>
        </p:nvSpPr>
        <p:spPr>
          <a:xfrm>
            <a:off x="5172574" y="1810898"/>
            <a:ext cx="1380235" cy="1145424"/>
          </a:xfrm>
          <a:custGeom>
            <a:avLst/>
            <a:gdLst>
              <a:gd name="connsiteX0" fmla="*/ 2252121 w 3083700"/>
              <a:gd name="connsiteY0" fmla="*/ 2007454 h 2559086"/>
              <a:gd name="connsiteX1" fmla="*/ 2252121 w 3083700"/>
              <a:gd name="connsiteY1" fmla="*/ 2359879 h 2559086"/>
              <a:gd name="connsiteX2" fmla="*/ 2878866 w 3083700"/>
              <a:gd name="connsiteY2" fmla="*/ 2359879 h 2559086"/>
              <a:gd name="connsiteX3" fmla="*/ 2878866 w 3083700"/>
              <a:gd name="connsiteY3" fmla="*/ 2007454 h 2559086"/>
              <a:gd name="connsiteX4" fmla="*/ 1569692 w 3083700"/>
              <a:gd name="connsiteY4" fmla="*/ 2007454 h 2559086"/>
              <a:gd name="connsiteX5" fmla="*/ 1569692 w 3083700"/>
              <a:gd name="connsiteY5" fmla="*/ 2359879 h 2559086"/>
              <a:gd name="connsiteX6" fmla="*/ 2196437 w 3083700"/>
              <a:gd name="connsiteY6" fmla="*/ 2359879 h 2559086"/>
              <a:gd name="connsiteX7" fmla="*/ 2196437 w 3083700"/>
              <a:gd name="connsiteY7" fmla="*/ 2007454 h 2559086"/>
              <a:gd name="connsiteX8" fmla="*/ 887263 w 3083700"/>
              <a:gd name="connsiteY8" fmla="*/ 2007454 h 2559086"/>
              <a:gd name="connsiteX9" fmla="*/ 887263 w 3083700"/>
              <a:gd name="connsiteY9" fmla="*/ 2359879 h 2559086"/>
              <a:gd name="connsiteX10" fmla="*/ 1514008 w 3083700"/>
              <a:gd name="connsiteY10" fmla="*/ 2359879 h 2559086"/>
              <a:gd name="connsiteX11" fmla="*/ 1514008 w 3083700"/>
              <a:gd name="connsiteY11" fmla="*/ 2007454 h 2559086"/>
              <a:gd name="connsiteX12" fmla="*/ 204834 w 3083700"/>
              <a:gd name="connsiteY12" fmla="*/ 2007454 h 2559086"/>
              <a:gd name="connsiteX13" fmla="*/ 204834 w 3083700"/>
              <a:gd name="connsiteY13" fmla="*/ 2359879 h 2559086"/>
              <a:gd name="connsiteX14" fmla="*/ 831579 w 3083700"/>
              <a:gd name="connsiteY14" fmla="*/ 2359879 h 2559086"/>
              <a:gd name="connsiteX15" fmla="*/ 831579 w 3083700"/>
              <a:gd name="connsiteY15" fmla="*/ 2007454 h 2559086"/>
              <a:gd name="connsiteX16" fmla="*/ 2252121 w 3083700"/>
              <a:gd name="connsiteY16" fmla="*/ 1570202 h 2559086"/>
              <a:gd name="connsiteX17" fmla="*/ 2252121 w 3083700"/>
              <a:gd name="connsiteY17" fmla="*/ 1922627 h 2559086"/>
              <a:gd name="connsiteX18" fmla="*/ 2878866 w 3083700"/>
              <a:gd name="connsiteY18" fmla="*/ 1922627 h 2559086"/>
              <a:gd name="connsiteX19" fmla="*/ 2878866 w 3083700"/>
              <a:gd name="connsiteY19" fmla="*/ 1570202 h 2559086"/>
              <a:gd name="connsiteX20" fmla="*/ 1569692 w 3083700"/>
              <a:gd name="connsiteY20" fmla="*/ 1570202 h 2559086"/>
              <a:gd name="connsiteX21" fmla="*/ 1569692 w 3083700"/>
              <a:gd name="connsiteY21" fmla="*/ 1922627 h 2559086"/>
              <a:gd name="connsiteX22" fmla="*/ 2196437 w 3083700"/>
              <a:gd name="connsiteY22" fmla="*/ 1922627 h 2559086"/>
              <a:gd name="connsiteX23" fmla="*/ 2196437 w 3083700"/>
              <a:gd name="connsiteY23" fmla="*/ 1570202 h 2559086"/>
              <a:gd name="connsiteX24" fmla="*/ 887263 w 3083700"/>
              <a:gd name="connsiteY24" fmla="*/ 1570202 h 2559086"/>
              <a:gd name="connsiteX25" fmla="*/ 887263 w 3083700"/>
              <a:gd name="connsiteY25" fmla="*/ 1922627 h 2559086"/>
              <a:gd name="connsiteX26" fmla="*/ 1514008 w 3083700"/>
              <a:gd name="connsiteY26" fmla="*/ 1922627 h 2559086"/>
              <a:gd name="connsiteX27" fmla="*/ 1514008 w 3083700"/>
              <a:gd name="connsiteY27" fmla="*/ 1570202 h 2559086"/>
              <a:gd name="connsiteX28" fmla="*/ 204834 w 3083700"/>
              <a:gd name="connsiteY28" fmla="*/ 1570202 h 2559086"/>
              <a:gd name="connsiteX29" fmla="*/ 204834 w 3083700"/>
              <a:gd name="connsiteY29" fmla="*/ 1922627 h 2559086"/>
              <a:gd name="connsiteX30" fmla="*/ 831579 w 3083700"/>
              <a:gd name="connsiteY30" fmla="*/ 1922627 h 2559086"/>
              <a:gd name="connsiteX31" fmla="*/ 831579 w 3083700"/>
              <a:gd name="connsiteY31" fmla="*/ 1570202 h 2559086"/>
              <a:gd name="connsiteX32" fmla="*/ 2252121 w 3083700"/>
              <a:gd name="connsiteY32" fmla="*/ 1132950 h 2559086"/>
              <a:gd name="connsiteX33" fmla="*/ 2252121 w 3083700"/>
              <a:gd name="connsiteY33" fmla="*/ 1485375 h 2559086"/>
              <a:gd name="connsiteX34" fmla="*/ 2878866 w 3083700"/>
              <a:gd name="connsiteY34" fmla="*/ 1485375 h 2559086"/>
              <a:gd name="connsiteX35" fmla="*/ 2878866 w 3083700"/>
              <a:gd name="connsiteY35" fmla="*/ 1132950 h 2559086"/>
              <a:gd name="connsiteX36" fmla="*/ 1569692 w 3083700"/>
              <a:gd name="connsiteY36" fmla="*/ 1132950 h 2559086"/>
              <a:gd name="connsiteX37" fmla="*/ 1569692 w 3083700"/>
              <a:gd name="connsiteY37" fmla="*/ 1485375 h 2559086"/>
              <a:gd name="connsiteX38" fmla="*/ 2196437 w 3083700"/>
              <a:gd name="connsiteY38" fmla="*/ 1485375 h 2559086"/>
              <a:gd name="connsiteX39" fmla="*/ 2196437 w 3083700"/>
              <a:gd name="connsiteY39" fmla="*/ 1132950 h 2559086"/>
              <a:gd name="connsiteX40" fmla="*/ 887263 w 3083700"/>
              <a:gd name="connsiteY40" fmla="*/ 1132950 h 2559086"/>
              <a:gd name="connsiteX41" fmla="*/ 887263 w 3083700"/>
              <a:gd name="connsiteY41" fmla="*/ 1485375 h 2559086"/>
              <a:gd name="connsiteX42" fmla="*/ 1514008 w 3083700"/>
              <a:gd name="connsiteY42" fmla="*/ 1485375 h 2559086"/>
              <a:gd name="connsiteX43" fmla="*/ 1514008 w 3083700"/>
              <a:gd name="connsiteY43" fmla="*/ 1132950 h 2559086"/>
              <a:gd name="connsiteX44" fmla="*/ 204834 w 3083700"/>
              <a:gd name="connsiteY44" fmla="*/ 1132950 h 2559086"/>
              <a:gd name="connsiteX45" fmla="*/ 204834 w 3083700"/>
              <a:gd name="connsiteY45" fmla="*/ 1485375 h 2559086"/>
              <a:gd name="connsiteX46" fmla="*/ 831579 w 3083700"/>
              <a:gd name="connsiteY46" fmla="*/ 1485375 h 2559086"/>
              <a:gd name="connsiteX47" fmla="*/ 831579 w 3083700"/>
              <a:gd name="connsiteY47" fmla="*/ 1132950 h 2559086"/>
              <a:gd name="connsiteX48" fmla="*/ 2252121 w 3083700"/>
              <a:gd name="connsiteY48" fmla="*/ 695698 h 2559086"/>
              <a:gd name="connsiteX49" fmla="*/ 2252121 w 3083700"/>
              <a:gd name="connsiteY49" fmla="*/ 1048123 h 2559086"/>
              <a:gd name="connsiteX50" fmla="*/ 2878866 w 3083700"/>
              <a:gd name="connsiteY50" fmla="*/ 1048123 h 2559086"/>
              <a:gd name="connsiteX51" fmla="*/ 2878866 w 3083700"/>
              <a:gd name="connsiteY51" fmla="*/ 695698 h 2559086"/>
              <a:gd name="connsiteX52" fmla="*/ 1569692 w 3083700"/>
              <a:gd name="connsiteY52" fmla="*/ 695698 h 2559086"/>
              <a:gd name="connsiteX53" fmla="*/ 1569692 w 3083700"/>
              <a:gd name="connsiteY53" fmla="*/ 1048123 h 2559086"/>
              <a:gd name="connsiteX54" fmla="*/ 2196437 w 3083700"/>
              <a:gd name="connsiteY54" fmla="*/ 1048123 h 2559086"/>
              <a:gd name="connsiteX55" fmla="*/ 2196437 w 3083700"/>
              <a:gd name="connsiteY55" fmla="*/ 695698 h 2559086"/>
              <a:gd name="connsiteX56" fmla="*/ 887263 w 3083700"/>
              <a:gd name="connsiteY56" fmla="*/ 695698 h 2559086"/>
              <a:gd name="connsiteX57" fmla="*/ 887263 w 3083700"/>
              <a:gd name="connsiteY57" fmla="*/ 1048123 h 2559086"/>
              <a:gd name="connsiteX58" fmla="*/ 1514008 w 3083700"/>
              <a:gd name="connsiteY58" fmla="*/ 1048123 h 2559086"/>
              <a:gd name="connsiteX59" fmla="*/ 1514008 w 3083700"/>
              <a:gd name="connsiteY59" fmla="*/ 695698 h 2559086"/>
              <a:gd name="connsiteX60" fmla="*/ 204834 w 3083700"/>
              <a:gd name="connsiteY60" fmla="*/ 695698 h 2559086"/>
              <a:gd name="connsiteX61" fmla="*/ 204834 w 3083700"/>
              <a:gd name="connsiteY61" fmla="*/ 1048123 h 2559086"/>
              <a:gd name="connsiteX62" fmla="*/ 831579 w 3083700"/>
              <a:gd name="connsiteY62" fmla="*/ 1048123 h 2559086"/>
              <a:gd name="connsiteX63" fmla="*/ 831579 w 3083700"/>
              <a:gd name="connsiteY63" fmla="*/ 695698 h 2559086"/>
              <a:gd name="connsiteX64" fmla="*/ 130744 w 3083700"/>
              <a:gd name="connsiteY64" fmla="*/ 0 h 2559086"/>
              <a:gd name="connsiteX65" fmla="*/ 2952956 w 3083700"/>
              <a:gd name="connsiteY65" fmla="*/ 0 h 2559086"/>
              <a:gd name="connsiteX66" fmla="*/ 3083700 w 3083700"/>
              <a:gd name="connsiteY66" fmla="*/ 130744 h 2559086"/>
              <a:gd name="connsiteX67" fmla="*/ 3083700 w 3083700"/>
              <a:gd name="connsiteY67" fmla="*/ 2428342 h 2559086"/>
              <a:gd name="connsiteX68" fmla="*/ 2952956 w 3083700"/>
              <a:gd name="connsiteY68" fmla="*/ 2559086 h 2559086"/>
              <a:gd name="connsiteX69" fmla="*/ 130744 w 3083700"/>
              <a:gd name="connsiteY69" fmla="*/ 2559086 h 2559086"/>
              <a:gd name="connsiteX70" fmla="*/ 0 w 3083700"/>
              <a:gd name="connsiteY70" fmla="*/ 2428342 h 2559086"/>
              <a:gd name="connsiteX71" fmla="*/ 0 w 3083700"/>
              <a:gd name="connsiteY71" fmla="*/ 130744 h 2559086"/>
              <a:gd name="connsiteX72" fmla="*/ 130744 w 3083700"/>
              <a:gd name="connsiteY72" fmla="*/ 0 h 2559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083700" h="2559086">
                <a:moveTo>
                  <a:pt x="2252121" y="2007454"/>
                </a:moveTo>
                <a:lnTo>
                  <a:pt x="2252121" y="2359879"/>
                </a:lnTo>
                <a:lnTo>
                  <a:pt x="2878866" y="2359879"/>
                </a:lnTo>
                <a:lnTo>
                  <a:pt x="2878866" y="2007454"/>
                </a:lnTo>
                <a:close/>
                <a:moveTo>
                  <a:pt x="1569692" y="2007454"/>
                </a:moveTo>
                <a:lnTo>
                  <a:pt x="1569692" y="2359879"/>
                </a:lnTo>
                <a:lnTo>
                  <a:pt x="2196437" y="2359879"/>
                </a:lnTo>
                <a:lnTo>
                  <a:pt x="2196437" y="2007454"/>
                </a:lnTo>
                <a:close/>
                <a:moveTo>
                  <a:pt x="887263" y="2007454"/>
                </a:moveTo>
                <a:lnTo>
                  <a:pt x="887263" y="2359879"/>
                </a:lnTo>
                <a:lnTo>
                  <a:pt x="1514008" y="2359879"/>
                </a:lnTo>
                <a:lnTo>
                  <a:pt x="1514008" y="2007454"/>
                </a:lnTo>
                <a:close/>
                <a:moveTo>
                  <a:pt x="204834" y="2007454"/>
                </a:moveTo>
                <a:lnTo>
                  <a:pt x="204834" y="2359879"/>
                </a:lnTo>
                <a:lnTo>
                  <a:pt x="831579" y="2359879"/>
                </a:lnTo>
                <a:lnTo>
                  <a:pt x="831579" y="2007454"/>
                </a:lnTo>
                <a:close/>
                <a:moveTo>
                  <a:pt x="2252121" y="1570202"/>
                </a:moveTo>
                <a:lnTo>
                  <a:pt x="2252121" y="1922627"/>
                </a:lnTo>
                <a:lnTo>
                  <a:pt x="2878866" y="1922627"/>
                </a:lnTo>
                <a:lnTo>
                  <a:pt x="2878866" y="1570202"/>
                </a:lnTo>
                <a:close/>
                <a:moveTo>
                  <a:pt x="1569692" y="1570202"/>
                </a:moveTo>
                <a:lnTo>
                  <a:pt x="1569692" y="1922627"/>
                </a:lnTo>
                <a:lnTo>
                  <a:pt x="2196437" y="1922627"/>
                </a:lnTo>
                <a:lnTo>
                  <a:pt x="2196437" y="1570202"/>
                </a:lnTo>
                <a:close/>
                <a:moveTo>
                  <a:pt x="887263" y="1570202"/>
                </a:moveTo>
                <a:lnTo>
                  <a:pt x="887263" y="1922627"/>
                </a:lnTo>
                <a:lnTo>
                  <a:pt x="1514008" y="1922627"/>
                </a:lnTo>
                <a:lnTo>
                  <a:pt x="1514008" y="1570202"/>
                </a:lnTo>
                <a:close/>
                <a:moveTo>
                  <a:pt x="204834" y="1570202"/>
                </a:moveTo>
                <a:lnTo>
                  <a:pt x="204834" y="1922627"/>
                </a:lnTo>
                <a:lnTo>
                  <a:pt x="831579" y="1922627"/>
                </a:lnTo>
                <a:lnTo>
                  <a:pt x="831579" y="1570202"/>
                </a:lnTo>
                <a:close/>
                <a:moveTo>
                  <a:pt x="2252121" y="1132950"/>
                </a:moveTo>
                <a:lnTo>
                  <a:pt x="2252121" y="1485375"/>
                </a:lnTo>
                <a:lnTo>
                  <a:pt x="2878866" y="1485375"/>
                </a:lnTo>
                <a:lnTo>
                  <a:pt x="2878866" y="1132950"/>
                </a:lnTo>
                <a:close/>
                <a:moveTo>
                  <a:pt x="1569692" y="1132950"/>
                </a:moveTo>
                <a:lnTo>
                  <a:pt x="1569692" y="1485375"/>
                </a:lnTo>
                <a:lnTo>
                  <a:pt x="2196437" y="1485375"/>
                </a:lnTo>
                <a:lnTo>
                  <a:pt x="2196437" y="1132950"/>
                </a:lnTo>
                <a:close/>
                <a:moveTo>
                  <a:pt x="887263" y="1132950"/>
                </a:moveTo>
                <a:lnTo>
                  <a:pt x="887263" y="1485375"/>
                </a:lnTo>
                <a:lnTo>
                  <a:pt x="1514008" y="1485375"/>
                </a:lnTo>
                <a:lnTo>
                  <a:pt x="1514008" y="1132950"/>
                </a:lnTo>
                <a:close/>
                <a:moveTo>
                  <a:pt x="204834" y="1132950"/>
                </a:moveTo>
                <a:lnTo>
                  <a:pt x="204834" y="1485375"/>
                </a:lnTo>
                <a:lnTo>
                  <a:pt x="831579" y="1485375"/>
                </a:lnTo>
                <a:lnTo>
                  <a:pt x="831579" y="1132950"/>
                </a:lnTo>
                <a:close/>
                <a:moveTo>
                  <a:pt x="2252121" y="695698"/>
                </a:moveTo>
                <a:lnTo>
                  <a:pt x="2252121" y="1048123"/>
                </a:lnTo>
                <a:lnTo>
                  <a:pt x="2878866" y="1048123"/>
                </a:lnTo>
                <a:lnTo>
                  <a:pt x="2878866" y="695698"/>
                </a:lnTo>
                <a:close/>
                <a:moveTo>
                  <a:pt x="1569692" y="695698"/>
                </a:moveTo>
                <a:lnTo>
                  <a:pt x="1569692" y="1048123"/>
                </a:lnTo>
                <a:lnTo>
                  <a:pt x="2196437" y="1048123"/>
                </a:lnTo>
                <a:lnTo>
                  <a:pt x="2196437" y="695698"/>
                </a:lnTo>
                <a:close/>
                <a:moveTo>
                  <a:pt x="887263" y="695698"/>
                </a:moveTo>
                <a:lnTo>
                  <a:pt x="887263" y="1048123"/>
                </a:lnTo>
                <a:lnTo>
                  <a:pt x="1514008" y="1048123"/>
                </a:lnTo>
                <a:lnTo>
                  <a:pt x="1514008" y="695698"/>
                </a:lnTo>
                <a:close/>
                <a:moveTo>
                  <a:pt x="204834" y="695698"/>
                </a:moveTo>
                <a:lnTo>
                  <a:pt x="204834" y="1048123"/>
                </a:lnTo>
                <a:lnTo>
                  <a:pt x="831579" y="1048123"/>
                </a:lnTo>
                <a:lnTo>
                  <a:pt x="831579" y="695698"/>
                </a:lnTo>
                <a:close/>
                <a:moveTo>
                  <a:pt x="130744" y="0"/>
                </a:moveTo>
                <a:lnTo>
                  <a:pt x="2952956" y="0"/>
                </a:lnTo>
                <a:cubicBezTo>
                  <a:pt x="3025164" y="0"/>
                  <a:pt x="3083700" y="58536"/>
                  <a:pt x="3083700" y="130744"/>
                </a:cubicBezTo>
                <a:lnTo>
                  <a:pt x="3083700" y="2428342"/>
                </a:lnTo>
                <a:cubicBezTo>
                  <a:pt x="3083700" y="2500550"/>
                  <a:pt x="3025164" y="2559086"/>
                  <a:pt x="2952956" y="2559086"/>
                </a:cubicBezTo>
                <a:lnTo>
                  <a:pt x="130744" y="2559086"/>
                </a:lnTo>
                <a:cubicBezTo>
                  <a:pt x="58536" y="2559086"/>
                  <a:pt x="0" y="2500550"/>
                  <a:pt x="0" y="2428342"/>
                </a:cubicBezTo>
                <a:lnTo>
                  <a:pt x="0" y="130744"/>
                </a:lnTo>
                <a:cubicBezTo>
                  <a:pt x="0" y="58536"/>
                  <a:pt x="58536" y="0"/>
                  <a:pt x="130744" y="0"/>
                </a:cubicBezTo>
                <a:close/>
              </a:path>
            </a:pathLst>
          </a:custGeom>
          <a:solidFill>
            <a:srgbClr val="3C454F"/>
          </a:solidFill>
          <a:ln w="10795" cap="flat" cmpd="sng" algn="ctr">
            <a:noFill/>
            <a:prstDash val="solid"/>
          </a:ln>
          <a:effectLst/>
        </p:spPr>
        <p:txBody>
          <a:bodyPr lIns="45720" r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2F2F2"/>
              </a:solidFill>
              <a:effectLst/>
              <a:uLnTx/>
              <a:uFillTx/>
              <a:latin typeface="Segoe Semibold"/>
            </a:endParaRPr>
          </a:p>
        </p:txBody>
      </p:sp>
      <p:sp>
        <p:nvSpPr>
          <p:cNvPr id="23" name="Web Sites Icon"/>
          <p:cNvSpPr>
            <a:spLocks noChangeAspect="1"/>
          </p:cNvSpPr>
          <p:nvPr/>
        </p:nvSpPr>
        <p:spPr>
          <a:xfrm>
            <a:off x="3034094" y="1815586"/>
            <a:ext cx="1140736" cy="1140736"/>
          </a:xfrm>
          <a:custGeom>
            <a:avLst/>
            <a:gdLst/>
            <a:ahLst/>
            <a:cxnLst/>
            <a:rect l="l" t="t" r="r" b="b"/>
            <a:pathLst>
              <a:path w="2610712" h="2610712">
                <a:moveTo>
                  <a:pt x="900132" y="1659508"/>
                </a:moveTo>
                <a:cubicBezTo>
                  <a:pt x="850489" y="1680441"/>
                  <a:pt x="795925" y="1691910"/>
                  <a:pt x="738682" y="1691910"/>
                </a:cubicBezTo>
                <a:cubicBezTo>
                  <a:pt x="704580" y="1691910"/>
                  <a:pt x="671429" y="1687840"/>
                  <a:pt x="639972" y="1678984"/>
                </a:cubicBezTo>
                <a:cubicBezTo>
                  <a:pt x="630802" y="1732731"/>
                  <a:pt x="626539" y="1787737"/>
                  <a:pt x="626539" y="1843600"/>
                </a:cubicBezTo>
                <a:cubicBezTo>
                  <a:pt x="626539" y="1980151"/>
                  <a:pt x="652007" y="2111581"/>
                  <a:pt x="702051" y="2233347"/>
                </a:cubicBezTo>
                <a:cubicBezTo>
                  <a:pt x="875300" y="2347094"/>
                  <a:pt x="1082651" y="2412830"/>
                  <a:pt x="1305356" y="2412830"/>
                </a:cubicBezTo>
                <a:cubicBezTo>
                  <a:pt x="1649176" y="2412830"/>
                  <a:pt x="1956402" y="2256154"/>
                  <a:pt x="2159509" y="2010283"/>
                </a:cubicBezTo>
                <a:cubicBezTo>
                  <a:pt x="2111204" y="2014741"/>
                  <a:pt x="2062255" y="2016547"/>
                  <a:pt x="2012815" y="2016547"/>
                </a:cubicBezTo>
                <a:cubicBezTo>
                  <a:pt x="1920488" y="2016547"/>
                  <a:pt x="1829870" y="2010248"/>
                  <a:pt x="1741816" y="1995896"/>
                </a:cubicBezTo>
                <a:cubicBezTo>
                  <a:pt x="1697066" y="2053279"/>
                  <a:pt x="1627112" y="2089547"/>
                  <a:pt x="1548687" y="2089547"/>
                </a:cubicBezTo>
                <a:cubicBezTo>
                  <a:pt x="1425687" y="2089547"/>
                  <a:pt x="1323524" y="2000335"/>
                  <a:pt x="1304035" y="1882972"/>
                </a:cubicBezTo>
                <a:cubicBezTo>
                  <a:pt x="1156203" y="1826416"/>
                  <a:pt x="1020119" y="1751039"/>
                  <a:pt x="900132" y="1659508"/>
                </a:cubicBezTo>
                <a:close/>
                <a:moveTo>
                  <a:pt x="326784" y="787357"/>
                </a:moveTo>
                <a:cubicBezTo>
                  <a:pt x="244341" y="941756"/>
                  <a:pt x="197882" y="1118130"/>
                  <a:pt x="197882" y="1305356"/>
                </a:cubicBezTo>
                <a:cubicBezTo>
                  <a:pt x="197882" y="1524075"/>
                  <a:pt x="261286" y="1727986"/>
                  <a:pt x="371590" y="1899154"/>
                </a:cubicBezTo>
                <a:cubicBezTo>
                  <a:pt x="367754" y="1880810"/>
                  <a:pt x="367351" y="1862246"/>
                  <a:pt x="367351" y="1843600"/>
                </a:cubicBezTo>
                <a:cubicBezTo>
                  <a:pt x="367351" y="1734956"/>
                  <a:pt x="381029" y="1629062"/>
                  <a:pt x="407760" y="1527398"/>
                </a:cubicBezTo>
                <a:cubicBezTo>
                  <a:pt x="351809" y="1457631"/>
                  <a:pt x="319328" y="1368887"/>
                  <a:pt x="319328" y="1272556"/>
                </a:cubicBezTo>
                <a:cubicBezTo>
                  <a:pt x="319328" y="1180502"/>
                  <a:pt x="348989" y="1095376"/>
                  <a:pt x="400195" y="1026883"/>
                </a:cubicBezTo>
                <a:cubicBezTo>
                  <a:pt x="367473" y="950052"/>
                  <a:pt x="342803" y="869972"/>
                  <a:pt x="326784" y="787357"/>
                </a:cubicBezTo>
                <a:close/>
                <a:moveTo>
                  <a:pt x="1358809" y="759796"/>
                </a:moveTo>
                <a:cubicBezTo>
                  <a:pt x="1239078" y="818380"/>
                  <a:pt x="1130049" y="891267"/>
                  <a:pt x="1035634" y="976541"/>
                </a:cubicBezTo>
                <a:cubicBezTo>
                  <a:pt x="1111291" y="1052347"/>
                  <a:pt x="1158036" y="1156993"/>
                  <a:pt x="1158036" y="1272556"/>
                </a:cubicBezTo>
                <a:cubicBezTo>
                  <a:pt x="1158036" y="1358206"/>
                  <a:pt x="1132359" y="1437859"/>
                  <a:pt x="1088022" y="1504063"/>
                </a:cubicBezTo>
                <a:cubicBezTo>
                  <a:pt x="1174051" y="1568324"/>
                  <a:pt x="1270034" y="1622103"/>
                  <a:pt x="1373719" y="1663750"/>
                </a:cubicBezTo>
                <a:cubicBezTo>
                  <a:pt x="1418598" y="1619175"/>
                  <a:pt x="1480435" y="1591705"/>
                  <a:pt x="1548687" y="1591705"/>
                </a:cubicBezTo>
                <a:cubicBezTo>
                  <a:pt x="1664038" y="1591705"/>
                  <a:pt x="1761064" y="1670167"/>
                  <a:pt x="1788338" y="1776889"/>
                </a:cubicBezTo>
                <a:cubicBezTo>
                  <a:pt x="1861345" y="1788370"/>
                  <a:pt x="1936390" y="1793457"/>
                  <a:pt x="2012815" y="1793457"/>
                </a:cubicBezTo>
                <a:cubicBezTo>
                  <a:pt x="2115398" y="1793457"/>
                  <a:pt x="2215494" y="1784292"/>
                  <a:pt x="2311784" y="1765530"/>
                </a:cubicBezTo>
                <a:cubicBezTo>
                  <a:pt x="2333378" y="1721025"/>
                  <a:pt x="2351048" y="1674444"/>
                  <a:pt x="2365177" y="1626375"/>
                </a:cubicBezTo>
                <a:lnTo>
                  <a:pt x="2202628" y="1494320"/>
                </a:lnTo>
                <a:cubicBezTo>
                  <a:pt x="2146093" y="1541780"/>
                  <a:pt x="2073019" y="1569480"/>
                  <a:pt x="1993476" y="1569480"/>
                </a:cubicBezTo>
                <a:cubicBezTo>
                  <a:pt x="1808307" y="1569480"/>
                  <a:pt x="1658197" y="1419370"/>
                  <a:pt x="1658197" y="1234201"/>
                </a:cubicBezTo>
                <a:cubicBezTo>
                  <a:pt x="1658197" y="1173835"/>
                  <a:pt x="1674151" y="1117195"/>
                  <a:pt x="1703372" y="1069009"/>
                </a:cubicBezTo>
                <a:cubicBezTo>
                  <a:pt x="1579585" y="960620"/>
                  <a:pt x="1465000" y="856910"/>
                  <a:pt x="1358809" y="759796"/>
                </a:cubicBezTo>
                <a:close/>
                <a:moveTo>
                  <a:pt x="2077117" y="595048"/>
                </a:moveTo>
                <a:cubicBezTo>
                  <a:pt x="1893185" y="595048"/>
                  <a:pt x="1717247" y="624514"/>
                  <a:pt x="1555753" y="679536"/>
                </a:cubicBezTo>
                <a:cubicBezTo>
                  <a:pt x="1646868" y="763770"/>
                  <a:pt x="1742881" y="850965"/>
                  <a:pt x="1840379" y="937533"/>
                </a:cubicBezTo>
                <a:cubicBezTo>
                  <a:pt x="1885750" y="912375"/>
                  <a:pt x="1938042" y="898922"/>
                  <a:pt x="1993476" y="898922"/>
                </a:cubicBezTo>
                <a:cubicBezTo>
                  <a:pt x="2178645" y="898922"/>
                  <a:pt x="2328755" y="1049032"/>
                  <a:pt x="2328755" y="1234201"/>
                </a:cubicBezTo>
                <a:cubicBezTo>
                  <a:pt x="2328755" y="1272990"/>
                  <a:pt x="2322168" y="1310240"/>
                  <a:pt x="2308704" y="1344423"/>
                </a:cubicBezTo>
                <a:lnTo>
                  <a:pt x="2406112" y="1425145"/>
                </a:lnTo>
                <a:cubicBezTo>
                  <a:pt x="2410658" y="1385818"/>
                  <a:pt x="2412830" y="1345841"/>
                  <a:pt x="2412830" y="1305356"/>
                </a:cubicBezTo>
                <a:cubicBezTo>
                  <a:pt x="2412830" y="1036563"/>
                  <a:pt x="2317071" y="790135"/>
                  <a:pt x="2157688" y="598425"/>
                </a:cubicBezTo>
                <a:cubicBezTo>
                  <a:pt x="2131065" y="595686"/>
                  <a:pt x="2104177" y="595048"/>
                  <a:pt x="2077117" y="595048"/>
                </a:cubicBezTo>
                <a:close/>
                <a:moveTo>
                  <a:pt x="850619" y="296309"/>
                </a:moveTo>
                <a:cubicBezTo>
                  <a:pt x="745920" y="342505"/>
                  <a:pt x="650219" y="405265"/>
                  <a:pt x="566952" y="481629"/>
                </a:cubicBezTo>
                <a:cubicBezTo>
                  <a:pt x="562856" y="502474"/>
                  <a:pt x="562237" y="523628"/>
                  <a:pt x="562237" y="544906"/>
                </a:cubicBezTo>
                <a:cubicBezTo>
                  <a:pt x="562237" y="658977"/>
                  <a:pt x="580010" y="769475"/>
                  <a:pt x="614749" y="873958"/>
                </a:cubicBezTo>
                <a:cubicBezTo>
                  <a:pt x="653488" y="859785"/>
                  <a:pt x="695317" y="853202"/>
                  <a:pt x="738682" y="853202"/>
                </a:cubicBezTo>
                <a:lnTo>
                  <a:pt x="809682" y="860360"/>
                </a:lnTo>
                <a:cubicBezTo>
                  <a:pt x="915604" y="755988"/>
                  <a:pt x="1040099" y="666686"/>
                  <a:pt x="1177617" y="593776"/>
                </a:cubicBezTo>
                <a:cubicBezTo>
                  <a:pt x="1055870" y="481736"/>
                  <a:pt x="947131" y="381614"/>
                  <a:pt x="850619" y="296309"/>
                </a:cubicBezTo>
                <a:close/>
                <a:moveTo>
                  <a:pt x="1305356" y="197882"/>
                </a:moveTo>
                <a:cubicBezTo>
                  <a:pt x="1228261" y="197882"/>
                  <a:pt x="1153005" y="205760"/>
                  <a:pt x="1080369" y="220843"/>
                </a:cubicBezTo>
                <a:cubicBezTo>
                  <a:pt x="1155718" y="299808"/>
                  <a:pt x="1255185" y="397466"/>
                  <a:pt x="1368946" y="505293"/>
                </a:cubicBezTo>
                <a:cubicBezTo>
                  <a:pt x="1536969" y="438118"/>
                  <a:pt x="1719963" y="394608"/>
                  <a:pt x="1912410" y="379643"/>
                </a:cubicBezTo>
                <a:cubicBezTo>
                  <a:pt x="1738338" y="264549"/>
                  <a:pt x="1529632" y="197882"/>
                  <a:pt x="1305356" y="197882"/>
                </a:cubicBezTo>
                <a:close/>
                <a:moveTo>
                  <a:pt x="1305356" y="0"/>
                </a:moveTo>
                <a:cubicBezTo>
                  <a:pt x="2026284" y="0"/>
                  <a:pt x="2610712" y="584428"/>
                  <a:pt x="2610712" y="1305356"/>
                </a:cubicBezTo>
                <a:cubicBezTo>
                  <a:pt x="2610712" y="2026284"/>
                  <a:pt x="2026284" y="2610712"/>
                  <a:pt x="1305356" y="2610712"/>
                </a:cubicBezTo>
                <a:cubicBezTo>
                  <a:pt x="584428" y="2610712"/>
                  <a:pt x="0" y="2026284"/>
                  <a:pt x="0" y="1305356"/>
                </a:cubicBezTo>
                <a:cubicBezTo>
                  <a:pt x="0" y="584428"/>
                  <a:pt x="584428" y="0"/>
                  <a:pt x="1305356" y="0"/>
                </a:cubicBezTo>
                <a:close/>
              </a:path>
            </a:pathLst>
          </a:custGeom>
          <a:solidFill>
            <a:srgbClr val="3C454F"/>
          </a:solidFill>
          <a:ln w="10795" cap="flat" cmpd="sng" algn="ctr">
            <a:noFill/>
            <a:prstDash val="solid"/>
          </a:ln>
          <a:effectLst/>
        </p:spPr>
        <p:txBody>
          <a:bodyPr lIns="45720" r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2F2F2"/>
              </a:solidFill>
              <a:effectLst/>
              <a:uLnTx/>
              <a:uFillTx/>
              <a:latin typeface="Segoe Semibold"/>
            </a:endParaRPr>
          </a:p>
        </p:txBody>
      </p:sp>
      <p:sp>
        <p:nvSpPr>
          <p:cNvPr id="24" name="TextBox 23"/>
          <p:cNvSpPr txBox="1"/>
          <p:nvPr/>
        </p:nvSpPr>
        <p:spPr>
          <a:xfrm>
            <a:off x="189867" y="3927270"/>
            <a:ext cx="2096536" cy="627864"/>
          </a:xfrm>
          <a:prstGeom prst="rect">
            <a:avLst/>
          </a:prstGeom>
          <a:noFill/>
        </p:spPr>
        <p:txBody>
          <a:bodyPr wrap="none" lIns="182880" tIns="146304" rIns="182880" bIns="146304" rtlCol="0">
            <a:spAutoFit/>
          </a:bodyPr>
          <a:lstStyle/>
          <a:p>
            <a:pPr>
              <a:lnSpc>
                <a:spcPct val="90000"/>
              </a:lnSpc>
            </a:pPr>
            <a:r>
              <a:rPr lang="en-US" sz="2400" dirty="0" smtClean="0">
                <a:gradFill>
                  <a:gsLst>
                    <a:gs pos="2917">
                      <a:schemeClr val="tx1"/>
                    </a:gs>
                    <a:gs pos="30000">
                      <a:schemeClr val="tx1"/>
                    </a:gs>
                  </a:gsLst>
                  <a:lin ang="5400000" scaled="0"/>
                </a:gradFill>
              </a:rPr>
              <a:t>On-Premises</a:t>
            </a:r>
          </a:p>
        </p:txBody>
      </p:sp>
      <p:sp>
        <p:nvSpPr>
          <p:cNvPr id="25" name="TextBox 24"/>
          <p:cNvSpPr txBox="1"/>
          <p:nvPr/>
        </p:nvSpPr>
        <p:spPr>
          <a:xfrm>
            <a:off x="189867" y="3299406"/>
            <a:ext cx="1145955" cy="627864"/>
          </a:xfrm>
          <a:prstGeom prst="rect">
            <a:avLst/>
          </a:prstGeom>
          <a:noFill/>
        </p:spPr>
        <p:txBody>
          <a:bodyPr wrap="none" lIns="182880" tIns="146304" rIns="182880" bIns="146304" rtlCol="0">
            <a:spAutoFit/>
          </a:bodyPr>
          <a:lstStyle/>
          <a:p>
            <a:pPr>
              <a:lnSpc>
                <a:spcPct val="90000"/>
              </a:lnSpc>
            </a:pPr>
            <a:r>
              <a:rPr lang="en-US" sz="2400" dirty="0" smtClean="0">
                <a:gradFill>
                  <a:gsLst>
                    <a:gs pos="2917">
                      <a:schemeClr val="tx1"/>
                    </a:gs>
                    <a:gs pos="30000">
                      <a:schemeClr val="tx1"/>
                    </a:gs>
                  </a:gsLst>
                  <a:lin ang="5400000" scaled="0"/>
                </a:gradFill>
              </a:rPr>
              <a:t>Azure</a:t>
            </a:r>
          </a:p>
        </p:txBody>
      </p:sp>
      <p:sp>
        <p:nvSpPr>
          <p:cNvPr id="26" name="Azure Resource Files"/>
          <p:cNvSpPr>
            <a:spLocks noChangeAspect="1"/>
          </p:cNvSpPr>
          <p:nvPr/>
        </p:nvSpPr>
        <p:spPr bwMode="auto">
          <a:xfrm>
            <a:off x="6076528" y="2087750"/>
            <a:ext cx="1372442" cy="1146342"/>
          </a:xfrm>
          <a:custGeom>
            <a:avLst/>
            <a:gdLst>
              <a:gd name="connsiteX0" fmla="*/ 2879361 w 7694150"/>
              <a:gd name="connsiteY0" fmla="*/ 599225 h 6426586"/>
              <a:gd name="connsiteX1" fmla="*/ 2879361 w 7694150"/>
              <a:gd name="connsiteY1" fmla="*/ 2178977 h 6426586"/>
              <a:gd name="connsiteX2" fmla="*/ 4515242 w 7694150"/>
              <a:gd name="connsiteY2" fmla="*/ 2178977 h 6426586"/>
              <a:gd name="connsiteX3" fmla="*/ 3447182 w 7694150"/>
              <a:gd name="connsiteY3" fmla="*/ 0 h 6426586"/>
              <a:gd name="connsiteX4" fmla="*/ 4145170 w 7694150"/>
              <a:gd name="connsiteY4" fmla="*/ 0 h 6426586"/>
              <a:gd name="connsiteX5" fmla="*/ 4145170 w 7694150"/>
              <a:gd name="connsiteY5" fmla="*/ 785 h 6426586"/>
              <a:gd name="connsiteX6" fmla="*/ 4154056 w 7694150"/>
              <a:gd name="connsiteY6" fmla="*/ 1 h 6426586"/>
              <a:gd name="connsiteX7" fmla="*/ 4488501 w 7694150"/>
              <a:gd name="connsiteY7" fmla="*/ 102159 h 6426586"/>
              <a:gd name="connsiteX8" fmla="*/ 4556957 w 7694150"/>
              <a:gd name="connsiteY8" fmla="*/ 158641 h 6426586"/>
              <a:gd name="connsiteX9" fmla="*/ 4558423 w 7694150"/>
              <a:gd name="connsiteY9" fmla="*/ 157121 h 6426586"/>
              <a:gd name="connsiteX10" fmla="*/ 6229181 w 7694150"/>
              <a:gd name="connsiteY10" fmla="*/ 1770553 h 6426586"/>
              <a:gd name="connsiteX11" fmla="*/ 6228771 w 7694150"/>
              <a:gd name="connsiteY11" fmla="*/ 1770977 h 6426586"/>
              <a:gd name="connsiteX12" fmla="*/ 6298757 w 7694150"/>
              <a:gd name="connsiteY12" fmla="*/ 1855801 h 6426586"/>
              <a:gd name="connsiteX13" fmla="*/ 6394023 w 7694150"/>
              <a:gd name="connsiteY13" fmla="*/ 2099148 h 6426586"/>
              <a:gd name="connsiteX14" fmla="*/ 6400081 w 7694150"/>
              <a:gd name="connsiteY14" fmla="*/ 2179235 h 6426586"/>
              <a:gd name="connsiteX15" fmla="*/ 6400915 w 7694150"/>
              <a:gd name="connsiteY15" fmla="*/ 2179235 h 6426586"/>
              <a:gd name="connsiteX16" fmla="*/ 6400915 w 7694150"/>
              <a:gd name="connsiteY16" fmla="*/ 2190243 h 6426586"/>
              <a:gd name="connsiteX17" fmla="*/ 6400915 w 7694150"/>
              <a:gd name="connsiteY17" fmla="*/ 5844302 h 6426586"/>
              <a:gd name="connsiteX18" fmla="*/ 5812969 w 7694150"/>
              <a:gd name="connsiteY18" fmla="*/ 6426586 h 6426586"/>
              <a:gd name="connsiteX19" fmla="*/ 5684245 w 7694150"/>
              <a:gd name="connsiteY19" fmla="*/ 6426586 h 6426586"/>
              <a:gd name="connsiteX20" fmla="*/ 5733681 w 7694150"/>
              <a:gd name="connsiteY20" fmla="*/ 6336385 h 6426586"/>
              <a:gd name="connsiteX21" fmla="*/ 5779885 w 7694150"/>
              <a:gd name="connsiteY21" fmla="*/ 6109734 h 6426586"/>
              <a:gd name="connsiteX22" fmla="*/ 5779885 w 7694150"/>
              <a:gd name="connsiteY22" fmla="*/ 2455675 h 6426586"/>
              <a:gd name="connsiteX23" fmla="*/ 5757821 w 7694150"/>
              <a:gd name="connsiteY23" fmla="*/ 2178977 h 6426586"/>
              <a:gd name="connsiteX24" fmla="*/ 4121940 w 7694150"/>
              <a:gd name="connsiteY24" fmla="*/ 599225 h 6426586"/>
              <a:gd name="connsiteX25" fmla="*/ 4121940 w 7694150"/>
              <a:gd name="connsiteY25" fmla="*/ 600768 h 6426586"/>
              <a:gd name="connsiteX26" fmla="*/ 3937393 w 7694150"/>
              <a:gd name="connsiteY26" fmla="*/ 422553 h 6426586"/>
              <a:gd name="connsiteX27" fmla="*/ 3935926 w 7694150"/>
              <a:gd name="connsiteY27" fmla="*/ 424073 h 6426586"/>
              <a:gd name="connsiteX28" fmla="*/ 3867470 w 7694150"/>
              <a:gd name="connsiteY28" fmla="*/ 367591 h 6426586"/>
              <a:gd name="connsiteX29" fmla="*/ 3533026 w 7694150"/>
              <a:gd name="connsiteY29" fmla="*/ 265433 h 6426586"/>
              <a:gd name="connsiteX30" fmla="*/ 3524140 w 7694150"/>
              <a:gd name="connsiteY30" fmla="*/ 266217 h 6426586"/>
              <a:gd name="connsiteX31" fmla="*/ 3524140 w 7694150"/>
              <a:gd name="connsiteY31" fmla="*/ 265432 h 6426586"/>
              <a:gd name="connsiteX32" fmla="*/ 3447182 w 7694150"/>
              <a:gd name="connsiteY32" fmla="*/ 265432 h 6426586"/>
              <a:gd name="connsiteX33" fmla="*/ 587945 w 7694150"/>
              <a:gd name="connsiteY33" fmla="*/ 0 h 6426586"/>
              <a:gd name="connsiteX34" fmla="*/ 2902591 w 7694150"/>
              <a:gd name="connsiteY34" fmla="*/ 0 h 6426586"/>
              <a:gd name="connsiteX35" fmla="*/ 2902591 w 7694150"/>
              <a:gd name="connsiteY35" fmla="*/ 785 h 6426586"/>
              <a:gd name="connsiteX36" fmla="*/ 2911477 w 7694150"/>
              <a:gd name="connsiteY36" fmla="*/ 1 h 6426586"/>
              <a:gd name="connsiteX37" fmla="*/ 3245921 w 7694150"/>
              <a:gd name="connsiteY37" fmla="*/ 102159 h 6426586"/>
              <a:gd name="connsiteX38" fmla="*/ 3314377 w 7694150"/>
              <a:gd name="connsiteY38" fmla="*/ 158641 h 6426586"/>
              <a:gd name="connsiteX39" fmla="*/ 3315844 w 7694150"/>
              <a:gd name="connsiteY39" fmla="*/ 157121 h 6426586"/>
              <a:gd name="connsiteX40" fmla="*/ 4986602 w 7694150"/>
              <a:gd name="connsiteY40" fmla="*/ 1770553 h 6426586"/>
              <a:gd name="connsiteX41" fmla="*/ 4986192 w 7694150"/>
              <a:gd name="connsiteY41" fmla="*/ 1770977 h 6426586"/>
              <a:gd name="connsiteX42" fmla="*/ 5056178 w 7694150"/>
              <a:gd name="connsiteY42" fmla="*/ 1855801 h 6426586"/>
              <a:gd name="connsiteX43" fmla="*/ 5151444 w 7694150"/>
              <a:gd name="connsiteY43" fmla="*/ 2099148 h 6426586"/>
              <a:gd name="connsiteX44" fmla="*/ 5157503 w 7694150"/>
              <a:gd name="connsiteY44" fmla="*/ 2179235 h 6426586"/>
              <a:gd name="connsiteX45" fmla="*/ 5158336 w 7694150"/>
              <a:gd name="connsiteY45" fmla="*/ 2179235 h 6426586"/>
              <a:gd name="connsiteX46" fmla="*/ 5158336 w 7694150"/>
              <a:gd name="connsiteY46" fmla="*/ 2190243 h 6426586"/>
              <a:gd name="connsiteX47" fmla="*/ 5158336 w 7694150"/>
              <a:gd name="connsiteY47" fmla="*/ 5844302 h 6426586"/>
              <a:gd name="connsiteX48" fmla="*/ 4570391 w 7694150"/>
              <a:gd name="connsiteY48" fmla="*/ 6426586 h 6426586"/>
              <a:gd name="connsiteX49" fmla="*/ 587945 w 7694150"/>
              <a:gd name="connsiteY49" fmla="*/ 6426586 h 6426586"/>
              <a:gd name="connsiteX50" fmla="*/ 0 w 7694150"/>
              <a:gd name="connsiteY50" fmla="*/ 5844302 h 6426586"/>
              <a:gd name="connsiteX51" fmla="*/ 0 w 7694150"/>
              <a:gd name="connsiteY51" fmla="*/ 582285 h 6426586"/>
              <a:gd name="connsiteX52" fmla="*/ 587945 w 7694150"/>
              <a:gd name="connsiteY52" fmla="*/ 0 h 6426586"/>
              <a:gd name="connsiteX53" fmla="*/ 4740417 w 7694150"/>
              <a:gd name="connsiteY53" fmla="*/ 0 h 6426586"/>
              <a:gd name="connsiteX54" fmla="*/ 5438405 w 7694150"/>
              <a:gd name="connsiteY54" fmla="*/ 0 h 6426586"/>
              <a:gd name="connsiteX55" fmla="*/ 5438405 w 7694150"/>
              <a:gd name="connsiteY55" fmla="*/ 785 h 6426586"/>
              <a:gd name="connsiteX56" fmla="*/ 5447291 w 7694150"/>
              <a:gd name="connsiteY56" fmla="*/ 1 h 6426586"/>
              <a:gd name="connsiteX57" fmla="*/ 5781736 w 7694150"/>
              <a:gd name="connsiteY57" fmla="*/ 102159 h 6426586"/>
              <a:gd name="connsiteX58" fmla="*/ 5850192 w 7694150"/>
              <a:gd name="connsiteY58" fmla="*/ 158641 h 6426586"/>
              <a:gd name="connsiteX59" fmla="*/ 5851658 w 7694150"/>
              <a:gd name="connsiteY59" fmla="*/ 157121 h 6426586"/>
              <a:gd name="connsiteX60" fmla="*/ 7522416 w 7694150"/>
              <a:gd name="connsiteY60" fmla="*/ 1770553 h 6426586"/>
              <a:gd name="connsiteX61" fmla="*/ 7522006 w 7694150"/>
              <a:gd name="connsiteY61" fmla="*/ 1770977 h 6426586"/>
              <a:gd name="connsiteX62" fmla="*/ 7591992 w 7694150"/>
              <a:gd name="connsiteY62" fmla="*/ 1855801 h 6426586"/>
              <a:gd name="connsiteX63" fmla="*/ 7687258 w 7694150"/>
              <a:gd name="connsiteY63" fmla="*/ 2099148 h 6426586"/>
              <a:gd name="connsiteX64" fmla="*/ 7693316 w 7694150"/>
              <a:gd name="connsiteY64" fmla="*/ 2179235 h 6426586"/>
              <a:gd name="connsiteX65" fmla="*/ 7694150 w 7694150"/>
              <a:gd name="connsiteY65" fmla="*/ 2179235 h 6426586"/>
              <a:gd name="connsiteX66" fmla="*/ 7694150 w 7694150"/>
              <a:gd name="connsiteY66" fmla="*/ 2190243 h 6426586"/>
              <a:gd name="connsiteX67" fmla="*/ 7694150 w 7694150"/>
              <a:gd name="connsiteY67" fmla="*/ 5844302 h 6426586"/>
              <a:gd name="connsiteX68" fmla="*/ 7106204 w 7694150"/>
              <a:gd name="connsiteY68" fmla="*/ 6426586 h 6426586"/>
              <a:gd name="connsiteX69" fmla="*/ 6977480 w 7694150"/>
              <a:gd name="connsiteY69" fmla="*/ 6426586 h 6426586"/>
              <a:gd name="connsiteX70" fmla="*/ 7026916 w 7694150"/>
              <a:gd name="connsiteY70" fmla="*/ 6336385 h 6426586"/>
              <a:gd name="connsiteX71" fmla="*/ 7073120 w 7694150"/>
              <a:gd name="connsiteY71" fmla="*/ 6109734 h 6426586"/>
              <a:gd name="connsiteX72" fmla="*/ 7073120 w 7694150"/>
              <a:gd name="connsiteY72" fmla="*/ 2455675 h 6426586"/>
              <a:gd name="connsiteX73" fmla="*/ 7051056 w 7694150"/>
              <a:gd name="connsiteY73" fmla="*/ 2178977 h 6426586"/>
              <a:gd name="connsiteX74" fmla="*/ 5415175 w 7694150"/>
              <a:gd name="connsiteY74" fmla="*/ 599225 h 6426586"/>
              <a:gd name="connsiteX75" fmla="*/ 5415175 w 7694150"/>
              <a:gd name="connsiteY75" fmla="*/ 600768 h 6426586"/>
              <a:gd name="connsiteX76" fmla="*/ 5230628 w 7694150"/>
              <a:gd name="connsiteY76" fmla="*/ 422553 h 6426586"/>
              <a:gd name="connsiteX77" fmla="*/ 5229161 w 7694150"/>
              <a:gd name="connsiteY77" fmla="*/ 424073 h 6426586"/>
              <a:gd name="connsiteX78" fmla="*/ 5160705 w 7694150"/>
              <a:gd name="connsiteY78" fmla="*/ 367591 h 6426586"/>
              <a:gd name="connsiteX79" fmla="*/ 4826261 w 7694150"/>
              <a:gd name="connsiteY79" fmla="*/ 265433 h 6426586"/>
              <a:gd name="connsiteX80" fmla="*/ 4817375 w 7694150"/>
              <a:gd name="connsiteY80" fmla="*/ 266217 h 6426586"/>
              <a:gd name="connsiteX81" fmla="*/ 4817375 w 7694150"/>
              <a:gd name="connsiteY81" fmla="*/ 265432 h 6426586"/>
              <a:gd name="connsiteX82" fmla="*/ 4740417 w 7694150"/>
              <a:gd name="connsiteY82" fmla="*/ 265432 h 6426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694150" h="6426586">
                <a:moveTo>
                  <a:pt x="2879361" y="599225"/>
                </a:moveTo>
                <a:lnTo>
                  <a:pt x="2879361" y="2178977"/>
                </a:lnTo>
                <a:lnTo>
                  <a:pt x="4515242" y="2178977"/>
                </a:lnTo>
                <a:close/>
                <a:moveTo>
                  <a:pt x="3447182" y="0"/>
                </a:moveTo>
                <a:lnTo>
                  <a:pt x="4145170" y="0"/>
                </a:lnTo>
                <a:lnTo>
                  <a:pt x="4145170" y="785"/>
                </a:lnTo>
                <a:lnTo>
                  <a:pt x="4154056" y="1"/>
                </a:lnTo>
                <a:cubicBezTo>
                  <a:pt x="4277942" y="1"/>
                  <a:pt x="4393031" y="37662"/>
                  <a:pt x="4488501" y="102159"/>
                </a:cubicBezTo>
                <a:lnTo>
                  <a:pt x="4556957" y="158641"/>
                </a:lnTo>
                <a:lnTo>
                  <a:pt x="4558423" y="157121"/>
                </a:lnTo>
                <a:lnTo>
                  <a:pt x="6229181" y="1770553"/>
                </a:lnTo>
                <a:lnTo>
                  <a:pt x="6228771" y="1770977"/>
                </a:lnTo>
                <a:lnTo>
                  <a:pt x="6298757" y="1855801"/>
                </a:lnTo>
                <a:cubicBezTo>
                  <a:pt x="6347129" y="1927402"/>
                  <a:pt x="6380407" y="2010040"/>
                  <a:pt x="6394023" y="2099148"/>
                </a:cubicBezTo>
                <a:lnTo>
                  <a:pt x="6400081" y="2179235"/>
                </a:lnTo>
                <a:lnTo>
                  <a:pt x="6400915" y="2179235"/>
                </a:lnTo>
                <a:lnTo>
                  <a:pt x="6400915" y="2190243"/>
                </a:lnTo>
                <a:lnTo>
                  <a:pt x="6400915" y="5844302"/>
                </a:lnTo>
                <a:cubicBezTo>
                  <a:pt x="6400915" y="6165888"/>
                  <a:pt x="6137683" y="6426586"/>
                  <a:pt x="5812969" y="6426586"/>
                </a:cubicBezTo>
                <a:lnTo>
                  <a:pt x="5684245" y="6426586"/>
                </a:lnTo>
                <a:lnTo>
                  <a:pt x="5733681" y="6336385"/>
                </a:lnTo>
                <a:cubicBezTo>
                  <a:pt x="5763433" y="6266722"/>
                  <a:pt x="5779885" y="6190131"/>
                  <a:pt x="5779885" y="6109734"/>
                </a:cubicBezTo>
                <a:lnTo>
                  <a:pt x="5779885" y="2455675"/>
                </a:lnTo>
                <a:cubicBezTo>
                  <a:pt x="5780150" y="2317722"/>
                  <a:pt x="5780416" y="2212790"/>
                  <a:pt x="5757821" y="2178977"/>
                </a:cubicBezTo>
                <a:lnTo>
                  <a:pt x="4121940" y="599225"/>
                </a:lnTo>
                <a:lnTo>
                  <a:pt x="4121940" y="600768"/>
                </a:lnTo>
                <a:lnTo>
                  <a:pt x="3937393" y="422553"/>
                </a:lnTo>
                <a:lnTo>
                  <a:pt x="3935926" y="424073"/>
                </a:lnTo>
                <a:lnTo>
                  <a:pt x="3867470" y="367591"/>
                </a:lnTo>
                <a:cubicBezTo>
                  <a:pt x="3772001" y="303094"/>
                  <a:pt x="3656912" y="265433"/>
                  <a:pt x="3533026" y="265433"/>
                </a:cubicBezTo>
                <a:lnTo>
                  <a:pt x="3524140" y="266217"/>
                </a:lnTo>
                <a:lnTo>
                  <a:pt x="3524140" y="265432"/>
                </a:lnTo>
                <a:lnTo>
                  <a:pt x="3447182" y="265432"/>
                </a:lnTo>
                <a:close/>
                <a:moveTo>
                  <a:pt x="587945" y="0"/>
                </a:moveTo>
                <a:lnTo>
                  <a:pt x="2902591" y="0"/>
                </a:lnTo>
                <a:lnTo>
                  <a:pt x="2902591" y="785"/>
                </a:lnTo>
                <a:lnTo>
                  <a:pt x="2911477" y="1"/>
                </a:lnTo>
                <a:cubicBezTo>
                  <a:pt x="3035363" y="1"/>
                  <a:pt x="3150452" y="37662"/>
                  <a:pt x="3245921" y="102159"/>
                </a:cubicBezTo>
                <a:lnTo>
                  <a:pt x="3314377" y="158641"/>
                </a:lnTo>
                <a:lnTo>
                  <a:pt x="3315844" y="157121"/>
                </a:lnTo>
                <a:lnTo>
                  <a:pt x="4986602" y="1770553"/>
                </a:lnTo>
                <a:lnTo>
                  <a:pt x="4986192" y="1770977"/>
                </a:lnTo>
                <a:lnTo>
                  <a:pt x="5056178" y="1855801"/>
                </a:lnTo>
                <a:cubicBezTo>
                  <a:pt x="5104551" y="1927402"/>
                  <a:pt x="5137828" y="2010040"/>
                  <a:pt x="5151444" y="2099148"/>
                </a:cubicBezTo>
                <a:lnTo>
                  <a:pt x="5157503" y="2179235"/>
                </a:lnTo>
                <a:lnTo>
                  <a:pt x="5158336" y="2179235"/>
                </a:lnTo>
                <a:lnTo>
                  <a:pt x="5158336" y="2190243"/>
                </a:lnTo>
                <a:lnTo>
                  <a:pt x="5158336" y="5844302"/>
                </a:lnTo>
                <a:cubicBezTo>
                  <a:pt x="5158336" y="6165888"/>
                  <a:pt x="4895104" y="6426586"/>
                  <a:pt x="4570391" y="6426586"/>
                </a:cubicBezTo>
                <a:lnTo>
                  <a:pt x="587945" y="6426586"/>
                </a:lnTo>
                <a:cubicBezTo>
                  <a:pt x="263233" y="6426586"/>
                  <a:pt x="0" y="6165888"/>
                  <a:pt x="0" y="5844302"/>
                </a:cubicBezTo>
                <a:lnTo>
                  <a:pt x="0" y="582285"/>
                </a:lnTo>
                <a:cubicBezTo>
                  <a:pt x="0" y="260698"/>
                  <a:pt x="263233" y="0"/>
                  <a:pt x="587945" y="0"/>
                </a:cubicBezTo>
                <a:close/>
                <a:moveTo>
                  <a:pt x="4740417" y="0"/>
                </a:moveTo>
                <a:lnTo>
                  <a:pt x="5438405" y="0"/>
                </a:lnTo>
                <a:lnTo>
                  <a:pt x="5438405" y="785"/>
                </a:lnTo>
                <a:lnTo>
                  <a:pt x="5447291" y="1"/>
                </a:lnTo>
                <a:cubicBezTo>
                  <a:pt x="5571177" y="1"/>
                  <a:pt x="5686266" y="37662"/>
                  <a:pt x="5781736" y="102159"/>
                </a:cubicBezTo>
                <a:lnTo>
                  <a:pt x="5850192" y="158641"/>
                </a:lnTo>
                <a:lnTo>
                  <a:pt x="5851658" y="157121"/>
                </a:lnTo>
                <a:lnTo>
                  <a:pt x="7522416" y="1770553"/>
                </a:lnTo>
                <a:lnTo>
                  <a:pt x="7522006" y="1770977"/>
                </a:lnTo>
                <a:lnTo>
                  <a:pt x="7591992" y="1855801"/>
                </a:lnTo>
                <a:cubicBezTo>
                  <a:pt x="7640364" y="1927402"/>
                  <a:pt x="7673642" y="2010040"/>
                  <a:pt x="7687258" y="2099148"/>
                </a:cubicBezTo>
                <a:lnTo>
                  <a:pt x="7693316" y="2179235"/>
                </a:lnTo>
                <a:lnTo>
                  <a:pt x="7694150" y="2179235"/>
                </a:lnTo>
                <a:lnTo>
                  <a:pt x="7694150" y="2190243"/>
                </a:lnTo>
                <a:lnTo>
                  <a:pt x="7694150" y="5844302"/>
                </a:lnTo>
                <a:cubicBezTo>
                  <a:pt x="7694150" y="6165888"/>
                  <a:pt x="7430918" y="6426586"/>
                  <a:pt x="7106204" y="6426586"/>
                </a:cubicBezTo>
                <a:lnTo>
                  <a:pt x="6977480" y="6426586"/>
                </a:lnTo>
                <a:lnTo>
                  <a:pt x="7026916" y="6336385"/>
                </a:lnTo>
                <a:cubicBezTo>
                  <a:pt x="7056668" y="6266722"/>
                  <a:pt x="7073120" y="6190131"/>
                  <a:pt x="7073120" y="6109734"/>
                </a:cubicBezTo>
                <a:lnTo>
                  <a:pt x="7073120" y="2455675"/>
                </a:lnTo>
                <a:cubicBezTo>
                  <a:pt x="7073385" y="2317722"/>
                  <a:pt x="7073651" y="2212790"/>
                  <a:pt x="7051056" y="2178977"/>
                </a:cubicBezTo>
                <a:lnTo>
                  <a:pt x="5415175" y="599225"/>
                </a:lnTo>
                <a:lnTo>
                  <a:pt x="5415175" y="600768"/>
                </a:lnTo>
                <a:lnTo>
                  <a:pt x="5230628" y="422553"/>
                </a:lnTo>
                <a:lnTo>
                  <a:pt x="5229161" y="424073"/>
                </a:lnTo>
                <a:lnTo>
                  <a:pt x="5160705" y="367591"/>
                </a:lnTo>
                <a:cubicBezTo>
                  <a:pt x="5065236" y="303094"/>
                  <a:pt x="4950147" y="265433"/>
                  <a:pt x="4826261" y="265433"/>
                </a:cubicBezTo>
                <a:lnTo>
                  <a:pt x="4817375" y="266217"/>
                </a:lnTo>
                <a:lnTo>
                  <a:pt x="4817375" y="265432"/>
                </a:lnTo>
                <a:lnTo>
                  <a:pt x="4740417" y="265432"/>
                </a:lnTo>
                <a:close/>
              </a:path>
            </a:pathLst>
          </a:custGeom>
          <a:solidFill>
            <a:srgbClr val="637283"/>
          </a:solidFill>
          <a:ln w="9525" cap="flat" cmpd="sng" algn="ctr">
            <a:noFill/>
            <a:prstDash val="solid"/>
            <a:headEnd type="none" w="med" len="med"/>
            <a:tailEnd type="none" w="med" len="med"/>
          </a:ln>
          <a:effectLst/>
        </p:spPr>
        <p:txBody>
          <a:bodyPr vert="horz" wrap="square" lIns="91440" tIns="0" rIns="0" bIns="0" numCol="1" rtlCol="0" anchor="b" anchorCtr="0" compatLnSpc="1">
            <a:prstTxWarp prst="textNoShape">
              <a:avLst/>
            </a:prstTxWarp>
          </a:bodyPr>
          <a:lstStyle/>
          <a:p>
            <a:pPr marL="0" marR="0" lvl="0" indent="0" defTabSz="914099" eaLnBrk="1" fontAlgn="base" latinLnBrk="0" hangingPunct="1">
              <a:lnSpc>
                <a:spcPct val="100000"/>
              </a:lnSpc>
              <a:spcBef>
                <a:spcPct val="0"/>
              </a:spcBef>
              <a:spcAft>
                <a:spcPct val="0"/>
              </a:spcAft>
              <a:buClrTx/>
              <a:buSzTx/>
              <a:buFontTx/>
              <a:buNone/>
              <a:tabLst/>
              <a:defRPr/>
            </a:pPr>
            <a:r>
              <a:rPr lang="en-US" sz="1800" kern="0" dirty="0">
                <a:gradFill>
                  <a:gsLst>
                    <a:gs pos="0">
                      <a:srgbClr val="FFFFFF"/>
                    </a:gs>
                    <a:gs pos="100000">
                      <a:srgbClr val="FFFFFF"/>
                    </a:gs>
                  </a:gsLst>
                  <a:lin ang="5400000" scaled="0"/>
                </a:gradFill>
                <a:latin typeface="Segoe Semibold"/>
              </a:rPr>
              <a:t>j</a:t>
            </a:r>
            <a:r>
              <a:rPr kumimoji="0" lang="en-US" sz="18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Semibold"/>
              </a:rPr>
              <a:t>pg</a:t>
            </a:r>
            <a:endParaRPr kumimoji="0" lang="en-US" sz="18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Semibold"/>
            </a:endParaRPr>
          </a:p>
          <a:p>
            <a:pPr marL="0" marR="0" lvl="0" indent="0" defTabSz="914099" eaLnBrk="1" fontAlgn="base" latinLnBrk="0" hangingPunct="1">
              <a:lnSpc>
                <a:spcPct val="100000"/>
              </a:lnSpc>
              <a:spcBef>
                <a:spcPct val="0"/>
              </a:spcBef>
              <a:spcAft>
                <a:spcPct val="0"/>
              </a:spcAft>
              <a:buClrTx/>
              <a:buSzTx/>
              <a:buFontTx/>
              <a:buNone/>
              <a:tabLst/>
              <a:defRPr/>
            </a:pPr>
            <a:r>
              <a:rPr lang="en-US" sz="1800" kern="0" dirty="0" err="1" smtClean="0">
                <a:gradFill>
                  <a:gsLst>
                    <a:gs pos="0">
                      <a:srgbClr val="FFFFFF"/>
                    </a:gs>
                    <a:gs pos="100000">
                      <a:srgbClr val="FFFFFF"/>
                    </a:gs>
                  </a:gsLst>
                  <a:lin ang="5400000" scaled="0"/>
                </a:gradFill>
                <a:latin typeface="Segoe Semibold"/>
              </a:rPr>
              <a:t>css</a:t>
            </a:r>
            <a:endParaRPr lang="en-US" sz="1800" kern="0" dirty="0" smtClean="0">
              <a:gradFill>
                <a:gsLst>
                  <a:gs pos="0">
                    <a:srgbClr val="FFFFFF"/>
                  </a:gs>
                  <a:gs pos="100000">
                    <a:srgbClr val="FFFFFF"/>
                  </a:gs>
                </a:gsLst>
                <a:lin ang="5400000" scaled="0"/>
              </a:gradFill>
              <a:latin typeface="Segoe Semibold"/>
            </a:endParaRPr>
          </a:p>
          <a:p>
            <a:pPr marL="0" marR="0" lvl="0" indent="0" defTabSz="914099"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Semibold"/>
              </a:rPr>
              <a:t>js</a:t>
            </a:r>
            <a:endParaRPr kumimoji="0" lang="en-US" sz="18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Semibold"/>
            </a:endParaRPr>
          </a:p>
        </p:txBody>
      </p:sp>
      <p:sp>
        <p:nvSpPr>
          <p:cNvPr id="28" name="On-Prem Tables"/>
          <p:cNvSpPr>
            <a:spLocks noChangeAspect="1"/>
          </p:cNvSpPr>
          <p:nvPr/>
        </p:nvSpPr>
        <p:spPr>
          <a:xfrm>
            <a:off x="1413660" y="5441314"/>
            <a:ext cx="1146342" cy="1146342"/>
          </a:xfrm>
          <a:custGeom>
            <a:avLst/>
            <a:gdLst>
              <a:gd name="connsiteX0" fmla="*/ 688969 w 964557"/>
              <a:gd name="connsiteY0" fmla="*/ 750538 h 964557"/>
              <a:gd name="connsiteX1" fmla="*/ 688969 w 964557"/>
              <a:gd name="connsiteY1" fmla="*/ 858282 h 964557"/>
              <a:gd name="connsiteX2" fmla="*/ 826763 w 964557"/>
              <a:gd name="connsiteY2" fmla="*/ 858282 h 964557"/>
              <a:gd name="connsiteX3" fmla="*/ 826763 w 964557"/>
              <a:gd name="connsiteY3" fmla="*/ 750538 h 964557"/>
              <a:gd name="connsiteX4" fmla="*/ 413382 w 964557"/>
              <a:gd name="connsiteY4" fmla="*/ 750538 h 964557"/>
              <a:gd name="connsiteX5" fmla="*/ 413382 w 964557"/>
              <a:gd name="connsiteY5" fmla="*/ 858282 h 964557"/>
              <a:gd name="connsiteX6" fmla="*/ 551176 w 964557"/>
              <a:gd name="connsiteY6" fmla="*/ 858282 h 964557"/>
              <a:gd name="connsiteX7" fmla="*/ 551176 w 964557"/>
              <a:gd name="connsiteY7" fmla="*/ 750538 h 964557"/>
              <a:gd name="connsiteX8" fmla="*/ 137794 w 964557"/>
              <a:gd name="connsiteY8" fmla="*/ 750538 h 964557"/>
              <a:gd name="connsiteX9" fmla="*/ 137794 w 964557"/>
              <a:gd name="connsiteY9" fmla="*/ 858282 h 964557"/>
              <a:gd name="connsiteX10" fmla="*/ 275588 w 964557"/>
              <a:gd name="connsiteY10" fmla="*/ 858282 h 964557"/>
              <a:gd name="connsiteX11" fmla="*/ 275588 w 964557"/>
              <a:gd name="connsiteY11" fmla="*/ 750538 h 964557"/>
              <a:gd name="connsiteX12" fmla="*/ 688969 w 964557"/>
              <a:gd name="connsiteY12" fmla="*/ 535050 h 964557"/>
              <a:gd name="connsiteX13" fmla="*/ 688969 w 964557"/>
              <a:gd name="connsiteY13" fmla="*/ 642794 h 964557"/>
              <a:gd name="connsiteX14" fmla="*/ 826763 w 964557"/>
              <a:gd name="connsiteY14" fmla="*/ 642794 h 964557"/>
              <a:gd name="connsiteX15" fmla="*/ 826763 w 964557"/>
              <a:gd name="connsiteY15" fmla="*/ 535050 h 964557"/>
              <a:gd name="connsiteX16" fmla="*/ 413382 w 964557"/>
              <a:gd name="connsiteY16" fmla="*/ 535050 h 964557"/>
              <a:gd name="connsiteX17" fmla="*/ 413382 w 964557"/>
              <a:gd name="connsiteY17" fmla="*/ 642794 h 964557"/>
              <a:gd name="connsiteX18" fmla="*/ 551176 w 964557"/>
              <a:gd name="connsiteY18" fmla="*/ 642794 h 964557"/>
              <a:gd name="connsiteX19" fmla="*/ 551176 w 964557"/>
              <a:gd name="connsiteY19" fmla="*/ 535050 h 964557"/>
              <a:gd name="connsiteX20" fmla="*/ 137794 w 964557"/>
              <a:gd name="connsiteY20" fmla="*/ 535050 h 964557"/>
              <a:gd name="connsiteX21" fmla="*/ 137794 w 964557"/>
              <a:gd name="connsiteY21" fmla="*/ 642794 h 964557"/>
              <a:gd name="connsiteX22" fmla="*/ 275588 w 964557"/>
              <a:gd name="connsiteY22" fmla="*/ 642794 h 964557"/>
              <a:gd name="connsiteX23" fmla="*/ 275588 w 964557"/>
              <a:gd name="connsiteY23" fmla="*/ 535050 h 964557"/>
              <a:gd name="connsiteX24" fmla="*/ 688969 w 964557"/>
              <a:gd name="connsiteY24" fmla="*/ 321030 h 964557"/>
              <a:gd name="connsiteX25" fmla="*/ 688969 w 964557"/>
              <a:gd name="connsiteY25" fmla="*/ 428774 h 964557"/>
              <a:gd name="connsiteX26" fmla="*/ 826763 w 964557"/>
              <a:gd name="connsiteY26" fmla="*/ 428774 h 964557"/>
              <a:gd name="connsiteX27" fmla="*/ 826763 w 964557"/>
              <a:gd name="connsiteY27" fmla="*/ 321030 h 964557"/>
              <a:gd name="connsiteX28" fmla="*/ 413382 w 964557"/>
              <a:gd name="connsiteY28" fmla="*/ 321030 h 964557"/>
              <a:gd name="connsiteX29" fmla="*/ 413382 w 964557"/>
              <a:gd name="connsiteY29" fmla="*/ 428774 h 964557"/>
              <a:gd name="connsiteX30" fmla="*/ 551176 w 964557"/>
              <a:gd name="connsiteY30" fmla="*/ 428774 h 964557"/>
              <a:gd name="connsiteX31" fmla="*/ 551176 w 964557"/>
              <a:gd name="connsiteY31" fmla="*/ 321030 h 964557"/>
              <a:gd name="connsiteX32" fmla="*/ 137794 w 964557"/>
              <a:gd name="connsiteY32" fmla="*/ 321030 h 964557"/>
              <a:gd name="connsiteX33" fmla="*/ 137794 w 964557"/>
              <a:gd name="connsiteY33" fmla="*/ 428774 h 964557"/>
              <a:gd name="connsiteX34" fmla="*/ 275588 w 964557"/>
              <a:gd name="connsiteY34" fmla="*/ 428774 h 964557"/>
              <a:gd name="connsiteX35" fmla="*/ 275588 w 964557"/>
              <a:gd name="connsiteY35" fmla="*/ 321030 h 964557"/>
              <a:gd name="connsiteX36" fmla="*/ 0 w 964557"/>
              <a:gd name="connsiteY36" fmla="*/ 0 h 964557"/>
              <a:gd name="connsiteX37" fmla="*/ 964557 w 964557"/>
              <a:gd name="connsiteY37" fmla="*/ 0 h 964557"/>
              <a:gd name="connsiteX38" fmla="*/ 964557 w 964557"/>
              <a:gd name="connsiteY38" fmla="*/ 964557 h 964557"/>
              <a:gd name="connsiteX39" fmla="*/ 0 w 964557"/>
              <a:gd name="connsiteY39" fmla="*/ 964557 h 964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64557" h="964557">
                <a:moveTo>
                  <a:pt x="688969" y="750538"/>
                </a:moveTo>
                <a:lnTo>
                  <a:pt x="688969" y="858282"/>
                </a:lnTo>
                <a:lnTo>
                  <a:pt x="826763" y="858282"/>
                </a:lnTo>
                <a:lnTo>
                  <a:pt x="826763" y="750538"/>
                </a:lnTo>
                <a:close/>
                <a:moveTo>
                  <a:pt x="413382" y="750538"/>
                </a:moveTo>
                <a:lnTo>
                  <a:pt x="413382" y="858282"/>
                </a:lnTo>
                <a:lnTo>
                  <a:pt x="551176" y="858282"/>
                </a:lnTo>
                <a:lnTo>
                  <a:pt x="551176" y="750538"/>
                </a:lnTo>
                <a:close/>
                <a:moveTo>
                  <a:pt x="137794" y="750538"/>
                </a:moveTo>
                <a:lnTo>
                  <a:pt x="137794" y="858282"/>
                </a:lnTo>
                <a:lnTo>
                  <a:pt x="275588" y="858282"/>
                </a:lnTo>
                <a:lnTo>
                  <a:pt x="275588" y="750538"/>
                </a:lnTo>
                <a:close/>
                <a:moveTo>
                  <a:pt x="688969" y="535050"/>
                </a:moveTo>
                <a:lnTo>
                  <a:pt x="688969" y="642794"/>
                </a:lnTo>
                <a:lnTo>
                  <a:pt x="826763" y="642794"/>
                </a:lnTo>
                <a:lnTo>
                  <a:pt x="826763" y="535050"/>
                </a:lnTo>
                <a:close/>
                <a:moveTo>
                  <a:pt x="413382" y="535050"/>
                </a:moveTo>
                <a:lnTo>
                  <a:pt x="413382" y="642794"/>
                </a:lnTo>
                <a:lnTo>
                  <a:pt x="551176" y="642794"/>
                </a:lnTo>
                <a:lnTo>
                  <a:pt x="551176" y="535050"/>
                </a:lnTo>
                <a:close/>
                <a:moveTo>
                  <a:pt x="137794" y="535050"/>
                </a:moveTo>
                <a:lnTo>
                  <a:pt x="137794" y="642794"/>
                </a:lnTo>
                <a:lnTo>
                  <a:pt x="275588" y="642794"/>
                </a:lnTo>
                <a:lnTo>
                  <a:pt x="275588" y="535050"/>
                </a:lnTo>
                <a:close/>
                <a:moveTo>
                  <a:pt x="688969" y="321030"/>
                </a:moveTo>
                <a:lnTo>
                  <a:pt x="688969" y="428774"/>
                </a:lnTo>
                <a:lnTo>
                  <a:pt x="826763" y="428774"/>
                </a:lnTo>
                <a:lnTo>
                  <a:pt x="826763" y="321030"/>
                </a:lnTo>
                <a:close/>
                <a:moveTo>
                  <a:pt x="413382" y="321030"/>
                </a:moveTo>
                <a:lnTo>
                  <a:pt x="413382" y="428774"/>
                </a:lnTo>
                <a:lnTo>
                  <a:pt x="551176" y="428774"/>
                </a:lnTo>
                <a:lnTo>
                  <a:pt x="551176" y="321030"/>
                </a:lnTo>
                <a:close/>
                <a:moveTo>
                  <a:pt x="137794" y="321030"/>
                </a:moveTo>
                <a:lnTo>
                  <a:pt x="137794" y="428774"/>
                </a:lnTo>
                <a:lnTo>
                  <a:pt x="275588" y="428774"/>
                </a:lnTo>
                <a:lnTo>
                  <a:pt x="275588" y="321030"/>
                </a:lnTo>
                <a:close/>
                <a:moveTo>
                  <a:pt x="0" y="0"/>
                </a:moveTo>
                <a:lnTo>
                  <a:pt x="964557" y="0"/>
                </a:lnTo>
                <a:lnTo>
                  <a:pt x="964557" y="964557"/>
                </a:lnTo>
                <a:lnTo>
                  <a:pt x="0" y="964557"/>
                </a:lnTo>
                <a:close/>
              </a:path>
            </a:pathLst>
          </a:custGeom>
          <a:solidFill>
            <a:srgbClr val="63728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2F2F2"/>
              </a:solidFill>
              <a:effectLst/>
              <a:uLnTx/>
              <a:uFillTx/>
              <a:latin typeface="Segoe Semibold"/>
            </a:endParaRPr>
          </a:p>
        </p:txBody>
      </p:sp>
      <p:sp>
        <p:nvSpPr>
          <p:cNvPr id="29" name="Azure HTML File"/>
          <p:cNvSpPr>
            <a:spLocks noChangeAspect="1"/>
          </p:cNvSpPr>
          <p:nvPr/>
        </p:nvSpPr>
        <p:spPr bwMode="auto">
          <a:xfrm>
            <a:off x="3604461" y="2521689"/>
            <a:ext cx="920119" cy="1146342"/>
          </a:xfrm>
          <a:custGeom>
            <a:avLst/>
            <a:gdLst>
              <a:gd name="connsiteX0" fmla="*/ 2879361 w 5158336"/>
              <a:gd name="connsiteY0" fmla="*/ 599225 h 6426586"/>
              <a:gd name="connsiteX1" fmla="*/ 2879361 w 5158336"/>
              <a:gd name="connsiteY1" fmla="*/ 2178977 h 6426586"/>
              <a:gd name="connsiteX2" fmla="*/ 4515242 w 5158336"/>
              <a:gd name="connsiteY2" fmla="*/ 2178977 h 6426586"/>
              <a:gd name="connsiteX3" fmla="*/ 587945 w 5158336"/>
              <a:gd name="connsiteY3" fmla="*/ 0 h 6426586"/>
              <a:gd name="connsiteX4" fmla="*/ 2902591 w 5158336"/>
              <a:gd name="connsiteY4" fmla="*/ 0 h 6426586"/>
              <a:gd name="connsiteX5" fmla="*/ 2902591 w 5158336"/>
              <a:gd name="connsiteY5" fmla="*/ 785 h 6426586"/>
              <a:gd name="connsiteX6" fmla="*/ 2911477 w 5158336"/>
              <a:gd name="connsiteY6" fmla="*/ 1 h 6426586"/>
              <a:gd name="connsiteX7" fmla="*/ 3245921 w 5158336"/>
              <a:gd name="connsiteY7" fmla="*/ 102159 h 6426586"/>
              <a:gd name="connsiteX8" fmla="*/ 3314377 w 5158336"/>
              <a:gd name="connsiteY8" fmla="*/ 158641 h 6426586"/>
              <a:gd name="connsiteX9" fmla="*/ 3315844 w 5158336"/>
              <a:gd name="connsiteY9" fmla="*/ 157121 h 6426586"/>
              <a:gd name="connsiteX10" fmla="*/ 4986602 w 5158336"/>
              <a:gd name="connsiteY10" fmla="*/ 1770553 h 6426586"/>
              <a:gd name="connsiteX11" fmla="*/ 4986192 w 5158336"/>
              <a:gd name="connsiteY11" fmla="*/ 1770977 h 6426586"/>
              <a:gd name="connsiteX12" fmla="*/ 5056178 w 5158336"/>
              <a:gd name="connsiteY12" fmla="*/ 1855801 h 6426586"/>
              <a:gd name="connsiteX13" fmla="*/ 5151444 w 5158336"/>
              <a:gd name="connsiteY13" fmla="*/ 2099148 h 6426586"/>
              <a:gd name="connsiteX14" fmla="*/ 5157503 w 5158336"/>
              <a:gd name="connsiteY14" fmla="*/ 2179235 h 6426586"/>
              <a:gd name="connsiteX15" fmla="*/ 5158336 w 5158336"/>
              <a:gd name="connsiteY15" fmla="*/ 2179235 h 6426586"/>
              <a:gd name="connsiteX16" fmla="*/ 5158336 w 5158336"/>
              <a:gd name="connsiteY16" fmla="*/ 2190243 h 6426586"/>
              <a:gd name="connsiteX17" fmla="*/ 5158336 w 5158336"/>
              <a:gd name="connsiteY17" fmla="*/ 5844302 h 6426586"/>
              <a:gd name="connsiteX18" fmla="*/ 4570391 w 5158336"/>
              <a:gd name="connsiteY18" fmla="*/ 6426586 h 6426586"/>
              <a:gd name="connsiteX19" fmla="*/ 587945 w 5158336"/>
              <a:gd name="connsiteY19" fmla="*/ 6426586 h 6426586"/>
              <a:gd name="connsiteX20" fmla="*/ 0 w 5158336"/>
              <a:gd name="connsiteY20" fmla="*/ 5844302 h 6426586"/>
              <a:gd name="connsiteX21" fmla="*/ 0 w 5158336"/>
              <a:gd name="connsiteY21" fmla="*/ 582285 h 6426586"/>
              <a:gd name="connsiteX22" fmla="*/ 587945 w 5158336"/>
              <a:gd name="connsiteY22" fmla="*/ 0 h 6426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158336" h="6426586">
                <a:moveTo>
                  <a:pt x="2879361" y="599225"/>
                </a:moveTo>
                <a:lnTo>
                  <a:pt x="2879361" y="2178977"/>
                </a:lnTo>
                <a:lnTo>
                  <a:pt x="4515242" y="2178977"/>
                </a:lnTo>
                <a:close/>
                <a:moveTo>
                  <a:pt x="587945" y="0"/>
                </a:moveTo>
                <a:lnTo>
                  <a:pt x="2902591" y="0"/>
                </a:lnTo>
                <a:lnTo>
                  <a:pt x="2902591" y="785"/>
                </a:lnTo>
                <a:lnTo>
                  <a:pt x="2911477" y="1"/>
                </a:lnTo>
                <a:cubicBezTo>
                  <a:pt x="3035363" y="1"/>
                  <a:pt x="3150452" y="37662"/>
                  <a:pt x="3245921" y="102159"/>
                </a:cubicBezTo>
                <a:lnTo>
                  <a:pt x="3314377" y="158641"/>
                </a:lnTo>
                <a:lnTo>
                  <a:pt x="3315844" y="157121"/>
                </a:lnTo>
                <a:lnTo>
                  <a:pt x="4986602" y="1770553"/>
                </a:lnTo>
                <a:lnTo>
                  <a:pt x="4986192" y="1770977"/>
                </a:lnTo>
                <a:lnTo>
                  <a:pt x="5056178" y="1855801"/>
                </a:lnTo>
                <a:cubicBezTo>
                  <a:pt x="5104551" y="1927402"/>
                  <a:pt x="5137828" y="2010040"/>
                  <a:pt x="5151444" y="2099148"/>
                </a:cubicBezTo>
                <a:lnTo>
                  <a:pt x="5157503" y="2179235"/>
                </a:lnTo>
                <a:lnTo>
                  <a:pt x="5158336" y="2179235"/>
                </a:lnTo>
                <a:lnTo>
                  <a:pt x="5158336" y="2190243"/>
                </a:lnTo>
                <a:lnTo>
                  <a:pt x="5158336" y="5844302"/>
                </a:lnTo>
                <a:cubicBezTo>
                  <a:pt x="5158336" y="6165888"/>
                  <a:pt x="4895104" y="6426586"/>
                  <a:pt x="4570391" y="6426586"/>
                </a:cubicBezTo>
                <a:lnTo>
                  <a:pt x="587945" y="6426586"/>
                </a:lnTo>
                <a:cubicBezTo>
                  <a:pt x="263233" y="6426586"/>
                  <a:pt x="0" y="6165888"/>
                  <a:pt x="0" y="5844302"/>
                </a:cubicBezTo>
                <a:lnTo>
                  <a:pt x="0" y="582285"/>
                </a:lnTo>
                <a:cubicBezTo>
                  <a:pt x="0" y="260698"/>
                  <a:pt x="263233" y="0"/>
                  <a:pt x="587945" y="0"/>
                </a:cubicBezTo>
                <a:close/>
              </a:path>
            </a:pathLst>
          </a:custGeom>
          <a:solidFill>
            <a:srgbClr val="637283"/>
          </a:solidFill>
          <a:ln w="9525" cap="flat" cmpd="sng" algn="ctr">
            <a:noFill/>
            <a:prstDash val="solid"/>
            <a:headEnd type="none" w="med" len="med"/>
            <a:tailEnd type="none" w="med" len="med"/>
          </a:ln>
          <a:effectLst/>
        </p:spPr>
        <p:txBody>
          <a:bodyPr vert="horz" wrap="square" lIns="91440" tIns="0" rIns="0" bIns="0" numCol="1" rtlCol="0" anchor="b" anchorCtr="0" compatLnSpc="1">
            <a:prstTxWarp prst="textNoShape">
              <a:avLst/>
            </a:prstTxWarp>
          </a:bodyPr>
          <a:lstStyle/>
          <a:p>
            <a:pPr marL="0" marR="0" lvl="0" indent="0" defTabSz="914099" eaLnBrk="1" fontAlgn="base" latinLnBrk="0" hangingPunct="1">
              <a:lnSpc>
                <a:spcPct val="100000"/>
              </a:lnSpc>
              <a:spcBef>
                <a:spcPct val="0"/>
              </a:spcBef>
              <a:spcAft>
                <a:spcPct val="0"/>
              </a:spcAft>
              <a:buClrTx/>
              <a:buSzTx/>
              <a:buFontTx/>
              <a:buNone/>
              <a:tabLst/>
              <a:defRPr/>
            </a:pPr>
            <a:r>
              <a:rPr lang="en-US" sz="1800" kern="0" dirty="0" err="1">
                <a:gradFill>
                  <a:gsLst>
                    <a:gs pos="0">
                      <a:srgbClr val="FFFFFF"/>
                    </a:gs>
                    <a:gs pos="100000">
                      <a:srgbClr val="FFFFFF"/>
                    </a:gs>
                  </a:gsLst>
                  <a:lin ang="5400000" scaled="0"/>
                </a:gradFill>
                <a:latin typeface="Segoe Semibold"/>
              </a:rPr>
              <a:t>a</a:t>
            </a:r>
            <a:r>
              <a:rPr kumimoji="0" lang="en-US" sz="18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Semibold"/>
              </a:rPr>
              <a:t>spx</a:t>
            </a:r>
            <a:endParaRPr kumimoji="0" lang="en-US" sz="18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Semibold"/>
            </a:endParaRPr>
          </a:p>
          <a:p>
            <a:pPr marL="0" marR="0" lvl="0" indent="0" defTabSz="914099"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Semibold"/>
              </a:rPr>
              <a:t>html</a:t>
            </a:r>
          </a:p>
        </p:txBody>
      </p:sp>
      <p:sp>
        <p:nvSpPr>
          <p:cNvPr id="30" name="Azure Tables"/>
          <p:cNvSpPr>
            <a:spLocks noChangeAspect="1"/>
          </p:cNvSpPr>
          <p:nvPr/>
        </p:nvSpPr>
        <p:spPr>
          <a:xfrm>
            <a:off x="1413660" y="2521689"/>
            <a:ext cx="1146342" cy="1146342"/>
          </a:xfrm>
          <a:custGeom>
            <a:avLst/>
            <a:gdLst>
              <a:gd name="connsiteX0" fmla="*/ 688969 w 964557"/>
              <a:gd name="connsiteY0" fmla="*/ 750538 h 964557"/>
              <a:gd name="connsiteX1" fmla="*/ 688969 w 964557"/>
              <a:gd name="connsiteY1" fmla="*/ 858282 h 964557"/>
              <a:gd name="connsiteX2" fmla="*/ 826763 w 964557"/>
              <a:gd name="connsiteY2" fmla="*/ 858282 h 964557"/>
              <a:gd name="connsiteX3" fmla="*/ 826763 w 964557"/>
              <a:gd name="connsiteY3" fmla="*/ 750538 h 964557"/>
              <a:gd name="connsiteX4" fmla="*/ 413382 w 964557"/>
              <a:gd name="connsiteY4" fmla="*/ 750538 h 964557"/>
              <a:gd name="connsiteX5" fmla="*/ 413382 w 964557"/>
              <a:gd name="connsiteY5" fmla="*/ 858282 h 964557"/>
              <a:gd name="connsiteX6" fmla="*/ 551176 w 964557"/>
              <a:gd name="connsiteY6" fmla="*/ 858282 h 964557"/>
              <a:gd name="connsiteX7" fmla="*/ 551176 w 964557"/>
              <a:gd name="connsiteY7" fmla="*/ 750538 h 964557"/>
              <a:gd name="connsiteX8" fmla="*/ 137794 w 964557"/>
              <a:gd name="connsiteY8" fmla="*/ 750538 h 964557"/>
              <a:gd name="connsiteX9" fmla="*/ 137794 w 964557"/>
              <a:gd name="connsiteY9" fmla="*/ 858282 h 964557"/>
              <a:gd name="connsiteX10" fmla="*/ 275588 w 964557"/>
              <a:gd name="connsiteY10" fmla="*/ 858282 h 964557"/>
              <a:gd name="connsiteX11" fmla="*/ 275588 w 964557"/>
              <a:gd name="connsiteY11" fmla="*/ 750538 h 964557"/>
              <a:gd name="connsiteX12" fmla="*/ 688969 w 964557"/>
              <a:gd name="connsiteY12" fmla="*/ 535050 h 964557"/>
              <a:gd name="connsiteX13" fmla="*/ 688969 w 964557"/>
              <a:gd name="connsiteY13" fmla="*/ 642794 h 964557"/>
              <a:gd name="connsiteX14" fmla="*/ 826763 w 964557"/>
              <a:gd name="connsiteY14" fmla="*/ 642794 h 964557"/>
              <a:gd name="connsiteX15" fmla="*/ 826763 w 964557"/>
              <a:gd name="connsiteY15" fmla="*/ 535050 h 964557"/>
              <a:gd name="connsiteX16" fmla="*/ 413382 w 964557"/>
              <a:gd name="connsiteY16" fmla="*/ 535050 h 964557"/>
              <a:gd name="connsiteX17" fmla="*/ 413382 w 964557"/>
              <a:gd name="connsiteY17" fmla="*/ 642794 h 964557"/>
              <a:gd name="connsiteX18" fmla="*/ 551176 w 964557"/>
              <a:gd name="connsiteY18" fmla="*/ 642794 h 964557"/>
              <a:gd name="connsiteX19" fmla="*/ 551176 w 964557"/>
              <a:gd name="connsiteY19" fmla="*/ 535050 h 964557"/>
              <a:gd name="connsiteX20" fmla="*/ 137794 w 964557"/>
              <a:gd name="connsiteY20" fmla="*/ 535050 h 964557"/>
              <a:gd name="connsiteX21" fmla="*/ 137794 w 964557"/>
              <a:gd name="connsiteY21" fmla="*/ 642794 h 964557"/>
              <a:gd name="connsiteX22" fmla="*/ 275588 w 964557"/>
              <a:gd name="connsiteY22" fmla="*/ 642794 h 964557"/>
              <a:gd name="connsiteX23" fmla="*/ 275588 w 964557"/>
              <a:gd name="connsiteY23" fmla="*/ 535050 h 964557"/>
              <a:gd name="connsiteX24" fmla="*/ 688969 w 964557"/>
              <a:gd name="connsiteY24" fmla="*/ 321030 h 964557"/>
              <a:gd name="connsiteX25" fmla="*/ 688969 w 964557"/>
              <a:gd name="connsiteY25" fmla="*/ 428774 h 964557"/>
              <a:gd name="connsiteX26" fmla="*/ 826763 w 964557"/>
              <a:gd name="connsiteY26" fmla="*/ 428774 h 964557"/>
              <a:gd name="connsiteX27" fmla="*/ 826763 w 964557"/>
              <a:gd name="connsiteY27" fmla="*/ 321030 h 964557"/>
              <a:gd name="connsiteX28" fmla="*/ 413382 w 964557"/>
              <a:gd name="connsiteY28" fmla="*/ 321030 h 964557"/>
              <a:gd name="connsiteX29" fmla="*/ 413382 w 964557"/>
              <a:gd name="connsiteY29" fmla="*/ 428774 h 964557"/>
              <a:gd name="connsiteX30" fmla="*/ 551176 w 964557"/>
              <a:gd name="connsiteY30" fmla="*/ 428774 h 964557"/>
              <a:gd name="connsiteX31" fmla="*/ 551176 w 964557"/>
              <a:gd name="connsiteY31" fmla="*/ 321030 h 964557"/>
              <a:gd name="connsiteX32" fmla="*/ 137794 w 964557"/>
              <a:gd name="connsiteY32" fmla="*/ 321030 h 964557"/>
              <a:gd name="connsiteX33" fmla="*/ 137794 w 964557"/>
              <a:gd name="connsiteY33" fmla="*/ 428774 h 964557"/>
              <a:gd name="connsiteX34" fmla="*/ 275588 w 964557"/>
              <a:gd name="connsiteY34" fmla="*/ 428774 h 964557"/>
              <a:gd name="connsiteX35" fmla="*/ 275588 w 964557"/>
              <a:gd name="connsiteY35" fmla="*/ 321030 h 964557"/>
              <a:gd name="connsiteX36" fmla="*/ 0 w 964557"/>
              <a:gd name="connsiteY36" fmla="*/ 0 h 964557"/>
              <a:gd name="connsiteX37" fmla="*/ 964557 w 964557"/>
              <a:gd name="connsiteY37" fmla="*/ 0 h 964557"/>
              <a:gd name="connsiteX38" fmla="*/ 964557 w 964557"/>
              <a:gd name="connsiteY38" fmla="*/ 964557 h 964557"/>
              <a:gd name="connsiteX39" fmla="*/ 0 w 964557"/>
              <a:gd name="connsiteY39" fmla="*/ 964557 h 964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64557" h="964557">
                <a:moveTo>
                  <a:pt x="688969" y="750538"/>
                </a:moveTo>
                <a:lnTo>
                  <a:pt x="688969" y="858282"/>
                </a:lnTo>
                <a:lnTo>
                  <a:pt x="826763" y="858282"/>
                </a:lnTo>
                <a:lnTo>
                  <a:pt x="826763" y="750538"/>
                </a:lnTo>
                <a:close/>
                <a:moveTo>
                  <a:pt x="413382" y="750538"/>
                </a:moveTo>
                <a:lnTo>
                  <a:pt x="413382" y="858282"/>
                </a:lnTo>
                <a:lnTo>
                  <a:pt x="551176" y="858282"/>
                </a:lnTo>
                <a:lnTo>
                  <a:pt x="551176" y="750538"/>
                </a:lnTo>
                <a:close/>
                <a:moveTo>
                  <a:pt x="137794" y="750538"/>
                </a:moveTo>
                <a:lnTo>
                  <a:pt x="137794" y="858282"/>
                </a:lnTo>
                <a:lnTo>
                  <a:pt x="275588" y="858282"/>
                </a:lnTo>
                <a:lnTo>
                  <a:pt x="275588" y="750538"/>
                </a:lnTo>
                <a:close/>
                <a:moveTo>
                  <a:pt x="688969" y="535050"/>
                </a:moveTo>
                <a:lnTo>
                  <a:pt x="688969" y="642794"/>
                </a:lnTo>
                <a:lnTo>
                  <a:pt x="826763" y="642794"/>
                </a:lnTo>
                <a:lnTo>
                  <a:pt x="826763" y="535050"/>
                </a:lnTo>
                <a:close/>
                <a:moveTo>
                  <a:pt x="413382" y="535050"/>
                </a:moveTo>
                <a:lnTo>
                  <a:pt x="413382" y="642794"/>
                </a:lnTo>
                <a:lnTo>
                  <a:pt x="551176" y="642794"/>
                </a:lnTo>
                <a:lnTo>
                  <a:pt x="551176" y="535050"/>
                </a:lnTo>
                <a:close/>
                <a:moveTo>
                  <a:pt x="137794" y="535050"/>
                </a:moveTo>
                <a:lnTo>
                  <a:pt x="137794" y="642794"/>
                </a:lnTo>
                <a:lnTo>
                  <a:pt x="275588" y="642794"/>
                </a:lnTo>
                <a:lnTo>
                  <a:pt x="275588" y="535050"/>
                </a:lnTo>
                <a:close/>
                <a:moveTo>
                  <a:pt x="688969" y="321030"/>
                </a:moveTo>
                <a:lnTo>
                  <a:pt x="688969" y="428774"/>
                </a:lnTo>
                <a:lnTo>
                  <a:pt x="826763" y="428774"/>
                </a:lnTo>
                <a:lnTo>
                  <a:pt x="826763" y="321030"/>
                </a:lnTo>
                <a:close/>
                <a:moveTo>
                  <a:pt x="413382" y="321030"/>
                </a:moveTo>
                <a:lnTo>
                  <a:pt x="413382" y="428774"/>
                </a:lnTo>
                <a:lnTo>
                  <a:pt x="551176" y="428774"/>
                </a:lnTo>
                <a:lnTo>
                  <a:pt x="551176" y="321030"/>
                </a:lnTo>
                <a:close/>
                <a:moveTo>
                  <a:pt x="137794" y="321030"/>
                </a:moveTo>
                <a:lnTo>
                  <a:pt x="137794" y="428774"/>
                </a:lnTo>
                <a:lnTo>
                  <a:pt x="275588" y="428774"/>
                </a:lnTo>
                <a:lnTo>
                  <a:pt x="275588" y="321030"/>
                </a:lnTo>
                <a:close/>
                <a:moveTo>
                  <a:pt x="0" y="0"/>
                </a:moveTo>
                <a:lnTo>
                  <a:pt x="964557" y="0"/>
                </a:lnTo>
                <a:lnTo>
                  <a:pt x="964557" y="964557"/>
                </a:lnTo>
                <a:lnTo>
                  <a:pt x="0" y="964557"/>
                </a:lnTo>
                <a:close/>
              </a:path>
            </a:pathLst>
          </a:custGeom>
          <a:solidFill>
            <a:srgbClr val="63728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2F2F2"/>
              </a:solidFill>
              <a:effectLst/>
              <a:uLnTx/>
              <a:uFillTx/>
              <a:latin typeface="Segoe Semibold"/>
            </a:endParaRPr>
          </a:p>
        </p:txBody>
      </p:sp>
      <p:sp>
        <p:nvSpPr>
          <p:cNvPr id="31" name="On Prem DB Arrow"/>
          <p:cNvSpPr/>
          <p:nvPr/>
        </p:nvSpPr>
        <p:spPr bwMode="auto">
          <a:xfrm>
            <a:off x="1986831" y="4758227"/>
            <a:ext cx="978408" cy="484632"/>
          </a:xfrm>
          <a:prstGeom prst="lef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2" name="Azure Resources Arrow"/>
          <p:cNvSpPr/>
          <p:nvPr/>
        </p:nvSpPr>
        <p:spPr bwMode="auto">
          <a:xfrm>
            <a:off x="7675681" y="2429466"/>
            <a:ext cx="995111" cy="484632"/>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3" name="Azure HTML Arrow"/>
          <p:cNvSpPr/>
          <p:nvPr/>
        </p:nvSpPr>
        <p:spPr bwMode="auto">
          <a:xfrm>
            <a:off x="4618909" y="3272981"/>
            <a:ext cx="4051884" cy="484632"/>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4" name="Azure DB Arrow"/>
          <p:cNvSpPr/>
          <p:nvPr/>
        </p:nvSpPr>
        <p:spPr bwMode="auto">
          <a:xfrm>
            <a:off x="1986831" y="1843407"/>
            <a:ext cx="978408" cy="484632"/>
          </a:xfrm>
          <a:prstGeom prst="lef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5" name="On Prem to Azure DB Arrow"/>
          <p:cNvSpPr/>
          <p:nvPr/>
        </p:nvSpPr>
        <p:spPr bwMode="auto">
          <a:xfrm rot="2700000">
            <a:off x="2407977" y="3892449"/>
            <a:ext cx="1064095" cy="484632"/>
          </a:xfrm>
          <a:prstGeom prst="lef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9226531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1" nodeType="clickEffect">
                                  <p:stCondLst>
                                    <p:cond delay="0"/>
                                  </p:stCondLst>
                                  <p:childTnLst>
                                    <p:set>
                                      <p:cBhvr>
                                        <p:cTn id="18" dur="1" fill="hold">
                                          <p:stCondLst>
                                            <p:cond delay="0"/>
                                          </p:stCondLst>
                                        </p:cTn>
                                        <p:tgtEl>
                                          <p:spTgt spid="20"/>
                                        </p:tgtEl>
                                        <p:attrNameLst>
                                          <p:attrName>style.visibility</p:attrName>
                                        </p:attrNameLst>
                                      </p:cBhvr>
                                      <p:to>
                                        <p:strVal val="hidden"/>
                                      </p:to>
                                    </p:set>
                                  </p:childTnLst>
                                </p:cTn>
                              </p:par>
                              <p:par>
                                <p:cTn id="19" presetID="1" presetClass="exit" presetSubtype="0" fill="hold" grpId="0" nodeType="withEffect">
                                  <p:stCondLst>
                                    <p:cond delay="0"/>
                                  </p:stCondLst>
                                  <p:childTnLst>
                                    <p:set>
                                      <p:cBhvr>
                                        <p:cTn id="20" dur="1" fill="hold">
                                          <p:stCondLst>
                                            <p:cond delay="0"/>
                                          </p:stCondLst>
                                        </p:cTn>
                                        <p:tgtEl>
                                          <p:spTgt spid="7"/>
                                        </p:tgtEl>
                                        <p:attrNameLst>
                                          <p:attrName>style.visibility</p:attrName>
                                        </p:attrNameLst>
                                      </p:cBhvr>
                                      <p:to>
                                        <p:strVal val="hidden"/>
                                      </p:to>
                                    </p:set>
                                  </p:childTnLst>
                                </p:cTn>
                              </p:par>
                              <p:par>
                                <p:cTn id="21" presetID="1" presetClass="entr" presetSubtype="0" fill="hold" grpId="0" nodeType="withEffect">
                                  <p:stCondLst>
                                    <p:cond delay="0"/>
                                  </p:stCondLst>
                                  <p:childTnLst>
                                    <p:set>
                                      <p:cBhvr>
                                        <p:cTn id="22" dur="1" fill="hold">
                                          <p:stCondLst>
                                            <p:cond delay="0"/>
                                          </p:stCondLst>
                                        </p:cTn>
                                        <p:tgtEl>
                                          <p:spTgt spid="2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xit" presetSubtype="0" fill="hold" grpId="1" nodeType="clickEffect">
                                  <p:stCondLst>
                                    <p:cond delay="0"/>
                                  </p:stCondLst>
                                  <p:childTnLst>
                                    <p:set>
                                      <p:cBhvr>
                                        <p:cTn id="30" dur="1" fill="hold">
                                          <p:stCondLst>
                                            <p:cond delay="0"/>
                                          </p:stCondLst>
                                        </p:cTn>
                                        <p:tgtEl>
                                          <p:spTgt spid="28"/>
                                        </p:tgtEl>
                                        <p:attrNameLst>
                                          <p:attrName>style.visibility</p:attrName>
                                        </p:attrNameLst>
                                      </p:cBhvr>
                                      <p:to>
                                        <p:strVal val="hidden"/>
                                      </p:to>
                                    </p:set>
                                  </p:childTnLst>
                                </p:cTn>
                              </p:par>
                              <p:par>
                                <p:cTn id="31" presetID="1" presetClass="exit" presetSubtype="0" fill="hold" grpId="1" nodeType="withEffect">
                                  <p:stCondLst>
                                    <p:cond delay="0"/>
                                  </p:stCondLst>
                                  <p:childTnLst>
                                    <p:set>
                                      <p:cBhvr>
                                        <p:cTn id="32" dur="1" fill="hold">
                                          <p:stCondLst>
                                            <p:cond delay="0"/>
                                          </p:stCondLst>
                                        </p:cTn>
                                        <p:tgtEl>
                                          <p:spTgt spid="31"/>
                                        </p:tgtEl>
                                        <p:attrNameLst>
                                          <p:attrName>style.visibility</p:attrName>
                                        </p:attrNameLst>
                                      </p:cBhvr>
                                      <p:to>
                                        <p:strVal val="hidden"/>
                                      </p:to>
                                    </p:set>
                                  </p:childTnLst>
                                </p:cTn>
                              </p:par>
                              <p:par>
                                <p:cTn id="33" presetID="1" presetClass="exit" presetSubtype="0" fill="hold" grpId="0" nodeType="withEffect">
                                  <p:stCondLst>
                                    <p:cond delay="0"/>
                                  </p:stCondLst>
                                  <p:childTnLst>
                                    <p:set>
                                      <p:cBhvr>
                                        <p:cTn id="34" dur="1" fill="hold">
                                          <p:stCondLst>
                                            <p:cond delay="0"/>
                                          </p:stCondLst>
                                        </p:cTn>
                                        <p:tgtEl>
                                          <p:spTgt spid="18"/>
                                        </p:tgtEl>
                                        <p:attrNameLst>
                                          <p:attrName>style.visibility</p:attrName>
                                        </p:attrNameLst>
                                      </p:cBhvr>
                                      <p:to>
                                        <p:strVal val="hidden"/>
                                      </p:to>
                                    </p:set>
                                  </p:childTnLst>
                                </p:cTn>
                              </p:par>
                              <p:par>
                                <p:cTn id="35" presetID="1" presetClass="entr" presetSubtype="0" fill="hold" grpId="0" nodeType="withEffect">
                                  <p:stCondLst>
                                    <p:cond delay="0"/>
                                  </p:stCondLst>
                                  <p:childTnLst>
                                    <p:set>
                                      <p:cBhvr>
                                        <p:cTn id="36" dur="1" fill="hold">
                                          <p:stCondLst>
                                            <p:cond delay="0"/>
                                          </p:stCondLst>
                                        </p:cTn>
                                        <p:tgtEl>
                                          <p:spTgt spid="21"/>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3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5"/>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xit" presetSubtype="0" fill="hold" grpId="1" nodeType="clickEffect">
                                  <p:stCondLst>
                                    <p:cond delay="0"/>
                                  </p:stCondLst>
                                  <p:childTnLst>
                                    <p:set>
                                      <p:cBhvr>
                                        <p:cTn id="44" dur="1" fill="hold">
                                          <p:stCondLst>
                                            <p:cond delay="0"/>
                                          </p:stCondLst>
                                        </p:cTn>
                                        <p:tgtEl>
                                          <p:spTgt spid="19"/>
                                        </p:tgtEl>
                                        <p:attrNameLst>
                                          <p:attrName>style.visibility</p:attrName>
                                        </p:attrNameLst>
                                      </p:cBhvr>
                                      <p:to>
                                        <p:strVal val="hidden"/>
                                      </p:to>
                                    </p:set>
                                  </p:childTnLst>
                                </p:cTn>
                              </p:par>
                              <p:par>
                                <p:cTn id="45" presetID="1" presetClass="exit" presetSubtype="0" fill="hold" grpId="1" nodeType="withEffect">
                                  <p:stCondLst>
                                    <p:cond delay="0"/>
                                  </p:stCondLst>
                                  <p:childTnLst>
                                    <p:set>
                                      <p:cBhvr>
                                        <p:cTn id="46" dur="1" fill="hold">
                                          <p:stCondLst>
                                            <p:cond delay="0"/>
                                          </p:stCondLst>
                                        </p:cTn>
                                        <p:tgtEl>
                                          <p:spTgt spid="35"/>
                                        </p:tgtEl>
                                        <p:attrNameLst>
                                          <p:attrName>style.visibility</p:attrName>
                                        </p:attrNameLst>
                                      </p:cBhvr>
                                      <p:to>
                                        <p:strVal val="hidden"/>
                                      </p:to>
                                    </p:set>
                                  </p:childTnLst>
                                </p:cTn>
                              </p:par>
                              <p:par>
                                <p:cTn id="47" presetID="1" presetClass="exit" presetSubtype="0" fill="hold" grpId="0" nodeType="withEffect">
                                  <p:stCondLst>
                                    <p:cond delay="0"/>
                                  </p:stCondLst>
                                  <p:childTnLst>
                                    <p:set>
                                      <p:cBhvr>
                                        <p:cTn id="48" dur="1" fill="hold">
                                          <p:stCondLst>
                                            <p:cond delay="0"/>
                                          </p:stCondLst>
                                        </p:cTn>
                                        <p:tgtEl>
                                          <p:spTgt spid="16"/>
                                        </p:tgtEl>
                                        <p:attrNameLst>
                                          <p:attrName>style.visibility</p:attrName>
                                        </p:attrNameLst>
                                      </p:cBhvr>
                                      <p:to>
                                        <p:strVal val="hidden"/>
                                      </p:to>
                                    </p:set>
                                  </p:childTnLst>
                                </p:cTn>
                              </p:par>
                              <p:par>
                                <p:cTn id="49" presetID="1" presetClass="exit" presetSubtype="0" fill="hold" grpId="0" nodeType="withEffect">
                                  <p:stCondLst>
                                    <p:cond delay="0"/>
                                  </p:stCondLst>
                                  <p:childTnLst>
                                    <p:set>
                                      <p:cBhvr>
                                        <p:cTn id="50" dur="1" fill="hold">
                                          <p:stCondLst>
                                            <p:cond delay="0"/>
                                          </p:stCondLst>
                                        </p:cTn>
                                        <p:tgtEl>
                                          <p:spTgt spid="10"/>
                                        </p:tgtEl>
                                        <p:attrNameLst>
                                          <p:attrName>style.visibility</p:attrName>
                                        </p:attrNameLst>
                                      </p:cBhvr>
                                      <p:to>
                                        <p:strVal val="hidden"/>
                                      </p:to>
                                    </p:set>
                                  </p:childTnLst>
                                </p:cTn>
                              </p:par>
                              <p:par>
                                <p:cTn id="51" presetID="1" presetClass="entr" presetSubtype="0" fill="hold" grpId="0" nodeType="withEffect">
                                  <p:stCondLst>
                                    <p:cond delay="0"/>
                                  </p:stCondLst>
                                  <p:childTnLst>
                                    <p:set>
                                      <p:cBhvr>
                                        <p:cTn id="52" dur="1" fill="hold">
                                          <p:stCondLst>
                                            <p:cond delay="0"/>
                                          </p:stCondLst>
                                        </p:cTn>
                                        <p:tgtEl>
                                          <p:spTgt spid="34"/>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23"/>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29"/>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6" grpId="0" animBg="1"/>
      <p:bldP spid="18" grpId="0" animBg="1"/>
      <p:bldP spid="10" grpId="0" animBg="1"/>
      <p:bldP spid="19" grpId="0" animBg="1"/>
      <p:bldP spid="19" grpId="1" animBg="1"/>
      <p:bldP spid="20" grpId="0" animBg="1"/>
      <p:bldP spid="20" grpId="1" animBg="1"/>
      <p:bldP spid="21" grpId="0" animBg="1"/>
      <p:bldP spid="22" grpId="0" animBg="1"/>
      <p:bldP spid="23" grpId="0" animBg="1"/>
      <p:bldP spid="26" grpId="0" animBg="1"/>
      <p:bldP spid="28" grpId="1" animBg="1"/>
      <p:bldP spid="29" grpId="0" animBg="1"/>
      <p:bldP spid="30" grpId="0" animBg="1"/>
      <p:bldP spid="31" grpId="0" animBg="1"/>
      <p:bldP spid="31" grpId="1" animBg="1"/>
      <p:bldP spid="32" grpId="0" animBg="1"/>
      <p:bldP spid="33" grpId="0" animBg="1"/>
      <p:bldP spid="34" grpId="0" animBg="1"/>
      <p:bldP spid="35" grpId="0" animBg="1"/>
      <p:bldP spid="35" grpId="1"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t>Lift &amp; Shift</a:t>
            </a:r>
            <a:endParaRPr lang="en-US" sz="5400" dirty="0"/>
          </a:p>
        </p:txBody>
      </p:sp>
      <p:sp>
        <p:nvSpPr>
          <p:cNvPr id="3" name="Text Placeholder 2"/>
          <p:cNvSpPr>
            <a:spLocks noGrp="1"/>
          </p:cNvSpPr>
          <p:nvPr>
            <p:ph type="body" sz="quarter" idx="4294967295"/>
          </p:nvPr>
        </p:nvSpPr>
        <p:spPr>
          <a:xfrm>
            <a:off x="269170" y="1437409"/>
            <a:ext cx="10815638" cy="4419649"/>
          </a:xfrm>
        </p:spPr>
        <p:txBody>
          <a:bodyPr/>
          <a:lstStyle/>
          <a:p>
            <a:pPr marL="0" indent="0">
              <a:lnSpc>
                <a:spcPct val="100000"/>
              </a:lnSpc>
              <a:buNone/>
            </a:pPr>
            <a:r>
              <a:rPr lang="en-US" sz="4000" dirty="0">
                <a:solidFill>
                  <a:schemeClr val="tx2"/>
                </a:solidFill>
              </a:rPr>
              <a:t>Build Virtual Machine in the Cloud</a:t>
            </a:r>
          </a:p>
          <a:p>
            <a:pPr marL="345282" lvl="1" indent="-342900" defTabSz="685835">
              <a:lnSpc>
                <a:spcPct val="120000"/>
              </a:lnSpc>
              <a:spcBef>
                <a:spcPts val="0"/>
              </a:spcBef>
              <a:buSzPct val="80000"/>
            </a:pPr>
            <a:r>
              <a:rPr lang="en-US" sz="2000" spc="-38" dirty="0">
                <a:solidFill>
                  <a:schemeClr val="tx1">
                    <a:alpha val="99000"/>
                  </a:schemeClr>
                </a:solidFill>
              </a:rPr>
              <a:t>Lowers upload time and dependency risk</a:t>
            </a:r>
          </a:p>
          <a:p>
            <a:pPr marL="345282" lvl="1" indent="-342900" defTabSz="685835">
              <a:lnSpc>
                <a:spcPct val="120000"/>
              </a:lnSpc>
              <a:spcBef>
                <a:spcPts val="0"/>
              </a:spcBef>
              <a:buSzPct val="80000"/>
            </a:pPr>
            <a:r>
              <a:rPr lang="en-US" sz="2000" spc="-38" dirty="0">
                <a:solidFill>
                  <a:schemeClr val="tx1">
                    <a:alpha val="99000"/>
                  </a:schemeClr>
                </a:solidFill>
              </a:rPr>
              <a:t>Requires upload and installation of application and data </a:t>
            </a:r>
          </a:p>
          <a:p>
            <a:pPr>
              <a:lnSpc>
                <a:spcPct val="100000"/>
              </a:lnSpc>
            </a:pPr>
            <a:endParaRPr lang="en-US" sz="2800" dirty="0">
              <a:solidFill>
                <a:schemeClr val="tx1"/>
              </a:solidFill>
            </a:endParaRPr>
          </a:p>
          <a:p>
            <a:pPr marL="0" indent="0">
              <a:lnSpc>
                <a:spcPct val="100000"/>
              </a:lnSpc>
              <a:buNone/>
            </a:pPr>
            <a:r>
              <a:rPr lang="en-US" sz="4000" dirty="0">
                <a:solidFill>
                  <a:schemeClr val="tx2"/>
                </a:solidFill>
              </a:rPr>
              <a:t>Migrating an Existing Virtual Machine</a:t>
            </a:r>
          </a:p>
          <a:p>
            <a:pPr marL="345282" lvl="1" indent="-342900" defTabSz="685835">
              <a:lnSpc>
                <a:spcPct val="120000"/>
              </a:lnSpc>
              <a:spcBef>
                <a:spcPts val="0"/>
              </a:spcBef>
              <a:buSzPct val="80000"/>
            </a:pPr>
            <a:r>
              <a:rPr lang="en-US" sz="2000" spc="-38" dirty="0">
                <a:solidFill>
                  <a:schemeClr val="tx1">
                    <a:alpha val="99000"/>
                  </a:schemeClr>
                </a:solidFill>
              </a:rPr>
              <a:t>Application, Configuration and Data in an installed Working State </a:t>
            </a:r>
          </a:p>
          <a:p>
            <a:pPr marL="345282" lvl="1" indent="-342900" defTabSz="685835">
              <a:lnSpc>
                <a:spcPct val="120000"/>
              </a:lnSpc>
              <a:spcBef>
                <a:spcPts val="0"/>
              </a:spcBef>
              <a:buSzPct val="80000"/>
            </a:pPr>
            <a:r>
              <a:rPr lang="en-US" sz="2000" spc="-38" dirty="0">
                <a:solidFill>
                  <a:schemeClr val="tx1">
                    <a:alpha val="99000"/>
                  </a:schemeClr>
                </a:solidFill>
              </a:rPr>
              <a:t>Requires uploading a large amount of data and a higher risk of drivers or other hardware dependencies on VM not available in the cloud</a:t>
            </a:r>
          </a:p>
          <a:p>
            <a:pPr>
              <a:lnSpc>
                <a:spcPct val="100000"/>
              </a:lnSpc>
            </a:pPr>
            <a:endParaRPr lang="en-US" sz="2800" dirty="0" smtClean="0">
              <a:solidFill>
                <a:schemeClr val="accent5"/>
              </a:solidFill>
              <a:latin typeface="+mn-lt"/>
            </a:endParaRPr>
          </a:p>
        </p:txBody>
      </p:sp>
    </p:spTree>
    <p:extLst>
      <p:ext uri="{BB962C8B-B14F-4D97-AF65-F5344CB8AC3E}">
        <p14:creationId xmlns:p14="http://schemas.microsoft.com/office/powerpoint/2010/main" val="19682631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t>Migrating a Multi-VM Application</a:t>
            </a:r>
            <a:endParaRPr lang="en-US" sz="5400" dirty="0"/>
          </a:p>
        </p:txBody>
      </p:sp>
      <p:sp>
        <p:nvSpPr>
          <p:cNvPr id="32" name="Text Placeholder 21"/>
          <p:cNvSpPr>
            <a:spLocks noGrp="1"/>
          </p:cNvSpPr>
          <p:nvPr>
            <p:ph type="body" sz="quarter" idx="4294967295"/>
          </p:nvPr>
        </p:nvSpPr>
        <p:spPr>
          <a:xfrm>
            <a:off x="269170" y="1390014"/>
            <a:ext cx="10533063" cy="1415750"/>
          </a:xfrm>
        </p:spPr>
        <p:txBody>
          <a:bodyPr/>
          <a:lstStyle/>
          <a:p>
            <a:pPr marL="0" indent="0">
              <a:lnSpc>
                <a:spcPct val="100000"/>
              </a:lnSpc>
              <a:buNone/>
            </a:pPr>
            <a:r>
              <a:rPr lang="en-US" sz="4000" dirty="0">
                <a:solidFill>
                  <a:schemeClr val="tx2"/>
                </a:solidFill>
              </a:rPr>
              <a:t>Cloud Service Acts as a Networking Boundary</a:t>
            </a:r>
          </a:p>
          <a:p>
            <a:pPr marL="345282" lvl="1" indent="-342900" defTabSz="685835">
              <a:lnSpc>
                <a:spcPct val="100000"/>
              </a:lnSpc>
              <a:spcBef>
                <a:spcPts val="0"/>
              </a:spcBef>
              <a:buSzPct val="80000"/>
            </a:pPr>
            <a:r>
              <a:rPr lang="en-US" sz="2000" spc="-38" dirty="0">
                <a:solidFill>
                  <a:schemeClr val="tx1">
                    <a:alpha val="99000"/>
                  </a:schemeClr>
                </a:solidFill>
              </a:rPr>
              <a:t>All VMs in the same service can communicate directly</a:t>
            </a:r>
          </a:p>
          <a:p>
            <a:pPr marL="345282" lvl="1" indent="-342900" defTabSz="685835">
              <a:lnSpc>
                <a:spcPct val="100000"/>
              </a:lnSpc>
              <a:spcBef>
                <a:spcPts val="0"/>
              </a:spcBef>
              <a:buSzPct val="80000"/>
            </a:pPr>
            <a:r>
              <a:rPr lang="en-US" sz="2000" spc="-38" dirty="0">
                <a:solidFill>
                  <a:schemeClr val="tx1">
                    <a:alpha val="99000"/>
                  </a:schemeClr>
                </a:solidFill>
              </a:rPr>
              <a:t>Name resolution between VMs is automatic with Windows Azure provided DNS</a:t>
            </a:r>
          </a:p>
        </p:txBody>
      </p:sp>
      <p:sp>
        <p:nvSpPr>
          <p:cNvPr id="4" name="Rectangle 3"/>
          <p:cNvSpPr/>
          <p:nvPr/>
        </p:nvSpPr>
        <p:spPr bwMode="auto">
          <a:xfrm>
            <a:off x="2141536" y="3512951"/>
            <a:ext cx="7176978" cy="3092041"/>
          </a:xfrm>
          <a:prstGeom prst="rect">
            <a:avLst/>
          </a:prstGeom>
          <a:solidFill>
            <a:schemeClr val="tx1"/>
          </a:solidFill>
          <a:ln w="28575" cmpd="sng">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solidFill>
                <a:schemeClr val="tx2"/>
              </a:solidFill>
            </a:endParaRPr>
          </a:p>
        </p:txBody>
      </p:sp>
      <p:sp>
        <p:nvSpPr>
          <p:cNvPr id="5" name="TextBox 4"/>
          <p:cNvSpPr txBox="1"/>
          <p:nvPr/>
        </p:nvSpPr>
        <p:spPr>
          <a:xfrm>
            <a:off x="2245898" y="3614879"/>
            <a:ext cx="2660985" cy="533992"/>
          </a:xfrm>
          <a:prstGeom prst="rect">
            <a:avLst/>
          </a:prstGeom>
          <a:noFill/>
        </p:spPr>
        <p:txBody>
          <a:bodyPr wrap="none" lIns="0" tIns="0" rIns="0" bIns="0" rtlCol="0">
            <a:spAutoFit/>
          </a:bodyPr>
          <a:lstStyle/>
          <a:p>
            <a:pPr>
              <a:lnSpc>
                <a:spcPct val="90000"/>
              </a:lnSpc>
              <a:spcBef>
                <a:spcPct val="20000"/>
              </a:spcBef>
              <a:buSzPct val="80000"/>
            </a:pPr>
            <a:r>
              <a:rPr lang="en-US" u="sng" dirty="0">
                <a:solidFill>
                  <a:schemeClr val="bg1"/>
                </a:solidFill>
              </a:rPr>
              <a:t>Cloud Service</a:t>
            </a:r>
          </a:p>
          <a:p>
            <a:pPr>
              <a:lnSpc>
                <a:spcPct val="90000"/>
              </a:lnSpc>
              <a:spcBef>
                <a:spcPct val="20000"/>
              </a:spcBef>
              <a:buSzPct val="80000"/>
            </a:pPr>
            <a:r>
              <a:rPr lang="en-US" sz="1600" dirty="0" smtClean="0">
                <a:solidFill>
                  <a:schemeClr val="bg1"/>
                </a:solidFill>
              </a:rPr>
              <a:t>Name</a:t>
            </a:r>
            <a:r>
              <a:rPr lang="en-US" sz="1600" dirty="0">
                <a:solidFill>
                  <a:schemeClr val="bg1"/>
                </a:solidFill>
              </a:rPr>
              <a:t>: </a:t>
            </a:r>
            <a:r>
              <a:rPr lang="en-US" sz="1600" b="1" dirty="0">
                <a:solidFill>
                  <a:schemeClr val="bg1"/>
                </a:solidFill>
              </a:rPr>
              <a:t>myapp1.</a:t>
            </a:r>
            <a:r>
              <a:rPr lang="en-US" sz="1600" dirty="0">
                <a:solidFill>
                  <a:schemeClr val="bg1"/>
                </a:solidFill>
              </a:rPr>
              <a:t>cloudapp.net</a:t>
            </a:r>
          </a:p>
        </p:txBody>
      </p:sp>
      <p:sp>
        <p:nvSpPr>
          <p:cNvPr id="6" name="Rounded Rectangle 5"/>
          <p:cNvSpPr/>
          <p:nvPr/>
        </p:nvSpPr>
        <p:spPr bwMode="auto">
          <a:xfrm>
            <a:off x="2285914" y="4212669"/>
            <a:ext cx="6655980" cy="2334227"/>
          </a:xfrm>
          <a:prstGeom prst="roundRect">
            <a:avLst/>
          </a:prstGeom>
          <a:solidFill>
            <a:schemeClr val="accent1">
              <a:lumMod val="75000"/>
            </a:schemeClr>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8" name="TextBox 7"/>
          <p:cNvSpPr txBox="1"/>
          <p:nvPr/>
        </p:nvSpPr>
        <p:spPr>
          <a:xfrm>
            <a:off x="2477971" y="4637228"/>
            <a:ext cx="1541546" cy="830997"/>
          </a:xfrm>
          <a:prstGeom prst="rect">
            <a:avLst/>
          </a:prstGeom>
          <a:noFill/>
        </p:spPr>
        <p:txBody>
          <a:bodyPr wrap="square" lIns="0" tIns="0" rIns="0" bIns="0" rtlCol="0">
            <a:spAutoFit/>
          </a:bodyPr>
          <a:lstStyle/>
          <a:p>
            <a:pPr>
              <a:lnSpc>
                <a:spcPct val="90000"/>
              </a:lnSpc>
              <a:spcBef>
                <a:spcPct val="20000"/>
              </a:spcBef>
              <a:buSzPct val="80000"/>
            </a:pPr>
            <a:r>
              <a:rPr lang="en-US" sz="1600" u="sng" dirty="0">
                <a:solidFill>
                  <a:schemeClr val="bg1"/>
                </a:solidFill>
              </a:rPr>
              <a:t>Virtual </a:t>
            </a:r>
            <a:r>
              <a:rPr lang="en-US" sz="1600" u="sng" dirty="0" smtClean="0">
                <a:solidFill>
                  <a:schemeClr val="bg1"/>
                </a:solidFill>
              </a:rPr>
              <a:t>Machine</a:t>
            </a:r>
          </a:p>
          <a:p>
            <a:pPr>
              <a:lnSpc>
                <a:spcPct val="90000"/>
              </a:lnSpc>
              <a:spcBef>
                <a:spcPct val="20000"/>
              </a:spcBef>
              <a:buSzPct val="80000"/>
            </a:pPr>
            <a:r>
              <a:rPr lang="en-US" sz="1200" dirty="0" smtClean="0">
                <a:solidFill>
                  <a:schemeClr val="bg1"/>
                </a:solidFill>
              </a:rPr>
              <a:t>VM Name: iisvm1</a:t>
            </a:r>
          </a:p>
          <a:p>
            <a:pPr>
              <a:lnSpc>
                <a:spcPct val="90000"/>
              </a:lnSpc>
              <a:spcBef>
                <a:spcPct val="20000"/>
              </a:spcBef>
              <a:buSzPct val="80000"/>
            </a:pPr>
            <a:r>
              <a:rPr lang="en-US" sz="1200" dirty="0" smtClean="0">
                <a:solidFill>
                  <a:schemeClr val="bg1"/>
                </a:solidFill>
              </a:rPr>
              <a:t>10.1.5.6</a:t>
            </a:r>
            <a:endParaRPr lang="en-US" sz="1200" dirty="0">
              <a:solidFill>
                <a:schemeClr val="bg1"/>
              </a:solidFill>
            </a:endParaRPr>
          </a:p>
          <a:p>
            <a:pPr marL="342735" indent="-342735">
              <a:lnSpc>
                <a:spcPct val="90000"/>
              </a:lnSpc>
              <a:spcBef>
                <a:spcPct val="20000"/>
              </a:spcBef>
              <a:buSzPct val="80000"/>
              <a:buFont typeface="Arial" pitchFamily="34" charset="0"/>
              <a:buChar char="•"/>
            </a:pPr>
            <a:endParaRPr lang="en-US" sz="1200" dirty="0">
              <a:solidFill>
                <a:schemeClr val="bg1"/>
              </a:solidFill>
            </a:endParaRPr>
          </a:p>
        </p:txBody>
      </p:sp>
      <p:sp>
        <p:nvSpPr>
          <p:cNvPr id="29" name="TextBox 28"/>
          <p:cNvSpPr txBox="1"/>
          <p:nvPr/>
        </p:nvSpPr>
        <p:spPr>
          <a:xfrm>
            <a:off x="7297684" y="4565697"/>
            <a:ext cx="1541546" cy="830997"/>
          </a:xfrm>
          <a:prstGeom prst="rect">
            <a:avLst/>
          </a:prstGeom>
          <a:noFill/>
        </p:spPr>
        <p:txBody>
          <a:bodyPr wrap="square" lIns="0" tIns="0" rIns="0" bIns="0" rtlCol="0">
            <a:spAutoFit/>
          </a:bodyPr>
          <a:lstStyle/>
          <a:p>
            <a:pPr>
              <a:lnSpc>
                <a:spcPct val="90000"/>
              </a:lnSpc>
              <a:spcBef>
                <a:spcPct val="20000"/>
              </a:spcBef>
              <a:buSzPct val="80000"/>
            </a:pPr>
            <a:r>
              <a:rPr lang="en-US" sz="1600" u="sng" dirty="0">
                <a:solidFill>
                  <a:schemeClr val="bg1"/>
                </a:solidFill>
              </a:rPr>
              <a:t>Virtual Machine</a:t>
            </a:r>
          </a:p>
          <a:p>
            <a:pPr>
              <a:lnSpc>
                <a:spcPct val="90000"/>
              </a:lnSpc>
              <a:spcBef>
                <a:spcPct val="20000"/>
              </a:spcBef>
              <a:buSzPct val="80000"/>
            </a:pPr>
            <a:r>
              <a:rPr lang="en-US" sz="1200" dirty="0" smtClean="0">
                <a:solidFill>
                  <a:schemeClr val="bg1"/>
                </a:solidFill>
              </a:rPr>
              <a:t>VM Name</a:t>
            </a:r>
            <a:r>
              <a:rPr lang="en-US" sz="1200" dirty="0">
                <a:solidFill>
                  <a:schemeClr val="bg1"/>
                </a:solidFill>
              </a:rPr>
              <a:t>: </a:t>
            </a:r>
            <a:r>
              <a:rPr lang="en-US" sz="1200" dirty="0" smtClean="0">
                <a:solidFill>
                  <a:schemeClr val="bg1"/>
                </a:solidFill>
              </a:rPr>
              <a:t>iisvm2</a:t>
            </a:r>
            <a:endParaRPr lang="en-US" sz="1200" dirty="0">
              <a:solidFill>
                <a:schemeClr val="bg1"/>
              </a:solidFill>
            </a:endParaRPr>
          </a:p>
          <a:p>
            <a:pPr>
              <a:lnSpc>
                <a:spcPct val="90000"/>
              </a:lnSpc>
              <a:spcBef>
                <a:spcPct val="20000"/>
              </a:spcBef>
              <a:buSzPct val="80000"/>
            </a:pPr>
            <a:r>
              <a:rPr lang="en-US" sz="1200" dirty="0" smtClean="0">
                <a:solidFill>
                  <a:schemeClr val="bg1"/>
                </a:solidFill>
              </a:rPr>
              <a:t>10.1.5.7</a:t>
            </a:r>
            <a:endParaRPr lang="en-US" sz="1200" dirty="0">
              <a:solidFill>
                <a:schemeClr val="bg1"/>
              </a:solidFill>
            </a:endParaRPr>
          </a:p>
          <a:p>
            <a:pPr marL="342735" indent="-342735">
              <a:lnSpc>
                <a:spcPct val="90000"/>
              </a:lnSpc>
              <a:spcBef>
                <a:spcPct val="20000"/>
              </a:spcBef>
              <a:buSzPct val="80000"/>
              <a:buFont typeface="Arial" pitchFamily="34" charset="0"/>
              <a:buChar char="•"/>
            </a:pPr>
            <a:endParaRPr lang="en-US" sz="1200" dirty="0">
              <a:solidFill>
                <a:schemeClr val="bg1"/>
              </a:solidFill>
            </a:endParaRPr>
          </a:p>
        </p:txBody>
      </p:sp>
      <p:sp>
        <p:nvSpPr>
          <p:cNvPr id="31" name="Left-Right Arrow 30"/>
          <p:cNvSpPr/>
          <p:nvPr/>
        </p:nvSpPr>
        <p:spPr bwMode="auto">
          <a:xfrm>
            <a:off x="4858099" y="4770608"/>
            <a:ext cx="1374588" cy="210588"/>
          </a:xfrm>
          <a:prstGeom prst="leftRightArrow">
            <a:avLst>
              <a:gd name="adj1" fmla="val 68180"/>
              <a:gd name="adj2" fmla="val 47411"/>
            </a:avLst>
          </a:prstGeom>
          <a:solidFill>
            <a:schemeClr val="tx2"/>
          </a:solidFill>
          <a:ln>
            <a:headEnd type="none" w="med" len="med"/>
            <a:tailEnd type="none" w="med" len="med"/>
          </a:ln>
          <a:effectLst/>
          <a:scene3d>
            <a:camera prst="orthographicFront">
              <a:rot lat="0" lon="0" rev="0"/>
            </a:camera>
            <a:lightRig rig="threePt" dir="t">
              <a:rot lat="0" lon="0" rev="0"/>
            </a:lightRig>
          </a:scene3d>
          <a:sp3d>
            <a:contourClr>
              <a:schemeClr val="accent3">
                <a:shade val="25000"/>
                <a:satMod val="150000"/>
              </a:schemeClr>
            </a:contourClr>
          </a:sp3d>
        </p:spPr>
        <p:style>
          <a:lnRef idx="0">
            <a:schemeClr val="accent3"/>
          </a:lnRef>
          <a:fillRef idx="3">
            <a:schemeClr val="accent3"/>
          </a:fillRef>
          <a:effectRef idx="3">
            <a:schemeClr val="accent3"/>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r>
              <a:rPr lang="en-US" sz="1500" dirty="0">
                <a:solidFill>
                  <a:schemeClr val="bg1"/>
                </a:solidFill>
              </a:rPr>
              <a:t>DIP</a:t>
            </a:r>
          </a:p>
        </p:txBody>
      </p:sp>
      <p:sp>
        <p:nvSpPr>
          <p:cNvPr id="36" name="TextBox 35"/>
          <p:cNvSpPr txBox="1"/>
          <p:nvPr/>
        </p:nvSpPr>
        <p:spPr>
          <a:xfrm>
            <a:off x="6243884" y="5840316"/>
            <a:ext cx="1541546" cy="830997"/>
          </a:xfrm>
          <a:prstGeom prst="rect">
            <a:avLst/>
          </a:prstGeom>
          <a:noFill/>
        </p:spPr>
        <p:txBody>
          <a:bodyPr wrap="square" lIns="0" tIns="0" rIns="0" bIns="0" rtlCol="0">
            <a:spAutoFit/>
          </a:bodyPr>
          <a:lstStyle/>
          <a:p>
            <a:pPr>
              <a:lnSpc>
                <a:spcPct val="90000"/>
              </a:lnSpc>
              <a:spcBef>
                <a:spcPct val="20000"/>
              </a:spcBef>
              <a:buSzPct val="80000"/>
            </a:pPr>
            <a:r>
              <a:rPr lang="en-US" sz="1600" u="sng" dirty="0">
                <a:solidFill>
                  <a:schemeClr val="bg1"/>
                </a:solidFill>
              </a:rPr>
              <a:t>Virtual Machine</a:t>
            </a:r>
          </a:p>
          <a:p>
            <a:pPr>
              <a:lnSpc>
                <a:spcPct val="90000"/>
              </a:lnSpc>
              <a:spcBef>
                <a:spcPct val="20000"/>
              </a:spcBef>
              <a:buSzPct val="80000"/>
            </a:pPr>
            <a:r>
              <a:rPr lang="en-US" sz="1200" dirty="0" smtClean="0">
                <a:solidFill>
                  <a:schemeClr val="bg1"/>
                </a:solidFill>
              </a:rPr>
              <a:t>VM </a:t>
            </a:r>
            <a:r>
              <a:rPr lang="en-US" sz="1200" dirty="0">
                <a:solidFill>
                  <a:schemeClr val="bg1"/>
                </a:solidFill>
              </a:rPr>
              <a:t>Name: </a:t>
            </a:r>
            <a:r>
              <a:rPr lang="en-US" sz="1200" dirty="0" smtClean="0">
                <a:solidFill>
                  <a:schemeClr val="bg1"/>
                </a:solidFill>
              </a:rPr>
              <a:t>sqlvm1</a:t>
            </a:r>
            <a:endParaRPr lang="en-US" sz="1200" dirty="0">
              <a:solidFill>
                <a:schemeClr val="bg1"/>
              </a:solidFill>
            </a:endParaRPr>
          </a:p>
          <a:p>
            <a:pPr>
              <a:lnSpc>
                <a:spcPct val="90000"/>
              </a:lnSpc>
              <a:spcBef>
                <a:spcPct val="20000"/>
              </a:spcBef>
              <a:buSzPct val="80000"/>
            </a:pPr>
            <a:r>
              <a:rPr lang="en-US" sz="1200" dirty="0" smtClean="0">
                <a:solidFill>
                  <a:schemeClr val="bg1"/>
                </a:solidFill>
              </a:rPr>
              <a:t>10.1.5.8</a:t>
            </a:r>
            <a:endParaRPr lang="en-US" sz="1200" dirty="0">
              <a:solidFill>
                <a:schemeClr val="bg1"/>
              </a:solidFill>
            </a:endParaRPr>
          </a:p>
          <a:p>
            <a:pPr marL="342735" indent="-342735">
              <a:lnSpc>
                <a:spcPct val="90000"/>
              </a:lnSpc>
              <a:spcBef>
                <a:spcPct val="20000"/>
              </a:spcBef>
              <a:buSzPct val="80000"/>
              <a:buFont typeface="Arial" pitchFamily="34" charset="0"/>
              <a:buChar char="•"/>
            </a:pPr>
            <a:endParaRPr lang="en-US" sz="1200" dirty="0">
              <a:solidFill>
                <a:schemeClr val="bg1"/>
              </a:solidFill>
            </a:endParaRPr>
          </a:p>
        </p:txBody>
      </p:sp>
      <p:sp>
        <p:nvSpPr>
          <p:cNvPr id="37" name="Left-Right Arrow 36"/>
          <p:cNvSpPr/>
          <p:nvPr/>
        </p:nvSpPr>
        <p:spPr bwMode="auto">
          <a:xfrm rot="2790636">
            <a:off x="4386936" y="5586351"/>
            <a:ext cx="958457" cy="210588"/>
          </a:xfrm>
          <a:prstGeom prst="leftRightArrow">
            <a:avLst>
              <a:gd name="adj1" fmla="val 68180"/>
              <a:gd name="adj2" fmla="val 47411"/>
            </a:avLst>
          </a:prstGeom>
          <a:solidFill>
            <a:schemeClr val="tx2"/>
          </a:solidFill>
          <a:ln>
            <a:headEnd type="none" w="med" len="med"/>
            <a:tailEnd type="none" w="med" len="med"/>
          </a:ln>
          <a:effectLst/>
          <a:scene3d>
            <a:camera prst="orthographicFront">
              <a:rot lat="0" lon="0" rev="0"/>
            </a:camera>
            <a:lightRig rig="threePt" dir="t">
              <a:rot lat="0" lon="0" rev="0"/>
            </a:lightRig>
          </a:scene3d>
          <a:sp3d>
            <a:contourClr>
              <a:schemeClr val="accent3">
                <a:shade val="25000"/>
                <a:satMod val="150000"/>
              </a:schemeClr>
            </a:contourClr>
          </a:sp3d>
        </p:spPr>
        <p:style>
          <a:lnRef idx="0">
            <a:schemeClr val="accent3"/>
          </a:lnRef>
          <a:fillRef idx="3">
            <a:schemeClr val="accent3"/>
          </a:fillRef>
          <a:effectRef idx="3">
            <a:schemeClr val="accent3"/>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r>
              <a:rPr lang="en-US" sz="1500" dirty="0">
                <a:solidFill>
                  <a:schemeClr val="bg1"/>
                </a:solidFill>
              </a:rPr>
              <a:t>DIP</a:t>
            </a:r>
          </a:p>
        </p:txBody>
      </p:sp>
      <p:sp>
        <p:nvSpPr>
          <p:cNvPr id="38" name="Left-Right Arrow 37"/>
          <p:cNvSpPr/>
          <p:nvPr/>
        </p:nvSpPr>
        <p:spPr bwMode="auto">
          <a:xfrm rot="18919796">
            <a:off x="5764656" y="5577986"/>
            <a:ext cx="958457" cy="210588"/>
          </a:xfrm>
          <a:prstGeom prst="leftRightArrow">
            <a:avLst>
              <a:gd name="adj1" fmla="val 68180"/>
              <a:gd name="adj2" fmla="val 47411"/>
            </a:avLst>
          </a:prstGeom>
          <a:solidFill>
            <a:schemeClr val="tx2"/>
          </a:solidFill>
          <a:ln>
            <a:headEnd type="none" w="med" len="med"/>
            <a:tailEnd type="none" w="med" len="med"/>
          </a:ln>
          <a:effectLst/>
          <a:scene3d>
            <a:camera prst="orthographicFront">
              <a:rot lat="0" lon="0" rev="0"/>
            </a:camera>
            <a:lightRig rig="threePt" dir="t">
              <a:rot lat="0" lon="0" rev="0"/>
            </a:lightRig>
          </a:scene3d>
          <a:sp3d>
            <a:contourClr>
              <a:schemeClr val="accent3">
                <a:shade val="25000"/>
                <a:satMod val="150000"/>
              </a:schemeClr>
            </a:contourClr>
          </a:sp3d>
        </p:spPr>
        <p:style>
          <a:lnRef idx="0">
            <a:schemeClr val="accent3"/>
          </a:lnRef>
          <a:fillRef idx="3">
            <a:schemeClr val="accent3"/>
          </a:fillRef>
          <a:effectRef idx="3">
            <a:schemeClr val="accent3"/>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r>
              <a:rPr lang="en-US" sz="1500" dirty="0">
                <a:solidFill>
                  <a:schemeClr val="bg1"/>
                </a:solidFill>
              </a:rPr>
              <a:t>DIP</a:t>
            </a:r>
          </a:p>
        </p:txBody>
      </p:sp>
      <p:sp>
        <p:nvSpPr>
          <p:cNvPr id="40" name="Freeform 27"/>
          <p:cNvSpPr>
            <a:spLocks noChangeAspect="1" noEditPoints="1"/>
          </p:cNvSpPr>
          <p:nvPr/>
        </p:nvSpPr>
        <p:spPr bwMode="black">
          <a:xfrm>
            <a:off x="4626353" y="3088983"/>
            <a:ext cx="430451" cy="277285"/>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1440" tIns="45720" rIns="91440" bIns="45720" numCol="1" anchor="t" anchorCtr="0" compatLnSpc="1">
            <a:prstTxWarp prst="textNoShape">
              <a:avLst/>
            </a:prstTxWarp>
          </a:bodyPr>
          <a:lstStyle/>
          <a:p>
            <a:pPr defTabSz="913793"/>
            <a:endParaRPr lang="en-US" dirty="0">
              <a:solidFill>
                <a:srgbClr val="292929"/>
              </a:solidFill>
            </a:endParaRPr>
          </a:p>
        </p:txBody>
      </p:sp>
      <p:sp>
        <p:nvSpPr>
          <p:cNvPr id="41" name="Freeform 27"/>
          <p:cNvSpPr>
            <a:spLocks noChangeAspect="1" noEditPoints="1"/>
          </p:cNvSpPr>
          <p:nvPr/>
        </p:nvSpPr>
        <p:spPr bwMode="black">
          <a:xfrm>
            <a:off x="5443472" y="2953285"/>
            <a:ext cx="430451" cy="277285"/>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1440" tIns="45720" rIns="91440" bIns="45720" numCol="1" anchor="t" anchorCtr="0" compatLnSpc="1">
            <a:prstTxWarp prst="textNoShape">
              <a:avLst/>
            </a:prstTxWarp>
          </a:bodyPr>
          <a:lstStyle/>
          <a:p>
            <a:pPr defTabSz="913793"/>
            <a:endParaRPr lang="en-US" dirty="0">
              <a:solidFill>
                <a:srgbClr val="292929"/>
              </a:solidFill>
            </a:endParaRPr>
          </a:p>
        </p:txBody>
      </p:sp>
      <p:sp>
        <p:nvSpPr>
          <p:cNvPr id="42" name="Freeform 27"/>
          <p:cNvSpPr>
            <a:spLocks noChangeAspect="1" noEditPoints="1"/>
          </p:cNvSpPr>
          <p:nvPr/>
        </p:nvSpPr>
        <p:spPr bwMode="black">
          <a:xfrm>
            <a:off x="6163819" y="3078350"/>
            <a:ext cx="430451" cy="277285"/>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1440" tIns="45720" rIns="91440" bIns="45720" numCol="1" anchor="t" anchorCtr="0" compatLnSpc="1">
            <a:prstTxWarp prst="textNoShape">
              <a:avLst/>
            </a:prstTxWarp>
          </a:bodyPr>
          <a:lstStyle/>
          <a:p>
            <a:pPr defTabSz="913793"/>
            <a:endParaRPr lang="en-US" dirty="0">
              <a:solidFill>
                <a:srgbClr val="292929"/>
              </a:solidFill>
            </a:endParaRPr>
          </a:p>
        </p:txBody>
      </p:sp>
      <p:sp>
        <p:nvSpPr>
          <p:cNvPr id="95" name="Rectangle 94"/>
          <p:cNvSpPr/>
          <p:nvPr/>
        </p:nvSpPr>
        <p:spPr>
          <a:xfrm>
            <a:off x="6016879" y="3651613"/>
            <a:ext cx="1128386" cy="4247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solidFill>
                  <a:schemeClr val="bg1"/>
                </a:solidFill>
              </a:rPr>
              <a:t>Load Balancer</a:t>
            </a:r>
          </a:p>
          <a:p>
            <a:pPr algn="ctr" defTabSz="913529" fontAlgn="base">
              <a:lnSpc>
                <a:spcPct val="90000"/>
              </a:lnSpc>
              <a:spcBef>
                <a:spcPct val="0"/>
              </a:spcBef>
              <a:spcAft>
                <a:spcPct val="0"/>
              </a:spcAft>
            </a:pPr>
            <a:r>
              <a:rPr lang="en-US" sz="1200" dirty="0">
                <a:solidFill>
                  <a:schemeClr val="bg1"/>
                </a:solidFill>
              </a:rPr>
              <a:t>Public IP</a:t>
            </a:r>
          </a:p>
        </p:txBody>
      </p:sp>
      <p:cxnSp>
        <p:nvCxnSpPr>
          <p:cNvPr id="99" name="Straight Connector 98"/>
          <p:cNvCxnSpPr>
            <a:stCxn id="94" idx="1"/>
          </p:cNvCxnSpPr>
          <p:nvPr/>
        </p:nvCxnSpPr>
        <p:spPr>
          <a:xfrm flipV="1">
            <a:off x="5655394" y="3249305"/>
            <a:ext cx="4608" cy="35982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flipV="1">
            <a:off x="5775616" y="3350737"/>
            <a:ext cx="457071" cy="34066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flipH="1" flipV="1">
            <a:off x="5018084" y="3350737"/>
            <a:ext cx="521526" cy="34066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a:stCxn id="94" idx="10"/>
          </p:cNvCxnSpPr>
          <p:nvPr/>
        </p:nvCxnSpPr>
        <p:spPr>
          <a:xfrm flipH="1">
            <a:off x="4692716" y="4084882"/>
            <a:ext cx="890133" cy="480815"/>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a:off x="5646745" y="4053613"/>
            <a:ext cx="796101" cy="469552"/>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47" name="Group 46"/>
          <p:cNvGrpSpPr/>
          <p:nvPr/>
        </p:nvGrpSpPr>
        <p:grpSpPr bwMode="black">
          <a:xfrm>
            <a:off x="5194675" y="3561556"/>
            <a:ext cx="830326" cy="640637"/>
            <a:chOff x="7010400" y="2133600"/>
            <a:chExt cx="1379538" cy="1065213"/>
          </a:xfrm>
          <a:solidFill>
            <a:schemeClr val="bg1"/>
          </a:solidFill>
        </p:grpSpPr>
        <p:sp>
          <p:nvSpPr>
            <p:cNvPr id="4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4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5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5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5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5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5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5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5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5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5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5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6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6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6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6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6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6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6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6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6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6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7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7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7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7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7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7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7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7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7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7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8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8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8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8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8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8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8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8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8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8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9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9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9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9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9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grpSp>
      <p:pic>
        <p:nvPicPr>
          <p:cNvPr id="3" name="Picture 2"/>
          <p:cNvPicPr>
            <a:picLocks noChangeAspect="1"/>
          </p:cNvPicPr>
          <p:nvPr/>
        </p:nvPicPr>
        <p:blipFill>
          <a:blip r:embed="rId3"/>
          <a:stretch>
            <a:fillRect/>
          </a:stretch>
        </p:blipFill>
        <p:spPr>
          <a:xfrm>
            <a:off x="4150360" y="4655084"/>
            <a:ext cx="652500" cy="596250"/>
          </a:xfrm>
          <a:prstGeom prst="rect">
            <a:avLst/>
          </a:prstGeom>
        </p:spPr>
      </p:pic>
      <p:pic>
        <p:nvPicPr>
          <p:cNvPr id="7" name="Picture 6"/>
          <p:cNvPicPr>
            <a:picLocks noChangeAspect="1"/>
          </p:cNvPicPr>
          <p:nvPr/>
        </p:nvPicPr>
        <p:blipFill>
          <a:blip r:embed="rId3"/>
          <a:stretch>
            <a:fillRect/>
          </a:stretch>
        </p:blipFill>
        <p:spPr>
          <a:xfrm>
            <a:off x="6377065" y="4675239"/>
            <a:ext cx="652500" cy="596250"/>
          </a:xfrm>
          <a:prstGeom prst="rect">
            <a:avLst/>
          </a:prstGeom>
        </p:spPr>
      </p:pic>
      <p:pic>
        <p:nvPicPr>
          <p:cNvPr id="10" name="Picture 9"/>
          <p:cNvPicPr>
            <a:picLocks noChangeAspect="1"/>
          </p:cNvPicPr>
          <p:nvPr/>
        </p:nvPicPr>
        <p:blipFill>
          <a:blip r:embed="rId3"/>
          <a:stretch>
            <a:fillRect/>
          </a:stretch>
        </p:blipFill>
        <p:spPr>
          <a:xfrm>
            <a:off x="5228169" y="5846828"/>
            <a:ext cx="652500" cy="596250"/>
          </a:xfrm>
          <a:prstGeom prst="rect">
            <a:avLst/>
          </a:prstGeom>
        </p:spPr>
      </p:pic>
    </p:spTree>
    <p:extLst>
      <p:ext uri="{BB962C8B-B14F-4D97-AF65-F5344CB8AC3E}">
        <p14:creationId xmlns:p14="http://schemas.microsoft.com/office/powerpoint/2010/main" val="3627093290"/>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5400" dirty="0" smtClean="0"/>
              <a:t>Virtual Machine Migration</a:t>
            </a:r>
            <a:endParaRPr lang="en-US" sz="5400" dirty="0"/>
          </a:p>
        </p:txBody>
      </p:sp>
      <p:sp>
        <p:nvSpPr>
          <p:cNvPr id="5" name="Text Placeholder 4"/>
          <p:cNvSpPr>
            <a:spLocks noGrp="1"/>
          </p:cNvSpPr>
          <p:nvPr>
            <p:ph type="body" sz="quarter" idx="4294967295"/>
          </p:nvPr>
        </p:nvSpPr>
        <p:spPr>
          <a:xfrm>
            <a:off x="269170" y="1427018"/>
            <a:ext cx="11149013" cy="3877258"/>
          </a:xfrm>
        </p:spPr>
        <p:txBody>
          <a:bodyPr/>
          <a:lstStyle/>
          <a:p>
            <a:pPr marL="0" indent="0" defTabSz="914064">
              <a:lnSpc>
                <a:spcPct val="100000"/>
              </a:lnSpc>
              <a:spcBef>
                <a:spcPct val="20000"/>
              </a:spcBef>
              <a:spcAft>
                <a:spcPts val="0"/>
              </a:spcAft>
              <a:buSzPct val="90000"/>
              <a:buNone/>
            </a:pPr>
            <a:r>
              <a:rPr lang="en-US" spc="0" dirty="0">
                <a:solidFill>
                  <a:schemeClr val="tx2"/>
                </a:solidFill>
                <a:latin typeface="+mj-lt"/>
              </a:rPr>
              <a:t>Windows Azure Supports VHD File Format</a:t>
            </a:r>
          </a:p>
          <a:p>
            <a:r>
              <a:rPr lang="en-US" sz="2000" spc="-38" dirty="0">
                <a:solidFill>
                  <a:schemeClr val="tx1">
                    <a:alpha val="99000"/>
                  </a:schemeClr>
                </a:solidFill>
                <a:latin typeface="+mn-lt"/>
              </a:rPr>
              <a:t>Other formats will have to be converted or migrated before upload</a:t>
            </a:r>
          </a:p>
          <a:p>
            <a:pPr marL="0" indent="0">
              <a:lnSpc>
                <a:spcPct val="100000"/>
              </a:lnSpc>
              <a:buNone/>
            </a:pPr>
            <a:r>
              <a:rPr lang="en-US" dirty="0">
                <a:solidFill>
                  <a:schemeClr val="tx2"/>
                </a:solidFill>
              </a:rPr>
              <a:t>Upload Existing VHDs using </a:t>
            </a:r>
            <a:r>
              <a:rPr lang="en-US" dirty="0" smtClean="0">
                <a:solidFill>
                  <a:schemeClr val="tx2"/>
                </a:solidFill>
              </a:rPr>
              <a:t>PS (Add-</a:t>
            </a:r>
            <a:r>
              <a:rPr lang="en-US" dirty="0" err="1" smtClean="0">
                <a:solidFill>
                  <a:schemeClr val="tx2"/>
                </a:solidFill>
              </a:rPr>
              <a:t>AzureVHD</a:t>
            </a:r>
            <a:r>
              <a:rPr lang="en-US" dirty="0" smtClean="0">
                <a:solidFill>
                  <a:schemeClr val="tx2"/>
                </a:solidFill>
              </a:rPr>
              <a:t>)</a:t>
            </a:r>
            <a:endParaRPr lang="en-US" dirty="0">
              <a:solidFill>
                <a:schemeClr val="tx2"/>
              </a:solidFill>
            </a:endParaRPr>
          </a:p>
          <a:p>
            <a:r>
              <a:rPr lang="en-US" sz="2000" spc="-38" dirty="0">
                <a:solidFill>
                  <a:schemeClr val="tx1">
                    <a:alpha val="99000"/>
                  </a:schemeClr>
                </a:solidFill>
                <a:latin typeface="+mn-lt"/>
              </a:rPr>
              <a:t>Supports Resuming Failed Transfers </a:t>
            </a:r>
          </a:p>
          <a:p>
            <a:r>
              <a:rPr lang="en-US" sz="2000" spc="-38" dirty="0">
                <a:solidFill>
                  <a:schemeClr val="tx1">
                    <a:alpha val="99000"/>
                  </a:schemeClr>
                </a:solidFill>
                <a:latin typeface="+mn-lt"/>
              </a:rPr>
              <a:t>Converting from Dynamic to Fixed Disk on Upload</a:t>
            </a:r>
          </a:p>
          <a:p>
            <a:r>
              <a:rPr lang="en-US" sz="2000" spc="-38" dirty="0">
                <a:solidFill>
                  <a:schemeClr val="tx1">
                    <a:alpha val="99000"/>
                  </a:schemeClr>
                </a:solidFill>
                <a:latin typeface="+mn-lt"/>
              </a:rPr>
              <a:t>Efficient Upload – does not send empty bytes</a:t>
            </a:r>
          </a:p>
          <a:p>
            <a:pPr marL="0" indent="0">
              <a:lnSpc>
                <a:spcPct val="100000"/>
              </a:lnSpc>
              <a:buNone/>
            </a:pPr>
            <a:r>
              <a:rPr lang="en-US" dirty="0">
                <a:solidFill>
                  <a:schemeClr val="tx2"/>
                </a:solidFill>
              </a:rPr>
              <a:t>Things to Do Before Uploading OS Disk</a:t>
            </a:r>
          </a:p>
          <a:p>
            <a:r>
              <a:rPr lang="en-US" sz="2000" spc="-38" dirty="0">
                <a:solidFill>
                  <a:schemeClr val="tx1">
                    <a:alpha val="99000"/>
                  </a:schemeClr>
                </a:solidFill>
                <a:latin typeface="+mn-lt"/>
              </a:rPr>
              <a:t>Enable Remote Access </a:t>
            </a:r>
          </a:p>
        </p:txBody>
      </p:sp>
    </p:spTree>
    <p:extLst>
      <p:ext uri="{BB962C8B-B14F-4D97-AF65-F5344CB8AC3E}">
        <p14:creationId xmlns:p14="http://schemas.microsoft.com/office/powerpoint/2010/main" val="188122354"/>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t>Migrating a Simple Virtual Machine</a:t>
            </a:r>
            <a:endParaRPr lang="en-US" sz="5400" dirty="0"/>
          </a:p>
        </p:txBody>
      </p:sp>
      <p:sp>
        <p:nvSpPr>
          <p:cNvPr id="4" name="Rectangle 3"/>
          <p:cNvSpPr/>
          <p:nvPr/>
        </p:nvSpPr>
        <p:spPr bwMode="auto">
          <a:xfrm>
            <a:off x="287779" y="1584976"/>
            <a:ext cx="3403357" cy="4575461"/>
          </a:xfrm>
          <a:prstGeom prst="rect">
            <a:avLst/>
          </a:prstGeom>
          <a:solidFill>
            <a:schemeClr val="tx2"/>
          </a:solidFill>
          <a:ln w="28575" cmpd="sng">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solidFill>
                <a:schemeClr val="tx2"/>
              </a:solidFill>
            </a:endParaRPr>
          </a:p>
        </p:txBody>
      </p:sp>
      <p:sp>
        <p:nvSpPr>
          <p:cNvPr id="5" name="TextBox 4"/>
          <p:cNvSpPr txBox="1"/>
          <p:nvPr/>
        </p:nvSpPr>
        <p:spPr>
          <a:xfrm>
            <a:off x="355925" y="1930825"/>
            <a:ext cx="2628925" cy="1304973"/>
          </a:xfrm>
          <a:prstGeom prst="rect">
            <a:avLst/>
          </a:prstGeom>
          <a:noFill/>
        </p:spPr>
        <p:txBody>
          <a:bodyPr wrap="none" lIns="0" tIns="0" rIns="0" bIns="0" rtlCol="0">
            <a:spAutoFit/>
          </a:bodyPr>
          <a:lstStyle/>
          <a:p>
            <a:pPr>
              <a:lnSpc>
                <a:spcPct val="90000"/>
              </a:lnSpc>
              <a:spcBef>
                <a:spcPct val="20000"/>
              </a:spcBef>
              <a:buSzPct val="80000"/>
            </a:pPr>
            <a:r>
              <a:rPr lang="en-US" sz="1600" u="sng" dirty="0" smtClean="0">
                <a:solidFill>
                  <a:schemeClr val="bg1"/>
                </a:solidFill>
              </a:rPr>
              <a:t>On-Premises Virtual Machine</a:t>
            </a:r>
          </a:p>
          <a:p>
            <a:pPr>
              <a:lnSpc>
                <a:spcPct val="90000"/>
              </a:lnSpc>
              <a:spcBef>
                <a:spcPct val="20000"/>
              </a:spcBef>
              <a:buSzPct val="80000"/>
            </a:pPr>
            <a:r>
              <a:rPr lang="en-US" sz="1600" dirty="0" smtClean="0">
                <a:solidFill>
                  <a:schemeClr val="bg1"/>
                </a:solidFill>
              </a:rPr>
              <a:t>Machine </a:t>
            </a:r>
            <a:r>
              <a:rPr lang="en-US" sz="1600" dirty="0">
                <a:solidFill>
                  <a:schemeClr val="bg1"/>
                </a:solidFill>
              </a:rPr>
              <a:t>Name: APPSRV1</a:t>
            </a:r>
          </a:p>
          <a:p>
            <a:pPr>
              <a:lnSpc>
                <a:spcPct val="90000"/>
              </a:lnSpc>
              <a:spcBef>
                <a:spcPct val="20000"/>
              </a:spcBef>
              <a:buSzPct val="80000"/>
            </a:pPr>
            <a:r>
              <a:rPr lang="en-US" sz="1600" dirty="0">
                <a:solidFill>
                  <a:schemeClr val="bg1"/>
                </a:solidFill>
              </a:rPr>
              <a:t>Memory: 8 GB </a:t>
            </a:r>
          </a:p>
          <a:p>
            <a:pPr>
              <a:lnSpc>
                <a:spcPct val="90000"/>
              </a:lnSpc>
              <a:spcBef>
                <a:spcPct val="20000"/>
              </a:spcBef>
              <a:buSzPct val="80000"/>
            </a:pPr>
            <a:r>
              <a:rPr lang="en-US" sz="1600" dirty="0">
                <a:solidFill>
                  <a:schemeClr val="bg1"/>
                </a:solidFill>
              </a:rPr>
              <a:t>Cores: 4</a:t>
            </a:r>
          </a:p>
          <a:p>
            <a:pPr>
              <a:lnSpc>
                <a:spcPct val="90000"/>
              </a:lnSpc>
              <a:spcBef>
                <a:spcPct val="20000"/>
              </a:spcBef>
              <a:buSzPct val="80000"/>
            </a:pPr>
            <a:r>
              <a:rPr lang="en-US" sz="1600" dirty="0">
                <a:solidFill>
                  <a:schemeClr val="bg1"/>
                </a:solidFill>
              </a:rPr>
              <a:t>Ports: </a:t>
            </a:r>
            <a:r>
              <a:rPr lang="en-US" sz="1600" dirty="0" smtClean="0">
                <a:solidFill>
                  <a:schemeClr val="bg1"/>
                </a:solidFill>
              </a:rPr>
              <a:t>80/443 for </a:t>
            </a:r>
            <a:r>
              <a:rPr lang="en-US" sz="1600" dirty="0">
                <a:solidFill>
                  <a:schemeClr val="bg1"/>
                </a:solidFill>
              </a:rPr>
              <a:t>http/https</a:t>
            </a:r>
          </a:p>
        </p:txBody>
      </p:sp>
      <p:sp>
        <p:nvSpPr>
          <p:cNvPr id="6" name="Freeform 79"/>
          <p:cNvSpPr>
            <a:spLocks noEditPoints="1"/>
          </p:cNvSpPr>
          <p:nvPr>
            <p:custDataLst>
              <p:tags r:id="rId1"/>
            </p:custDataLst>
          </p:nvPr>
        </p:nvSpPr>
        <p:spPr bwMode="black">
          <a:xfrm>
            <a:off x="397001" y="3669428"/>
            <a:ext cx="311358" cy="42080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61697" tIns="30849" rIns="61697" bIns="30849" numCol="1" anchor="t" anchorCtr="0" compatLnSpc="1">
            <a:prstTxWarp prst="textNoShape">
              <a:avLst/>
            </a:prstTxWarp>
          </a:bodyPr>
          <a:lstStyle/>
          <a:p>
            <a:endParaRPr lang="en-US" sz="1200" dirty="0">
              <a:solidFill>
                <a:schemeClr val="bg1"/>
              </a:solidFill>
            </a:endParaRPr>
          </a:p>
        </p:txBody>
      </p:sp>
      <p:sp>
        <p:nvSpPr>
          <p:cNvPr id="7" name="TextBox 6"/>
          <p:cNvSpPr txBox="1"/>
          <p:nvPr/>
        </p:nvSpPr>
        <p:spPr>
          <a:xfrm>
            <a:off x="797415" y="3658428"/>
            <a:ext cx="2758911" cy="763287"/>
          </a:xfrm>
          <a:prstGeom prst="rect">
            <a:avLst/>
          </a:prstGeom>
          <a:noFill/>
        </p:spPr>
        <p:txBody>
          <a:bodyPr wrap="square" lIns="0" tIns="0" rIns="0" bIns="0" rtlCol="0">
            <a:spAutoFit/>
          </a:bodyPr>
          <a:lstStyle/>
          <a:p>
            <a:pPr>
              <a:lnSpc>
                <a:spcPct val="90000"/>
              </a:lnSpc>
              <a:spcBef>
                <a:spcPct val="20000"/>
              </a:spcBef>
              <a:buSzPct val="80000"/>
            </a:pPr>
            <a:r>
              <a:rPr lang="en-US" sz="1600" dirty="0">
                <a:solidFill>
                  <a:schemeClr val="bg1"/>
                </a:solidFill>
              </a:rPr>
              <a:t>Guest: C:\</a:t>
            </a:r>
          </a:p>
          <a:p>
            <a:pPr>
              <a:lnSpc>
                <a:spcPct val="90000"/>
              </a:lnSpc>
              <a:spcBef>
                <a:spcPct val="20000"/>
              </a:spcBef>
              <a:buSzPct val="80000"/>
            </a:pPr>
            <a:r>
              <a:rPr lang="en-US" sz="1600" dirty="0">
                <a:solidFill>
                  <a:schemeClr val="bg1"/>
                </a:solidFill>
              </a:rPr>
              <a:t>Host: C:\VMs\APP-OS.vhd</a:t>
            </a:r>
          </a:p>
          <a:p>
            <a:pPr>
              <a:lnSpc>
                <a:spcPct val="90000"/>
              </a:lnSpc>
              <a:spcBef>
                <a:spcPct val="20000"/>
              </a:spcBef>
              <a:buSzPct val="80000"/>
            </a:pPr>
            <a:endParaRPr lang="en-US" sz="1600" u="sng" dirty="0">
              <a:solidFill>
                <a:schemeClr val="bg1"/>
              </a:solidFill>
            </a:endParaRPr>
          </a:p>
        </p:txBody>
      </p:sp>
      <p:sp>
        <p:nvSpPr>
          <p:cNvPr id="8" name="Freeform 79"/>
          <p:cNvSpPr>
            <a:spLocks noEditPoints="1"/>
          </p:cNvSpPr>
          <p:nvPr>
            <p:custDataLst>
              <p:tags r:id="rId2"/>
            </p:custDataLst>
          </p:nvPr>
        </p:nvSpPr>
        <p:spPr bwMode="black">
          <a:xfrm>
            <a:off x="406180" y="4229457"/>
            <a:ext cx="311358" cy="42080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61697" tIns="30849" rIns="61697" bIns="30849" numCol="1" anchor="t" anchorCtr="0" compatLnSpc="1">
            <a:prstTxWarp prst="textNoShape">
              <a:avLst/>
            </a:prstTxWarp>
          </a:bodyPr>
          <a:lstStyle/>
          <a:p>
            <a:endParaRPr lang="en-US" sz="1200" dirty="0">
              <a:solidFill>
                <a:schemeClr val="bg1"/>
              </a:solidFill>
            </a:endParaRPr>
          </a:p>
        </p:txBody>
      </p:sp>
      <p:sp>
        <p:nvSpPr>
          <p:cNvPr id="9" name="TextBox 8"/>
          <p:cNvSpPr txBox="1"/>
          <p:nvPr/>
        </p:nvSpPr>
        <p:spPr>
          <a:xfrm>
            <a:off x="795577" y="4218458"/>
            <a:ext cx="2758911" cy="763287"/>
          </a:xfrm>
          <a:prstGeom prst="rect">
            <a:avLst/>
          </a:prstGeom>
          <a:noFill/>
        </p:spPr>
        <p:txBody>
          <a:bodyPr wrap="square" lIns="0" tIns="0" rIns="0" bIns="0" rtlCol="0">
            <a:spAutoFit/>
          </a:bodyPr>
          <a:lstStyle/>
          <a:p>
            <a:pPr>
              <a:lnSpc>
                <a:spcPct val="90000"/>
              </a:lnSpc>
              <a:spcBef>
                <a:spcPct val="20000"/>
              </a:spcBef>
              <a:buSzPct val="80000"/>
            </a:pPr>
            <a:r>
              <a:rPr lang="en-US" sz="1600" dirty="0">
                <a:solidFill>
                  <a:schemeClr val="bg1"/>
                </a:solidFill>
              </a:rPr>
              <a:t>Guest: D:\</a:t>
            </a:r>
          </a:p>
          <a:p>
            <a:pPr>
              <a:lnSpc>
                <a:spcPct val="90000"/>
              </a:lnSpc>
              <a:spcBef>
                <a:spcPct val="20000"/>
              </a:spcBef>
              <a:buSzPct val="80000"/>
            </a:pPr>
            <a:r>
              <a:rPr lang="en-US" sz="1600" dirty="0">
                <a:solidFill>
                  <a:schemeClr val="bg1"/>
                </a:solidFill>
              </a:rPr>
              <a:t>Host: D:\VMs\APP-Data.vhd</a:t>
            </a:r>
          </a:p>
          <a:p>
            <a:pPr>
              <a:lnSpc>
                <a:spcPct val="90000"/>
              </a:lnSpc>
              <a:spcBef>
                <a:spcPct val="20000"/>
              </a:spcBef>
              <a:buSzPct val="80000"/>
            </a:pPr>
            <a:endParaRPr lang="en-US" sz="1600" u="sng" dirty="0">
              <a:solidFill>
                <a:schemeClr val="bg1"/>
              </a:solidFill>
            </a:endParaRPr>
          </a:p>
        </p:txBody>
      </p:sp>
      <p:sp>
        <p:nvSpPr>
          <p:cNvPr id="10" name="Freeform 79"/>
          <p:cNvSpPr>
            <a:spLocks noEditPoints="1"/>
          </p:cNvSpPr>
          <p:nvPr>
            <p:custDataLst>
              <p:tags r:id="rId3"/>
            </p:custDataLst>
          </p:nvPr>
        </p:nvSpPr>
        <p:spPr bwMode="black">
          <a:xfrm>
            <a:off x="418593" y="4798897"/>
            <a:ext cx="311358" cy="42080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61697" tIns="30849" rIns="61697" bIns="30849" numCol="1" anchor="t" anchorCtr="0" compatLnSpc="1">
            <a:prstTxWarp prst="textNoShape">
              <a:avLst/>
            </a:prstTxWarp>
          </a:bodyPr>
          <a:lstStyle/>
          <a:p>
            <a:endParaRPr lang="en-US" sz="1200" dirty="0">
              <a:solidFill>
                <a:schemeClr val="bg1"/>
              </a:solidFill>
            </a:endParaRPr>
          </a:p>
        </p:txBody>
      </p:sp>
      <p:sp>
        <p:nvSpPr>
          <p:cNvPr id="11" name="TextBox 10"/>
          <p:cNvSpPr txBox="1"/>
          <p:nvPr/>
        </p:nvSpPr>
        <p:spPr>
          <a:xfrm>
            <a:off x="796971" y="4787898"/>
            <a:ext cx="2758911" cy="763287"/>
          </a:xfrm>
          <a:prstGeom prst="rect">
            <a:avLst/>
          </a:prstGeom>
          <a:noFill/>
        </p:spPr>
        <p:txBody>
          <a:bodyPr wrap="square" lIns="0" tIns="0" rIns="0" bIns="0" rtlCol="0">
            <a:spAutoFit/>
          </a:bodyPr>
          <a:lstStyle/>
          <a:p>
            <a:pPr>
              <a:lnSpc>
                <a:spcPct val="90000"/>
              </a:lnSpc>
              <a:spcBef>
                <a:spcPct val="20000"/>
              </a:spcBef>
              <a:buSzPct val="80000"/>
            </a:pPr>
            <a:r>
              <a:rPr lang="en-US" sz="1600" dirty="0">
                <a:solidFill>
                  <a:schemeClr val="bg1"/>
                </a:solidFill>
              </a:rPr>
              <a:t>Guest: E:\</a:t>
            </a:r>
          </a:p>
          <a:p>
            <a:pPr>
              <a:lnSpc>
                <a:spcPct val="90000"/>
              </a:lnSpc>
              <a:spcBef>
                <a:spcPct val="20000"/>
              </a:spcBef>
              <a:buSzPct val="80000"/>
            </a:pPr>
            <a:r>
              <a:rPr lang="en-US" sz="1600" dirty="0">
                <a:solidFill>
                  <a:schemeClr val="bg1"/>
                </a:solidFill>
              </a:rPr>
              <a:t>Host: E:\VMs\APP-Logs.vhd</a:t>
            </a:r>
          </a:p>
          <a:p>
            <a:pPr>
              <a:lnSpc>
                <a:spcPct val="90000"/>
              </a:lnSpc>
              <a:spcBef>
                <a:spcPct val="20000"/>
              </a:spcBef>
              <a:buSzPct val="80000"/>
            </a:pPr>
            <a:endParaRPr lang="en-US" sz="1600" u="sng" dirty="0">
              <a:solidFill>
                <a:schemeClr val="bg1"/>
              </a:solidFill>
            </a:endParaRPr>
          </a:p>
        </p:txBody>
      </p:sp>
      <p:sp>
        <p:nvSpPr>
          <p:cNvPr id="12" name="Rectangle 11"/>
          <p:cNvSpPr/>
          <p:nvPr/>
        </p:nvSpPr>
        <p:spPr bwMode="auto">
          <a:xfrm>
            <a:off x="7296162" y="1622468"/>
            <a:ext cx="3284930" cy="4670061"/>
          </a:xfrm>
          <a:prstGeom prst="rect">
            <a:avLst/>
          </a:prstGeom>
          <a:solidFill>
            <a:schemeClr val="tx2"/>
          </a:solidFill>
          <a:ln w="28575" cmpd="sng">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solidFill>
                <a:schemeClr val="tx2"/>
              </a:solidFill>
            </a:endParaRPr>
          </a:p>
        </p:txBody>
      </p:sp>
      <p:sp>
        <p:nvSpPr>
          <p:cNvPr id="13" name="TextBox 12"/>
          <p:cNvSpPr txBox="1"/>
          <p:nvPr/>
        </p:nvSpPr>
        <p:spPr>
          <a:xfrm>
            <a:off x="7591397" y="1676086"/>
            <a:ext cx="2660985" cy="533992"/>
          </a:xfrm>
          <a:prstGeom prst="rect">
            <a:avLst/>
          </a:prstGeom>
          <a:solidFill>
            <a:schemeClr val="tx2"/>
          </a:solidFill>
        </p:spPr>
        <p:txBody>
          <a:bodyPr wrap="none" lIns="0" tIns="0" rIns="0" bIns="0" rtlCol="0">
            <a:spAutoFit/>
          </a:bodyPr>
          <a:lstStyle/>
          <a:p>
            <a:pPr>
              <a:lnSpc>
                <a:spcPct val="90000"/>
              </a:lnSpc>
              <a:spcBef>
                <a:spcPct val="20000"/>
              </a:spcBef>
              <a:buSzPct val="80000"/>
            </a:pPr>
            <a:r>
              <a:rPr lang="en-US" u="sng" dirty="0">
                <a:solidFill>
                  <a:schemeClr val="bg1"/>
                </a:solidFill>
              </a:rPr>
              <a:t>Cloud Service</a:t>
            </a:r>
          </a:p>
          <a:p>
            <a:pPr>
              <a:lnSpc>
                <a:spcPct val="90000"/>
              </a:lnSpc>
              <a:spcBef>
                <a:spcPct val="20000"/>
              </a:spcBef>
              <a:buSzPct val="80000"/>
            </a:pPr>
            <a:r>
              <a:rPr lang="en-US" sz="1600" dirty="0" smtClean="0">
                <a:solidFill>
                  <a:schemeClr val="bg1"/>
                </a:solidFill>
              </a:rPr>
              <a:t>Name</a:t>
            </a:r>
            <a:r>
              <a:rPr lang="en-US" sz="1600" dirty="0">
                <a:solidFill>
                  <a:schemeClr val="bg1"/>
                </a:solidFill>
              </a:rPr>
              <a:t>: </a:t>
            </a:r>
            <a:r>
              <a:rPr lang="en-US" sz="1600" b="1" dirty="0">
                <a:solidFill>
                  <a:schemeClr val="bg1"/>
                </a:solidFill>
              </a:rPr>
              <a:t>myapp1.</a:t>
            </a:r>
            <a:r>
              <a:rPr lang="en-US" sz="1600" dirty="0">
                <a:solidFill>
                  <a:schemeClr val="bg1"/>
                </a:solidFill>
              </a:rPr>
              <a:t>cloudapp.net</a:t>
            </a:r>
          </a:p>
        </p:txBody>
      </p:sp>
      <p:sp>
        <p:nvSpPr>
          <p:cNvPr id="14" name="Rounded Rectangle 13"/>
          <p:cNvSpPr/>
          <p:nvPr/>
        </p:nvSpPr>
        <p:spPr bwMode="auto">
          <a:xfrm>
            <a:off x="7388486" y="2411647"/>
            <a:ext cx="3105199" cy="3795842"/>
          </a:xfrm>
          <a:prstGeom prst="roundRect">
            <a:avLst/>
          </a:prstGeom>
          <a:solidFill>
            <a:schemeClr val="accent3"/>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6" name="TextBox 15"/>
          <p:cNvSpPr txBox="1"/>
          <p:nvPr/>
        </p:nvSpPr>
        <p:spPr>
          <a:xfrm>
            <a:off x="7747076" y="3126406"/>
            <a:ext cx="1886158" cy="830997"/>
          </a:xfrm>
          <a:prstGeom prst="rect">
            <a:avLst/>
          </a:prstGeom>
          <a:noFill/>
        </p:spPr>
        <p:txBody>
          <a:bodyPr wrap="square" lIns="0" tIns="0" rIns="0" bIns="0" rtlCol="0">
            <a:spAutoFit/>
          </a:bodyPr>
          <a:lstStyle/>
          <a:p>
            <a:pPr>
              <a:lnSpc>
                <a:spcPct val="90000"/>
              </a:lnSpc>
              <a:spcBef>
                <a:spcPct val="20000"/>
              </a:spcBef>
              <a:buSzPct val="80000"/>
            </a:pPr>
            <a:r>
              <a:rPr lang="en-US" sz="1600" u="sng" dirty="0">
                <a:solidFill>
                  <a:schemeClr val="bg1"/>
                </a:solidFill>
              </a:rPr>
              <a:t>Virtual Machine</a:t>
            </a:r>
          </a:p>
          <a:p>
            <a:pPr>
              <a:lnSpc>
                <a:spcPct val="90000"/>
              </a:lnSpc>
              <a:spcBef>
                <a:spcPct val="20000"/>
              </a:spcBef>
              <a:buSzPct val="80000"/>
            </a:pPr>
            <a:r>
              <a:rPr lang="en-US" sz="1200" dirty="0">
                <a:solidFill>
                  <a:schemeClr val="bg1"/>
                </a:solidFill>
              </a:rPr>
              <a:t>Role Name: appsrv1</a:t>
            </a:r>
          </a:p>
          <a:p>
            <a:pPr>
              <a:lnSpc>
                <a:spcPct val="90000"/>
              </a:lnSpc>
              <a:spcBef>
                <a:spcPct val="20000"/>
              </a:spcBef>
              <a:buSzPct val="80000"/>
            </a:pPr>
            <a:r>
              <a:rPr lang="en-US" sz="1200" dirty="0">
                <a:solidFill>
                  <a:schemeClr val="bg1"/>
                </a:solidFill>
              </a:rPr>
              <a:t>4 Cores </a:t>
            </a:r>
          </a:p>
          <a:p>
            <a:pPr>
              <a:lnSpc>
                <a:spcPct val="90000"/>
              </a:lnSpc>
              <a:spcBef>
                <a:spcPct val="20000"/>
              </a:spcBef>
              <a:buSzPct val="80000"/>
            </a:pPr>
            <a:r>
              <a:rPr lang="en-US" sz="1200" dirty="0">
                <a:solidFill>
                  <a:schemeClr val="bg1"/>
                </a:solidFill>
              </a:rPr>
              <a:t>7 GB </a:t>
            </a:r>
            <a:r>
              <a:rPr lang="en-US" sz="1200" dirty="0" smtClean="0">
                <a:solidFill>
                  <a:schemeClr val="bg1"/>
                </a:solidFill>
              </a:rPr>
              <a:t>Ram</a:t>
            </a:r>
            <a:endParaRPr lang="en-US" sz="1200" dirty="0">
              <a:solidFill>
                <a:schemeClr val="bg1"/>
              </a:solidFill>
            </a:endParaRPr>
          </a:p>
        </p:txBody>
      </p:sp>
      <p:sp>
        <p:nvSpPr>
          <p:cNvPr id="18" name="Rectangle 17"/>
          <p:cNvSpPr/>
          <p:nvPr/>
        </p:nvSpPr>
        <p:spPr bwMode="auto">
          <a:xfrm>
            <a:off x="10705370" y="3749538"/>
            <a:ext cx="1370798" cy="1480335"/>
          </a:xfrm>
          <a:prstGeom prst="rect">
            <a:avLst/>
          </a:prstGeom>
          <a:solidFill>
            <a:schemeClr val="tx1"/>
          </a:solidFill>
          <a:ln w="9525" cap="flat" cmpd="sng" algn="ctr">
            <a:noFill/>
            <a:prstDash val="solid"/>
            <a:headEnd type="none" w="med" len="med"/>
            <a:tailEnd type="none" w="med" len="med"/>
          </a:ln>
          <a:effectLst/>
        </p:spPr>
        <p:txBody>
          <a:bodyPr vert="horz" wrap="square" lIns="91380" tIns="91380" rIns="91380" bIns="91380" numCol="1" rtlCol="0" anchor="t" anchorCtr="0" compatLnSpc="1">
            <a:prstTxWarp prst="textNoShape">
              <a:avLst/>
            </a:prstTxWarp>
          </a:bodyPr>
          <a:lstStyle/>
          <a:p>
            <a:pPr lvl="0" algn="ctr">
              <a:lnSpc>
                <a:spcPct val="90000"/>
              </a:lnSpc>
              <a:buSzPct val="90000"/>
              <a:defRPr/>
            </a:pPr>
            <a:r>
              <a:rPr lang="en-US" sz="15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a:t>
            </a:r>
          </a:p>
          <a:p>
            <a:pPr lvl="0" algn="ctr">
              <a:lnSpc>
                <a:spcPct val="90000"/>
              </a:lnSpc>
              <a:buSzPct val="90000"/>
              <a:defRPr/>
            </a:pPr>
            <a:r>
              <a:rPr lang="en-US" sz="15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a:t>
            </a:r>
          </a:p>
          <a:p>
            <a:pPr lvl="0" algn="ctr">
              <a:lnSpc>
                <a:spcPct val="90000"/>
              </a:lnSpc>
              <a:buSzPct val="90000"/>
              <a:defRPr/>
            </a:pPr>
            <a:endParaRPr lang="en-US" sz="15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19" name="Freeform 79"/>
          <p:cNvSpPr>
            <a:spLocks noEditPoints="1"/>
          </p:cNvSpPr>
          <p:nvPr/>
        </p:nvSpPr>
        <p:spPr bwMode="black">
          <a:xfrm>
            <a:off x="10827622" y="4655300"/>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endParaRPr lang="en-US" sz="1600" dirty="0"/>
          </a:p>
        </p:txBody>
      </p:sp>
      <p:sp>
        <p:nvSpPr>
          <p:cNvPr id="21" name="Freeform 79"/>
          <p:cNvSpPr>
            <a:spLocks noEditPoints="1"/>
          </p:cNvSpPr>
          <p:nvPr/>
        </p:nvSpPr>
        <p:spPr bwMode="black">
          <a:xfrm>
            <a:off x="11259764" y="4655300"/>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endParaRPr lang="en-US" sz="1600" dirty="0"/>
          </a:p>
        </p:txBody>
      </p:sp>
      <p:sp>
        <p:nvSpPr>
          <p:cNvPr id="23" name="Freeform 79"/>
          <p:cNvSpPr>
            <a:spLocks noEditPoints="1"/>
          </p:cNvSpPr>
          <p:nvPr/>
        </p:nvSpPr>
        <p:spPr bwMode="black">
          <a:xfrm>
            <a:off x="11673976" y="4663036"/>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endParaRPr lang="en-US" sz="1600" dirty="0"/>
          </a:p>
        </p:txBody>
      </p:sp>
      <p:sp>
        <p:nvSpPr>
          <p:cNvPr id="25" name="Freeform 79"/>
          <p:cNvSpPr>
            <a:spLocks noEditPoints="1"/>
          </p:cNvSpPr>
          <p:nvPr>
            <p:custDataLst>
              <p:tags r:id="rId4"/>
            </p:custDataLst>
          </p:nvPr>
        </p:nvSpPr>
        <p:spPr bwMode="black">
          <a:xfrm>
            <a:off x="7442712" y="4333701"/>
            <a:ext cx="311358" cy="42080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61697" tIns="30849" rIns="61697" bIns="30849" numCol="1" anchor="t" anchorCtr="0" compatLnSpc="1">
            <a:prstTxWarp prst="textNoShape">
              <a:avLst/>
            </a:prstTxWarp>
          </a:bodyPr>
          <a:lstStyle/>
          <a:p>
            <a:endParaRPr lang="en-US" sz="1200" dirty="0"/>
          </a:p>
        </p:txBody>
      </p:sp>
      <p:sp>
        <p:nvSpPr>
          <p:cNvPr id="26" name="TextBox 25"/>
          <p:cNvSpPr txBox="1"/>
          <p:nvPr/>
        </p:nvSpPr>
        <p:spPr>
          <a:xfrm>
            <a:off x="7826953" y="4312055"/>
            <a:ext cx="2758911" cy="715581"/>
          </a:xfrm>
          <a:prstGeom prst="rect">
            <a:avLst/>
          </a:prstGeom>
          <a:noFill/>
        </p:spPr>
        <p:txBody>
          <a:bodyPr wrap="square" lIns="0" tIns="0" rIns="0" bIns="0" rtlCol="0">
            <a:spAutoFit/>
          </a:bodyPr>
          <a:lstStyle/>
          <a:p>
            <a:pPr>
              <a:lnSpc>
                <a:spcPct val="90000"/>
              </a:lnSpc>
              <a:spcBef>
                <a:spcPct val="20000"/>
              </a:spcBef>
              <a:buSzPct val="80000"/>
            </a:pPr>
            <a:r>
              <a:rPr lang="en-US" sz="1500" dirty="0">
                <a:solidFill>
                  <a:schemeClr val="bg1"/>
                </a:solidFill>
              </a:rPr>
              <a:t>Guest: C:\</a:t>
            </a:r>
          </a:p>
          <a:p>
            <a:pPr>
              <a:lnSpc>
                <a:spcPct val="90000"/>
              </a:lnSpc>
              <a:spcBef>
                <a:spcPct val="20000"/>
              </a:spcBef>
              <a:buSzPct val="80000"/>
            </a:pPr>
            <a:r>
              <a:rPr lang="en-US" sz="1500" dirty="0">
                <a:solidFill>
                  <a:schemeClr val="bg1"/>
                </a:solidFill>
              </a:rPr>
              <a:t>WAStorage\VMs\APP-OS.vhd</a:t>
            </a:r>
          </a:p>
          <a:p>
            <a:pPr>
              <a:lnSpc>
                <a:spcPct val="90000"/>
              </a:lnSpc>
              <a:spcBef>
                <a:spcPct val="20000"/>
              </a:spcBef>
              <a:buSzPct val="80000"/>
            </a:pPr>
            <a:endParaRPr lang="en-US" sz="1500" u="sng" dirty="0">
              <a:solidFill>
                <a:schemeClr val="bg1"/>
              </a:solidFill>
            </a:endParaRPr>
          </a:p>
        </p:txBody>
      </p:sp>
      <p:sp>
        <p:nvSpPr>
          <p:cNvPr id="27" name="Freeform 79"/>
          <p:cNvSpPr>
            <a:spLocks noEditPoints="1"/>
          </p:cNvSpPr>
          <p:nvPr>
            <p:custDataLst>
              <p:tags r:id="rId5"/>
            </p:custDataLst>
          </p:nvPr>
        </p:nvSpPr>
        <p:spPr bwMode="black">
          <a:xfrm>
            <a:off x="7435718" y="4904364"/>
            <a:ext cx="311358" cy="42080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61697" tIns="30849" rIns="61697" bIns="30849" numCol="1" anchor="t" anchorCtr="0" compatLnSpc="1">
            <a:prstTxWarp prst="textNoShape">
              <a:avLst/>
            </a:prstTxWarp>
          </a:bodyPr>
          <a:lstStyle/>
          <a:p>
            <a:endParaRPr lang="en-US" sz="1200" dirty="0"/>
          </a:p>
        </p:txBody>
      </p:sp>
      <p:sp>
        <p:nvSpPr>
          <p:cNvPr id="28" name="TextBox 27"/>
          <p:cNvSpPr txBox="1"/>
          <p:nvPr/>
        </p:nvSpPr>
        <p:spPr>
          <a:xfrm>
            <a:off x="7825116" y="4872083"/>
            <a:ext cx="2758911" cy="715581"/>
          </a:xfrm>
          <a:prstGeom prst="rect">
            <a:avLst/>
          </a:prstGeom>
          <a:noFill/>
        </p:spPr>
        <p:txBody>
          <a:bodyPr wrap="square" lIns="0" tIns="0" rIns="0" bIns="0" rtlCol="0">
            <a:spAutoFit/>
          </a:bodyPr>
          <a:lstStyle/>
          <a:p>
            <a:pPr>
              <a:lnSpc>
                <a:spcPct val="90000"/>
              </a:lnSpc>
              <a:spcBef>
                <a:spcPct val="20000"/>
              </a:spcBef>
              <a:buSzPct val="80000"/>
            </a:pPr>
            <a:r>
              <a:rPr lang="en-US" sz="1500" dirty="0">
                <a:solidFill>
                  <a:schemeClr val="bg1"/>
                </a:solidFill>
              </a:rPr>
              <a:t>Guest: </a:t>
            </a:r>
            <a:r>
              <a:rPr lang="en-US" sz="1500" dirty="0" smtClean="0">
                <a:solidFill>
                  <a:schemeClr val="bg1"/>
                </a:solidFill>
              </a:rPr>
              <a:t>E:\</a:t>
            </a:r>
            <a:endParaRPr lang="en-US" sz="1500" dirty="0">
              <a:solidFill>
                <a:schemeClr val="bg1"/>
              </a:solidFill>
            </a:endParaRPr>
          </a:p>
          <a:p>
            <a:pPr>
              <a:lnSpc>
                <a:spcPct val="90000"/>
              </a:lnSpc>
              <a:spcBef>
                <a:spcPct val="20000"/>
              </a:spcBef>
              <a:buSzPct val="80000"/>
            </a:pPr>
            <a:r>
              <a:rPr lang="en-US" sz="1500" dirty="0">
                <a:solidFill>
                  <a:schemeClr val="bg1"/>
                </a:solidFill>
              </a:rPr>
              <a:t>WAStorage\VMs\APP-Data.vhd</a:t>
            </a:r>
          </a:p>
          <a:p>
            <a:pPr>
              <a:lnSpc>
                <a:spcPct val="90000"/>
              </a:lnSpc>
              <a:spcBef>
                <a:spcPct val="20000"/>
              </a:spcBef>
              <a:buSzPct val="80000"/>
            </a:pPr>
            <a:endParaRPr lang="en-US" sz="1500" u="sng" dirty="0">
              <a:solidFill>
                <a:schemeClr val="bg1"/>
              </a:solidFill>
            </a:endParaRPr>
          </a:p>
        </p:txBody>
      </p:sp>
      <p:sp>
        <p:nvSpPr>
          <p:cNvPr id="29" name="Freeform 79"/>
          <p:cNvSpPr>
            <a:spLocks noEditPoints="1"/>
          </p:cNvSpPr>
          <p:nvPr>
            <p:custDataLst>
              <p:tags r:id="rId6"/>
            </p:custDataLst>
          </p:nvPr>
        </p:nvSpPr>
        <p:spPr bwMode="black">
          <a:xfrm>
            <a:off x="7448132" y="5431272"/>
            <a:ext cx="311358" cy="42080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61697" tIns="30849" rIns="61697" bIns="30849" numCol="1" anchor="t" anchorCtr="0" compatLnSpc="1">
            <a:prstTxWarp prst="textNoShape">
              <a:avLst/>
            </a:prstTxWarp>
          </a:bodyPr>
          <a:lstStyle/>
          <a:p>
            <a:endParaRPr lang="en-US" sz="1200" dirty="0"/>
          </a:p>
        </p:txBody>
      </p:sp>
      <p:sp>
        <p:nvSpPr>
          <p:cNvPr id="30" name="TextBox 29"/>
          <p:cNvSpPr txBox="1"/>
          <p:nvPr/>
        </p:nvSpPr>
        <p:spPr>
          <a:xfrm>
            <a:off x="7826509" y="5441523"/>
            <a:ext cx="2758911" cy="715581"/>
          </a:xfrm>
          <a:prstGeom prst="rect">
            <a:avLst/>
          </a:prstGeom>
          <a:noFill/>
        </p:spPr>
        <p:txBody>
          <a:bodyPr wrap="square" lIns="0" tIns="0" rIns="0" bIns="0" rtlCol="0">
            <a:spAutoFit/>
          </a:bodyPr>
          <a:lstStyle/>
          <a:p>
            <a:pPr>
              <a:lnSpc>
                <a:spcPct val="90000"/>
              </a:lnSpc>
              <a:spcBef>
                <a:spcPct val="20000"/>
              </a:spcBef>
              <a:buSzPct val="80000"/>
            </a:pPr>
            <a:r>
              <a:rPr lang="en-US" sz="1500" dirty="0">
                <a:solidFill>
                  <a:schemeClr val="bg1"/>
                </a:solidFill>
              </a:rPr>
              <a:t>Guest: F</a:t>
            </a:r>
            <a:r>
              <a:rPr lang="en-US" sz="1500" dirty="0" smtClean="0">
                <a:solidFill>
                  <a:schemeClr val="bg1"/>
                </a:solidFill>
              </a:rPr>
              <a:t>:\</a:t>
            </a:r>
            <a:endParaRPr lang="en-US" sz="1500" dirty="0">
              <a:solidFill>
                <a:schemeClr val="bg1"/>
              </a:solidFill>
            </a:endParaRPr>
          </a:p>
          <a:p>
            <a:pPr>
              <a:lnSpc>
                <a:spcPct val="90000"/>
              </a:lnSpc>
              <a:spcBef>
                <a:spcPct val="20000"/>
              </a:spcBef>
              <a:buSzPct val="80000"/>
            </a:pPr>
            <a:r>
              <a:rPr lang="en-US" sz="1500" dirty="0">
                <a:solidFill>
                  <a:schemeClr val="bg1"/>
                </a:solidFill>
              </a:rPr>
              <a:t>WAStorageVMs\APP-Logs.vhd</a:t>
            </a:r>
          </a:p>
          <a:p>
            <a:pPr>
              <a:lnSpc>
                <a:spcPct val="90000"/>
              </a:lnSpc>
              <a:spcBef>
                <a:spcPct val="20000"/>
              </a:spcBef>
              <a:buSzPct val="80000"/>
            </a:pPr>
            <a:endParaRPr lang="en-US" sz="1500" u="sng" dirty="0">
              <a:solidFill>
                <a:schemeClr val="bg1"/>
              </a:solidFill>
            </a:endParaRPr>
          </a:p>
        </p:txBody>
      </p:sp>
      <p:cxnSp>
        <p:nvCxnSpPr>
          <p:cNvPr id="31" name="Straight Arrow Connector 30"/>
          <p:cNvCxnSpPr/>
          <p:nvPr/>
        </p:nvCxnSpPr>
        <p:spPr>
          <a:xfrm>
            <a:off x="10384860" y="4690452"/>
            <a:ext cx="486023" cy="120560"/>
          </a:xfrm>
          <a:prstGeom prst="straightConnector1">
            <a:avLst/>
          </a:prstGeom>
          <a:ln w="12700">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flipV="1">
            <a:off x="10469532" y="4982969"/>
            <a:ext cx="804878" cy="178476"/>
          </a:xfrm>
          <a:prstGeom prst="straightConnector1">
            <a:avLst/>
          </a:prstGeom>
          <a:ln w="12700">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V="1">
            <a:off x="10405103" y="5043357"/>
            <a:ext cx="1278998" cy="710755"/>
          </a:xfrm>
          <a:prstGeom prst="straightConnector1">
            <a:avLst/>
          </a:prstGeom>
          <a:ln w="12700">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7734947" y="2495726"/>
            <a:ext cx="1393522" cy="492443"/>
          </a:xfrm>
          <a:prstGeom prst="rect">
            <a:avLst/>
          </a:prstGeom>
          <a:noFill/>
        </p:spPr>
        <p:txBody>
          <a:bodyPr wrap="none" lIns="0" tIns="0" rIns="0" bIns="0" rtlCol="0">
            <a:spAutoFit/>
          </a:bodyPr>
          <a:lstStyle/>
          <a:p>
            <a:pPr>
              <a:lnSpc>
                <a:spcPct val="90000"/>
              </a:lnSpc>
              <a:spcBef>
                <a:spcPct val="20000"/>
              </a:spcBef>
              <a:buSzPct val="80000"/>
            </a:pPr>
            <a:r>
              <a:rPr lang="en-US" sz="1600" u="sng" dirty="0">
                <a:solidFill>
                  <a:schemeClr val="bg1"/>
                </a:solidFill>
              </a:rPr>
              <a:t>Deployment</a:t>
            </a:r>
          </a:p>
          <a:p>
            <a:pPr algn="ctr">
              <a:lnSpc>
                <a:spcPct val="90000"/>
              </a:lnSpc>
              <a:spcBef>
                <a:spcPct val="20000"/>
              </a:spcBef>
              <a:buSzPct val="80000"/>
            </a:pPr>
            <a:r>
              <a:rPr lang="en-US" sz="1600" dirty="0">
                <a:solidFill>
                  <a:schemeClr val="bg1"/>
                </a:solidFill>
              </a:rPr>
              <a:t>Slot Production</a:t>
            </a:r>
          </a:p>
        </p:txBody>
      </p:sp>
      <p:sp>
        <p:nvSpPr>
          <p:cNvPr id="60" name="TextBox 59"/>
          <p:cNvSpPr txBox="1"/>
          <p:nvPr/>
        </p:nvSpPr>
        <p:spPr>
          <a:xfrm>
            <a:off x="3965944" y="1559031"/>
            <a:ext cx="3330218" cy="4792081"/>
          </a:xfrm>
          <a:prstGeom prst="rect">
            <a:avLst/>
          </a:prstGeom>
          <a:noFill/>
        </p:spPr>
        <p:txBody>
          <a:bodyPr wrap="square" lIns="0" tIns="0" rIns="0" bIns="0" rtlCol="0">
            <a:spAutoFit/>
          </a:bodyPr>
          <a:lstStyle/>
          <a:p>
            <a:pPr>
              <a:lnSpc>
                <a:spcPct val="90000"/>
              </a:lnSpc>
              <a:spcBef>
                <a:spcPct val="20000"/>
              </a:spcBef>
              <a:buSzPct val="80000"/>
            </a:pPr>
            <a:r>
              <a:rPr lang="en-US" sz="2400" u="sng" dirty="0" smtClean="0">
                <a:solidFill>
                  <a:schemeClr val="tx2"/>
                </a:solidFill>
              </a:rPr>
              <a:t>Migration Steps</a:t>
            </a:r>
          </a:p>
          <a:p>
            <a:pPr>
              <a:lnSpc>
                <a:spcPct val="90000"/>
              </a:lnSpc>
              <a:spcBef>
                <a:spcPct val="20000"/>
              </a:spcBef>
              <a:buSzPct val="80000"/>
            </a:pPr>
            <a:r>
              <a:rPr lang="en-US" sz="1800" dirty="0" smtClean="0"/>
              <a:t>1) Upload VHDs</a:t>
            </a:r>
          </a:p>
          <a:p>
            <a:pPr>
              <a:lnSpc>
                <a:spcPct val="90000"/>
              </a:lnSpc>
              <a:spcBef>
                <a:spcPct val="20000"/>
              </a:spcBef>
              <a:buSzPct val="80000"/>
            </a:pPr>
            <a:r>
              <a:rPr lang="en-US" sz="1800" dirty="0" smtClean="0"/>
              <a:t>     Azure PS or other Tools</a:t>
            </a:r>
            <a:br>
              <a:rPr lang="en-US" sz="1800" dirty="0" smtClean="0"/>
            </a:br>
            <a:r>
              <a:rPr lang="en-US" sz="1800" dirty="0" smtClean="0">
                <a:solidFill>
                  <a:schemeClr val="tx2">
                    <a:lumMod val="60000"/>
                    <a:lumOff val="40000"/>
                  </a:schemeClr>
                </a:solidFill>
              </a:rPr>
              <a:t>     </a:t>
            </a:r>
            <a:r>
              <a:rPr lang="en-US" sz="1600" dirty="0" smtClean="0">
                <a:solidFill>
                  <a:schemeClr val="tx2">
                    <a:lumMod val="60000"/>
                    <a:lumOff val="40000"/>
                  </a:schemeClr>
                </a:solidFill>
              </a:rPr>
              <a:t>Add-</a:t>
            </a:r>
            <a:r>
              <a:rPr lang="en-US" sz="1600" dirty="0" err="1" smtClean="0">
                <a:solidFill>
                  <a:schemeClr val="tx2">
                    <a:lumMod val="60000"/>
                    <a:lumOff val="40000"/>
                  </a:schemeClr>
                </a:solidFill>
              </a:rPr>
              <a:t>AzureVHD</a:t>
            </a:r>
            <a:endParaRPr lang="en-US" sz="1600" dirty="0" smtClean="0">
              <a:solidFill>
                <a:schemeClr val="tx2">
                  <a:lumMod val="60000"/>
                  <a:lumOff val="40000"/>
                </a:schemeClr>
              </a:solidFill>
            </a:endParaRPr>
          </a:p>
          <a:p>
            <a:pPr>
              <a:lnSpc>
                <a:spcPct val="90000"/>
              </a:lnSpc>
              <a:spcBef>
                <a:spcPct val="20000"/>
              </a:spcBef>
              <a:buSzPct val="80000"/>
            </a:pPr>
            <a:r>
              <a:rPr lang="en-US" sz="1800" dirty="0" smtClean="0"/>
              <a:t>2) Create VM Configuration</a:t>
            </a:r>
          </a:p>
          <a:p>
            <a:pPr>
              <a:lnSpc>
                <a:spcPct val="90000"/>
              </a:lnSpc>
              <a:spcBef>
                <a:spcPct val="20000"/>
              </a:spcBef>
              <a:buSzPct val="80000"/>
            </a:pPr>
            <a:r>
              <a:rPr lang="en-US" sz="1800" dirty="0" smtClean="0"/>
              <a:t>     with data </a:t>
            </a:r>
            <a:r>
              <a:rPr lang="en-US" sz="1800" dirty="0"/>
              <a:t>disks attached</a:t>
            </a:r>
            <a:br>
              <a:rPr lang="en-US" sz="1800" dirty="0"/>
            </a:br>
            <a:r>
              <a:rPr lang="en-US" sz="1800" dirty="0" smtClean="0"/>
              <a:t>     </a:t>
            </a:r>
            <a:r>
              <a:rPr lang="en-US" sz="1800" dirty="0"/>
              <a:t>Data Disk 1 = APP-</a:t>
            </a:r>
            <a:r>
              <a:rPr lang="en-US" sz="1800" dirty="0" err="1"/>
              <a:t>Data.vhd</a:t>
            </a:r>
            <a:endParaRPr lang="en-US" sz="1800" dirty="0"/>
          </a:p>
          <a:p>
            <a:pPr>
              <a:lnSpc>
                <a:spcPct val="90000"/>
              </a:lnSpc>
              <a:spcBef>
                <a:spcPct val="20000"/>
              </a:spcBef>
              <a:buSzPct val="80000"/>
            </a:pPr>
            <a:r>
              <a:rPr lang="en-US" sz="1800" dirty="0"/>
              <a:t>     Data Disk 2 = App-</a:t>
            </a:r>
            <a:r>
              <a:rPr lang="en-US" sz="1800" dirty="0" err="1"/>
              <a:t>Logs.vhd</a:t>
            </a:r>
            <a:endParaRPr lang="en-US" sz="1800" dirty="0" smtClean="0"/>
          </a:p>
          <a:p>
            <a:pPr>
              <a:lnSpc>
                <a:spcPct val="90000"/>
              </a:lnSpc>
              <a:spcBef>
                <a:spcPct val="20000"/>
              </a:spcBef>
              <a:buSzPct val="80000"/>
            </a:pPr>
            <a:r>
              <a:rPr lang="en-US" sz="1800" dirty="0"/>
              <a:t> </a:t>
            </a:r>
            <a:r>
              <a:rPr lang="en-US" sz="1800" dirty="0" smtClean="0"/>
              <a:t>    </a:t>
            </a:r>
            <a:r>
              <a:rPr lang="en-US" sz="1800" dirty="0">
                <a:solidFill>
                  <a:srgbClr val="00188F">
                    <a:lumMod val="60000"/>
                    <a:lumOff val="40000"/>
                  </a:srgbClr>
                </a:solidFill>
              </a:rPr>
              <a:t> </a:t>
            </a:r>
            <a:r>
              <a:rPr lang="en-US" sz="1600" dirty="0" smtClean="0">
                <a:solidFill>
                  <a:srgbClr val="00188F">
                    <a:lumMod val="60000"/>
                    <a:lumOff val="40000"/>
                  </a:srgbClr>
                </a:solidFill>
              </a:rPr>
              <a:t>New-</a:t>
            </a:r>
            <a:r>
              <a:rPr lang="en-US" sz="1600" dirty="0" err="1" smtClean="0">
                <a:solidFill>
                  <a:srgbClr val="00188F">
                    <a:lumMod val="60000"/>
                    <a:lumOff val="40000"/>
                  </a:srgbClr>
                </a:solidFill>
              </a:rPr>
              <a:t>AzureVMConfig</a:t>
            </a:r>
            <a:endParaRPr lang="en-US" sz="1800" dirty="0" smtClean="0"/>
          </a:p>
          <a:p>
            <a:pPr>
              <a:lnSpc>
                <a:spcPct val="90000"/>
              </a:lnSpc>
              <a:spcBef>
                <a:spcPct val="20000"/>
              </a:spcBef>
              <a:buSzPct val="80000"/>
            </a:pPr>
            <a:r>
              <a:rPr lang="en-US" sz="1800" dirty="0" smtClean="0"/>
              <a:t>3) Create VM</a:t>
            </a:r>
          </a:p>
          <a:p>
            <a:pPr>
              <a:lnSpc>
                <a:spcPct val="90000"/>
              </a:lnSpc>
              <a:spcBef>
                <a:spcPct val="20000"/>
              </a:spcBef>
              <a:buSzPct val="80000"/>
            </a:pPr>
            <a:r>
              <a:rPr lang="en-US" sz="1800" dirty="0" smtClean="0">
                <a:solidFill>
                  <a:srgbClr val="00188F">
                    <a:lumMod val="60000"/>
                    <a:lumOff val="40000"/>
                  </a:srgbClr>
                </a:solidFill>
              </a:rPr>
              <a:t>      </a:t>
            </a:r>
            <a:r>
              <a:rPr lang="en-US" sz="1600" dirty="0" smtClean="0">
                <a:solidFill>
                  <a:srgbClr val="00188F">
                    <a:lumMod val="60000"/>
                    <a:lumOff val="40000"/>
                  </a:srgbClr>
                </a:solidFill>
              </a:rPr>
              <a:t>New-</a:t>
            </a:r>
            <a:r>
              <a:rPr lang="en-US" sz="1600" dirty="0" err="1" smtClean="0">
                <a:solidFill>
                  <a:srgbClr val="00188F">
                    <a:lumMod val="60000"/>
                    <a:lumOff val="40000"/>
                  </a:srgbClr>
                </a:solidFill>
              </a:rPr>
              <a:t>AzureVM</a:t>
            </a:r>
            <a:endParaRPr lang="en-US" sz="1800" dirty="0" smtClean="0"/>
          </a:p>
          <a:p>
            <a:pPr>
              <a:lnSpc>
                <a:spcPct val="90000"/>
              </a:lnSpc>
              <a:spcBef>
                <a:spcPct val="20000"/>
              </a:spcBef>
              <a:buSzPct val="80000"/>
            </a:pPr>
            <a:r>
              <a:rPr lang="en-US" sz="1800" dirty="0" smtClean="0"/>
              <a:t>4) Adjust App for Drive Letters</a:t>
            </a:r>
          </a:p>
          <a:p>
            <a:pPr>
              <a:lnSpc>
                <a:spcPct val="90000"/>
              </a:lnSpc>
              <a:spcBef>
                <a:spcPct val="20000"/>
              </a:spcBef>
              <a:buSzPct val="80000"/>
            </a:pPr>
            <a:endParaRPr lang="en-US" sz="1800" dirty="0" smtClean="0"/>
          </a:p>
          <a:p>
            <a:pPr>
              <a:lnSpc>
                <a:spcPct val="90000"/>
              </a:lnSpc>
              <a:spcBef>
                <a:spcPct val="20000"/>
              </a:spcBef>
              <a:buSzPct val="80000"/>
            </a:pPr>
            <a:r>
              <a:rPr lang="en-US" sz="1800" dirty="0" smtClean="0"/>
              <a:t>5) Add Endpoint(s)</a:t>
            </a:r>
          </a:p>
          <a:p>
            <a:pPr>
              <a:lnSpc>
                <a:spcPct val="90000"/>
              </a:lnSpc>
              <a:spcBef>
                <a:spcPct val="20000"/>
              </a:spcBef>
              <a:buSzPct val="80000"/>
            </a:pPr>
            <a:r>
              <a:rPr lang="en-US" sz="1800" dirty="0" smtClean="0"/>
              <a:t>    80, TCP, http</a:t>
            </a:r>
          </a:p>
          <a:p>
            <a:pPr>
              <a:lnSpc>
                <a:spcPct val="90000"/>
              </a:lnSpc>
              <a:spcBef>
                <a:spcPct val="20000"/>
              </a:spcBef>
              <a:buSzPct val="80000"/>
            </a:pPr>
            <a:r>
              <a:rPr lang="en-US" sz="1800" dirty="0" smtClean="0"/>
              <a:t>    443, TCP, https</a:t>
            </a:r>
            <a:endParaRPr lang="en-US" sz="1800" dirty="0"/>
          </a:p>
        </p:txBody>
      </p:sp>
      <p:sp>
        <p:nvSpPr>
          <p:cNvPr id="72" name="TextBox 71"/>
          <p:cNvSpPr txBox="1"/>
          <p:nvPr/>
        </p:nvSpPr>
        <p:spPr>
          <a:xfrm>
            <a:off x="7734947" y="3979436"/>
            <a:ext cx="1886158" cy="166199"/>
          </a:xfrm>
          <a:prstGeom prst="rect">
            <a:avLst/>
          </a:prstGeom>
          <a:noFill/>
        </p:spPr>
        <p:txBody>
          <a:bodyPr wrap="square" lIns="0" tIns="0" rIns="0" bIns="0" rtlCol="0">
            <a:spAutoFit/>
          </a:bodyPr>
          <a:lstStyle/>
          <a:p>
            <a:pPr>
              <a:lnSpc>
                <a:spcPct val="90000"/>
              </a:lnSpc>
              <a:spcBef>
                <a:spcPct val="20000"/>
              </a:spcBef>
              <a:buSzPct val="80000"/>
            </a:pPr>
            <a:r>
              <a:rPr lang="en-US" sz="1200" dirty="0" smtClean="0">
                <a:solidFill>
                  <a:schemeClr val="bg1"/>
                </a:solidFill>
              </a:rPr>
              <a:t>TCP Endpoints 80 and 443</a:t>
            </a:r>
            <a:endParaRPr lang="en-US" sz="1050" dirty="0">
              <a:solidFill>
                <a:schemeClr val="bg1"/>
              </a:solidFill>
            </a:endParaRPr>
          </a:p>
        </p:txBody>
      </p:sp>
      <p:pic>
        <p:nvPicPr>
          <p:cNvPr id="3" name="Picture 2"/>
          <p:cNvPicPr>
            <a:picLocks noChangeAspect="1"/>
          </p:cNvPicPr>
          <p:nvPr/>
        </p:nvPicPr>
        <p:blipFill>
          <a:blip r:embed="rId9"/>
          <a:stretch>
            <a:fillRect/>
          </a:stretch>
        </p:blipFill>
        <p:spPr>
          <a:xfrm>
            <a:off x="2839960" y="2425364"/>
            <a:ext cx="652500" cy="596250"/>
          </a:xfrm>
          <a:prstGeom prst="rect">
            <a:avLst/>
          </a:prstGeom>
        </p:spPr>
      </p:pic>
      <p:pic>
        <p:nvPicPr>
          <p:cNvPr id="15" name="Picture 14"/>
          <p:cNvPicPr>
            <a:picLocks noChangeAspect="1"/>
          </p:cNvPicPr>
          <p:nvPr/>
        </p:nvPicPr>
        <p:blipFill>
          <a:blip r:embed="rId9"/>
          <a:stretch>
            <a:fillRect/>
          </a:stretch>
        </p:blipFill>
        <p:spPr>
          <a:xfrm>
            <a:off x="9558639" y="3130741"/>
            <a:ext cx="652500" cy="596250"/>
          </a:xfrm>
          <a:prstGeom prst="rect">
            <a:avLst/>
          </a:prstGeom>
        </p:spPr>
      </p:pic>
    </p:spTree>
    <p:extLst>
      <p:ext uri="{BB962C8B-B14F-4D97-AF65-F5344CB8AC3E}">
        <p14:creationId xmlns:p14="http://schemas.microsoft.com/office/powerpoint/2010/main" val="9871289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0">
                                            <p:txEl>
                                              <p:pRg st="0" end="0"/>
                                            </p:txEl>
                                          </p:spTgt>
                                        </p:tgtEl>
                                        <p:attrNameLst>
                                          <p:attrName>style.visibility</p:attrName>
                                        </p:attrNameLst>
                                      </p:cBhvr>
                                      <p:to>
                                        <p:strVal val="visible"/>
                                      </p:to>
                                    </p:set>
                                    <p:animEffect transition="in" filter="fade">
                                      <p:cBhvr>
                                        <p:cTn id="7" dur="500"/>
                                        <p:tgtEl>
                                          <p:spTgt spid="60">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0">
                                            <p:txEl>
                                              <p:pRg st="1" end="1"/>
                                            </p:txEl>
                                          </p:spTgt>
                                        </p:tgtEl>
                                        <p:attrNameLst>
                                          <p:attrName>style.visibility</p:attrName>
                                        </p:attrNameLst>
                                      </p:cBhvr>
                                      <p:to>
                                        <p:strVal val="visible"/>
                                      </p:to>
                                    </p:set>
                                    <p:animEffect transition="in" filter="fade">
                                      <p:cBhvr>
                                        <p:cTn id="10" dur="500"/>
                                        <p:tgtEl>
                                          <p:spTgt spid="60">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60">
                                            <p:txEl>
                                              <p:pRg st="2" end="2"/>
                                            </p:txEl>
                                          </p:spTgt>
                                        </p:tgtEl>
                                        <p:attrNameLst>
                                          <p:attrName>style.visibility</p:attrName>
                                        </p:attrNameLst>
                                      </p:cBhvr>
                                      <p:to>
                                        <p:strVal val="visible"/>
                                      </p:to>
                                    </p:set>
                                    <p:animEffect transition="in" filter="fade">
                                      <p:cBhvr>
                                        <p:cTn id="13" dur="500"/>
                                        <p:tgtEl>
                                          <p:spTgt spid="60">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8"/>
                                        </p:tgtEl>
                                        <p:attrNameLst>
                                          <p:attrName>style.visibility</p:attrName>
                                        </p:attrNameLst>
                                      </p:cBhvr>
                                      <p:to>
                                        <p:strVal val="visible"/>
                                      </p:to>
                                    </p:set>
                                    <p:animEffect transition="in" filter="fade">
                                      <p:cBhvr>
                                        <p:cTn id="16" dur="500"/>
                                        <p:tgtEl>
                                          <p:spTgt spid="1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9"/>
                                        </p:tgtEl>
                                        <p:attrNameLst>
                                          <p:attrName>style.visibility</p:attrName>
                                        </p:attrNameLst>
                                      </p:cBhvr>
                                      <p:to>
                                        <p:strVal val="visible"/>
                                      </p:to>
                                    </p:set>
                                    <p:animEffect transition="in" filter="fade">
                                      <p:cBhvr>
                                        <p:cTn id="19" dur="500"/>
                                        <p:tgtEl>
                                          <p:spTgt spid="1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3"/>
                                        </p:tgtEl>
                                        <p:attrNameLst>
                                          <p:attrName>style.visibility</p:attrName>
                                        </p:attrNameLst>
                                      </p:cBhvr>
                                      <p:to>
                                        <p:strVal val="visible"/>
                                      </p:to>
                                    </p:set>
                                    <p:animEffect transition="in" filter="fade">
                                      <p:cBhvr>
                                        <p:cTn id="25" dur="500"/>
                                        <p:tgtEl>
                                          <p:spTgt spid="23"/>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60">
                                            <p:txEl>
                                              <p:pRg st="3" end="3"/>
                                            </p:txEl>
                                          </p:spTgt>
                                        </p:tgtEl>
                                        <p:attrNameLst>
                                          <p:attrName>style.visibility</p:attrName>
                                        </p:attrNameLst>
                                      </p:cBhvr>
                                      <p:to>
                                        <p:strVal val="visible"/>
                                      </p:to>
                                    </p:set>
                                    <p:animEffect transition="in" filter="fade">
                                      <p:cBhvr>
                                        <p:cTn id="30" dur="500"/>
                                        <p:tgtEl>
                                          <p:spTgt spid="60">
                                            <p:txEl>
                                              <p:pRg st="3" end="3"/>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60">
                                            <p:txEl>
                                              <p:pRg st="4" end="4"/>
                                            </p:txEl>
                                          </p:spTgt>
                                        </p:tgtEl>
                                        <p:attrNameLst>
                                          <p:attrName>style.visibility</p:attrName>
                                        </p:attrNameLst>
                                      </p:cBhvr>
                                      <p:to>
                                        <p:strVal val="visible"/>
                                      </p:to>
                                    </p:set>
                                    <p:animEffect transition="in" filter="fade">
                                      <p:cBhvr>
                                        <p:cTn id="33" dur="500"/>
                                        <p:tgtEl>
                                          <p:spTgt spid="60">
                                            <p:txEl>
                                              <p:pRg st="4" end="4"/>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60">
                                            <p:txEl>
                                              <p:pRg st="5" end="5"/>
                                            </p:txEl>
                                          </p:spTgt>
                                        </p:tgtEl>
                                        <p:attrNameLst>
                                          <p:attrName>style.visibility</p:attrName>
                                        </p:attrNameLst>
                                      </p:cBhvr>
                                      <p:to>
                                        <p:strVal val="visible"/>
                                      </p:to>
                                    </p:set>
                                    <p:animEffect transition="in" filter="fade">
                                      <p:cBhvr>
                                        <p:cTn id="36" dur="500"/>
                                        <p:tgtEl>
                                          <p:spTgt spid="60">
                                            <p:txEl>
                                              <p:pRg st="5" end="5"/>
                                            </p:txEl>
                                          </p:spTgt>
                                        </p:tgtEl>
                                      </p:cBhvr>
                                    </p:animEffect>
                                  </p:childTnLst>
                                </p:cTn>
                              </p:par>
                              <p:par>
                                <p:cTn id="37" presetID="10" presetClass="entr" presetSubtype="0" fill="hold" nodeType="withEffect">
                                  <p:stCondLst>
                                    <p:cond delay="0"/>
                                  </p:stCondLst>
                                  <p:childTnLst>
                                    <p:set>
                                      <p:cBhvr>
                                        <p:cTn id="38" dur="1" fill="hold">
                                          <p:stCondLst>
                                            <p:cond delay="0"/>
                                          </p:stCondLst>
                                        </p:cTn>
                                        <p:tgtEl>
                                          <p:spTgt spid="60">
                                            <p:txEl>
                                              <p:pRg st="6" end="6"/>
                                            </p:txEl>
                                          </p:spTgt>
                                        </p:tgtEl>
                                        <p:attrNameLst>
                                          <p:attrName>style.visibility</p:attrName>
                                        </p:attrNameLst>
                                      </p:cBhvr>
                                      <p:to>
                                        <p:strVal val="visible"/>
                                      </p:to>
                                    </p:set>
                                    <p:animEffect transition="in" filter="fade">
                                      <p:cBhvr>
                                        <p:cTn id="39" dur="500"/>
                                        <p:tgtEl>
                                          <p:spTgt spid="60">
                                            <p:txEl>
                                              <p:pRg st="6" end="6"/>
                                            </p:txEl>
                                          </p:spTgt>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2"/>
                                        </p:tgtEl>
                                        <p:attrNameLst>
                                          <p:attrName>style.visibility</p:attrName>
                                        </p:attrNameLst>
                                      </p:cBhvr>
                                      <p:to>
                                        <p:strVal val="visible"/>
                                      </p:to>
                                    </p:set>
                                    <p:animEffect transition="in" filter="fade">
                                      <p:cBhvr>
                                        <p:cTn id="42" dur="500"/>
                                        <p:tgtEl>
                                          <p:spTgt spid="12"/>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3"/>
                                        </p:tgtEl>
                                        <p:attrNameLst>
                                          <p:attrName>style.visibility</p:attrName>
                                        </p:attrNameLst>
                                      </p:cBhvr>
                                      <p:to>
                                        <p:strVal val="visible"/>
                                      </p:to>
                                    </p:set>
                                    <p:animEffect transition="in" filter="fade">
                                      <p:cBhvr>
                                        <p:cTn id="45" dur="500"/>
                                        <p:tgtEl>
                                          <p:spTgt spid="13"/>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56"/>
                                        </p:tgtEl>
                                        <p:attrNameLst>
                                          <p:attrName>style.visibility</p:attrName>
                                        </p:attrNameLst>
                                      </p:cBhvr>
                                      <p:to>
                                        <p:strVal val="visible"/>
                                      </p:to>
                                    </p:set>
                                    <p:animEffect transition="in" filter="fade">
                                      <p:cBhvr>
                                        <p:cTn id="51" dur="500"/>
                                        <p:tgtEl>
                                          <p:spTgt spid="56"/>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6"/>
                                        </p:tgtEl>
                                        <p:attrNameLst>
                                          <p:attrName>style.visibility</p:attrName>
                                        </p:attrNameLst>
                                      </p:cBhvr>
                                      <p:to>
                                        <p:strVal val="visible"/>
                                      </p:to>
                                    </p:set>
                                    <p:animEffect transition="in" filter="fade">
                                      <p:cBhvr>
                                        <p:cTn id="54" dur="500"/>
                                        <p:tgtEl>
                                          <p:spTgt spid="16"/>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26"/>
                                        </p:tgtEl>
                                        <p:attrNameLst>
                                          <p:attrName>style.visibility</p:attrName>
                                        </p:attrNameLst>
                                      </p:cBhvr>
                                      <p:to>
                                        <p:strVal val="visible"/>
                                      </p:to>
                                    </p:set>
                                    <p:animEffect transition="in" filter="fade">
                                      <p:cBhvr>
                                        <p:cTn id="57" dur="500"/>
                                        <p:tgtEl>
                                          <p:spTgt spid="26"/>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25"/>
                                        </p:tgtEl>
                                        <p:attrNameLst>
                                          <p:attrName>style.visibility</p:attrName>
                                        </p:attrNameLst>
                                      </p:cBhvr>
                                      <p:to>
                                        <p:strVal val="visible"/>
                                      </p:to>
                                    </p:set>
                                    <p:animEffect transition="in" filter="fade">
                                      <p:cBhvr>
                                        <p:cTn id="60" dur="500"/>
                                        <p:tgtEl>
                                          <p:spTgt spid="25"/>
                                        </p:tgtEl>
                                      </p:cBhvr>
                                    </p:animEffect>
                                  </p:childTnLst>
                                </p:cTn>
                              </p:par>
                              <p:par>
                                <p:cTn id="61" presetID="10" presetClass="entr" presetSubtype="0" fill="hold" nodeType="withEffect">
                                  <p:stCondLst>
                                    <p:cond delay="0"/>
                                  </p:stCondLst>
                                  <p:childTnLst>
                                    <p:set>
                                      <p:cBhvr>
                                        <p:cTn id="62" dur="1" fill="hold">
                                          <p:stCondLst>
                                            <p:cond delay="0"/>
                                          </p:stCondLst>
                                        </p:cTn>
                                        <p:tgtEl>
                                          <p:spTgt spid="31"/>
                                        </p:tgtEl>
                                        <p:attrNameLst>
                                          <p:attrName>style.visibility</p:attrName>
                                        </p:attrNameLst>
                                      </p:cBhvr>
                                      <p:to>
                                        <p:strVal val="visible"/>
                                      </p:to>
                                    </p:set>
                                    <p:animEffect transition="in" filter="fade">
                                      <p:cBhvr>
                                        <p:cTn id="63" dur="500"/>
                                        <p:tgtEl>
                                          <p:spTgt spid="31"/>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nodeType="clickEffect">
                                  <p:stCondLst>
                                    <p:cond delay="0"/>
                                  </p:stCondLst>
                                  <p:childTnLst>
                                    <p:set>
                                      <p:cBhvr>
                                        <p:cTn id="67" dur="1" fill="hold">
                                          <p:stCondLst>
                                            <p:cond delay="0"/>
                                          </p:stCondLst>
                                        </p:cTn>
                                        <p:tgtEl>
                                          <p:spTgt spid="60">
                                            <p:txEl>
                                              <p:pRg st="7" end="7"/>
                                            </p:txEl>
                                          </p:spTgt>
                                        </p:tgtEl>
                                        <p:attrNameLst>
                                          <p:attrName>style.visibility</p:attrName>
                                        </p:attrNameLst>
                                      </p:cBhvr>
                                      <p:to>
                                        <p:strVal val="visible"/>
                                      </p:to>
                                    </p:set>
                                    <p:animEffect transition="in" filter="fade">
                                      <p:cBhvr>
                                        <p:cTn id="68" dur="500"/>
                                        <p:tgtEl>
                                          <p:spTgt spid="60">
                                            <p:txEl>
                                              <p:pRg st="7" end="7"/>
                                            </p:txEl>
                                          </p:spTgt>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nodeType="clickEffect">
                                  <p:stCondLst>
                                    <p:cond delay="0"/>
                                  </p:stCondLst>
                                  <p:childTnLst>
                                    <p:set>
                                      <p:cBhvr>
                                        <p:cTn id="72" dur="1" fill="hold">
                                          <p:stCondLst>
                                            <p:cond delay="0"/>
                                          </p:stCondLst>
                                        </p:cTn>
                                        <p:tgtEl>
                                          <p:spTgt spid="60">
                                            <p:txEl>
                                              <p:pRg st="8" end="8"/>
                                            </p:txEl>
                                          </p:spTgt>
                                        </p:tgtEl>
                                        <p:attrNameLst>
                                          <p:attrName>style.visibility</p:attrName>
                                        </p:attrNameLst>
                                      </p:cBhvr>
                                      <p:to>
                                        <p:strVal val="visible"/>
                                      </p:to>
                                    </p:set>
                                    <p:animEffect transition="in" filter="fade">
                                      <p:cBhvr>
                                        <p:cTn id="73" dur="500"/>
                                        <p:tgtEl>
                                          <p:spTgt spid="60">
                                            <p:txEl>
                                              <p:pRg st="8" end="8"/>
                                            </p:txEl>
                                          </p:spTgt>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28"/>
                                        </p:tgtEl>
                                        <p:attrNameLst>
                                          <p:attrName>style.visibility</p:attrName>
                                        </p:attrNameLst>
                                      </p:cBhvr>
                                      <p:to>
                                        <p:strVal val="visible"/>
                                      </p:to>
                                    </p:set>
                                    <p:animEffect transition="in" filter="fade">
                                      <p:cBhvr>
                                        <p:cTn id="76" dur="500"/>
                                        <p:tgtEl>
                                          <p:spTgt spid="28"/>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27"/>
                                        </p:tgtEl>
                                        <p:attrNameLst>
                                          <p:attrName>style.visibility</p:attrName>
                                        </p:attrNameLst>
                                      </p:cBhvr>
                                      <p:to>
                                        <p:strVal val="visible"/>
                                      </p:to>
                                    </p:set>
                                    <p:animEffect transition="in" filter="fade">
                                      <p:cBhvr>
                                        <p:cTn id="79" dur="500"/>
                                        <p:tgtEl>
                                          <p:spTgt spid="27"/>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30"/>
                                        </p:tgtEl>
                                        <p:attrNameLst>
                                          <p:attrName>style.visibility</p:attrName>
                                        </p:attrNameLst>
                                      </p:cBhvr>
                                      <p:to>
                                        <p:strVal val="visible"/>
                                      </p:to>
                                    </p:set>
                                    <p:animEffect transition="in" filter="fade">
                                      <p:cBhvr>
                                        <p:cTn id="82" dur="500"/>
                                        <p:tgtEl>
                                          <p:spTgt spid="30"/>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29"/>
                                        </p:tgtEl>
                                        <p:attrNameLst>
                                          <p:attrName>style.visibility</p:attrName>
                                        </p:attrNameLst>
                                      </p:cBhvr>
                                      <p:to>
                                        <p:strVal val="visible"/>
                                      </p:to>
                                    </p:set>
                                    <p:animEffect transition="in" filter="fade">
                                      <p:cBhvr>
                                        <p:cTn id="85" dur="500"/>
                                        <p:tgtEl>
                                          <p:spTgt spid="29"/>
                                        </p:tgtEl>
                                      </p:cBhvr>
                                    </p:animEffect>
                                  </p:childTnLst>
                                </p:cTn>
                              </p:par>
                              <p:par>
                                <p:cTn id="86" presetID="10" presetClass="entr" presetSubtype="0" fill="hold" nodeType="withEffect">
                                  <p:stCondLst>
                                    <p:cond delay="0"/>
                                  </p:stCondLst>
                                  <p:childTnLst>
                                    <p:set>
                                      <p:cBhvr>
                                        <p:cTn id="87" dur="1" fill="hold">
                                          <p:stCondLst>
                                            <p:cond delay="0"/>
                                          </p:stCondLst>
                                        </p:cTn>
                                        <p:tgtEl>
                                          <p:spTgt spid="32"/>
                                        </p:tgtEl>
                                        <p:attrNameLst>
                                          <p:attrName>style.visibility</p:attrName>
                                        </p:attrNameLst>
                                      </p:cBhvr>
                                      <p:to>
                                        <p:strVal val="visible"/>
                                      </p:to>
                                    </p:set>
                                    <p:animEffect transition="in" filter="fade">
                                      <p:cBhvr>
                                        <p:cTn id="88" dur="500"/>
                                        <p:tgtEl>
                                          <p:spTgt spid="32"/>
                                        </p:tgtEl>
                                      </p:cBhvr>
                                    </p:animEffect>
                                  </p:childTnLst>
                                </p:cTn>
                              </p:par>
                              <p:par>
                                <p:cTn id="89" presetID="10" presetClass="entr" presetSubtype="0" fill="hold" nodeType="withEffect">
                                  <p:stCondLst>
                                    <p:cond delay="0"/>
                                  </p:stCondLst>
                                  <p:childTnLst>
                                    <p:set>
                                      <p:cBhvr>
                                        <p:cTn id="90" dur="1" fill="hold">
                                          <p:stCondLst>
                                            <p:cond delay="0"/>
                                          </p:stCondLst>
                                        </p:cTn>
                                        <p:tgtEl>
                                          <p:spTgt spid="33"/>
                                        </p:tgtEl>
                                        <p:attrNameLst>
                                          <p:attrName>style.visibility</p:attrName>
                                        </p:attrNameLst>
                                      </p:cBhvr>
                                      <p:to>
                                        <p:strVal val="visible"/>
                                      </p:to>
                                    </p:set>
                                    <p:animEffect transition="in" filter="fade">
                                      <p:cBhvr>
                                        <p:cTn id="91" dur="500"/>
                                        <p:tgtEl>
                                          <p:spTgt spid="33"/>
                                        </p:tgtEl>
                                      </p:cBhvr>
                                    </p:animEffect>
                                  </p:childTnLst>
                                </p:cTn>
                              </p:par>
                            </p:childTnLst>
                          </p:cTn>
                        </p:par>
                      </p:childTnLst>
                    </p:cTn>
                  </p:par>
                  <p:par>
                    <p:cTn id="92" fill="hold">
                      <p:stCondLst>
                        <p:cond delay="indefinite"/>
                      </p:stCondLst>
                      <p:childTnLst>
                        <p:par>
                          <p:cTn id="93" fill="hold">
                            <p:stCondLst>
                              <p:cond delay="0"/>
                            </p:stCondLst>
                            <p:childTnLst>
                              <p:par>
                                <p:cTn id="94" presetID="10" presetClass="entr" presetSubtype="0" fill="hold" nodeType="clickEffect">
                                  <p:stCondLst>
                                    <p:cond delay="0"/>
                                  </p:stCondLst>
                                  <p:childTnLst>
                                    <p:set>
                                      <p:cBhvr>
                                        <p:cTn id="95" dur="1" fill="hold">
                                          <p:stCondLst>
                                            <p:cond delay="0"/>
                                          </p:stCondLst>
                                        </p:cTn>
                                        <p:tgtEl>
                                          <p:spTgt spid="60">
                                            <p:txEl>
                                              <p:pRg st="9" end="9"/>
                                            </p:txEl>
                                          </p:spTgt>
                                        </p:tgtEl>
                                        <p:attrNameLst>
                                          <p:attrName>style.visibility</p:attrName>
                                        </p:attrNameLst>
                                      </p:cBhvr>
                                      <p:to>
                                        <p:strVal val="visible"/>
                                      </p:to>
                                    </p:set>
                                    <p:animEffect transition="in" filter="fade">
                                      <p:cBhvr>
                                        <p:cTn id="96" dur="500"/>
                                        <p:tgtEl>
                                          <p:spTgt spid="60">
                                            <p:txEl>
                                              <p:pRg st="9" end="9"/>
                                            </p:txEl>
                                          </p:spTgt>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nodeType="clickEffect">
                                  <p:stCondLst>
                                    <p:cond delay="0"/>
                                  </p:stCondLst>
                                  <p:childTnLst>
                                    <p:set>
                                      <p:cBhvr>
                                        <p:cTn id="100" dur="1" fill="hold">
                                          <p:stCondLst>
                                            <p:cond delay="0"/>
                                          </p:stCondLst>
                                        </p:cTn>
                                        <p:tgtEl>
                                          <p:spTgt spid="60">
                                            <p:txEl>
                                              <p:pRg st="11" end="11"/>
                                            </p:txEl>
                                          </p:spTgt>
                                        </p:tgtEl>
                                        <p:attrNameLst>
                                          <p:attrName>style.visibility</p:attrName>
                                        </p:attrNameLst>
                                      </p:cBhvr>
                                      <p:to>
                                        <p:strVal val="visible"/>
                                      </p:to>
                                    </p:set>
                                    <p:animEffect transition="in" filter="fade">
                                      <p:cBhvr>
                                        <p:cTn id="101" dur="500"/>
                                        <p:tgtEl>
                                          <p:spTgt spid="60">
                                            <p:txEl>
                                              <p:pRg st="11" end="11"/>
                                            </p:txEl>
                                          </p:spTgt>
                                        </p:tgtEl>
                                      </p:cBhvr>
                                    </p:animEffect>
                                  </p:childTnLst>
                                </p:cTn>
                              </p:par>
                              <p:par>
                                <p:cTn id="102" presetID="10" presetClass="entr" presetSubtype="0" fill="hold" nodeType="withEffect">
                                  <p:stCondLst>
                                    <p:cond delay="0"/>
                                  </p:stCondLst>
                                  <p:childTnLst>
                                    <p:set>
                                      <p:cBhvr>
                                        <p:cTn id="103" dur="1" fill="hold">
                                          <p:stCondLst>
                                            <p:cond delay="0"/>
                                          </p:stCondLst>
                                        </p:cTn>
                                        <p:tgtEl>
                                          <p:spTgt spid="60">
                                            <p:txEl>
                                              <p:pRg st="12" end="12"/>
                                            </p:txEl>
                                          </p:spTgt>
                                        </p:tgtEl>
                                        <p:attrNameLst>
                                          <p:attrName>style.visibility</p:attrName>
                                        </p:attrNameLst>
                                      </p:cBhvr>
                                      <p:to>
                                        <p:strVal val="visible"/>
                                      </p:to>
                                    </p:set>
                                    <p:animEffect transition="in" filter="fade">
                                      <p:cBhvr>
                                        <p:cTn id="104" dur="500"/>
                                        <p:tgtEl>
                                          <p:spTgt spid="60">
                                            <p:txEl>
                                              <p:pRg st="12" end="12"/>
                                            </p:txEl>
                                          </p:spTgt>
                                        </p:tgtEl>
                                      </p:cBhvr>
                                    </p:animEffect>
                                  </p:childTnLst>
                                </p:cTn>
                              </p:par>
                              <p:par>
                                <p:cTn id="105" presetID="10" presetClass="entr" presetSubtype="0" fill="hold" nodeType="withEffect">
                                  <p:stCondLst>
                                    <p:cond delay="0"/>
                                  </p:stCondLst>
                                  <p:childTnLst>
                                    <p:set>
                                      <p:cBhvr>
                                        <p:cTn id="106" dur="1" fill="hold">
                                          <p:stCondLst>
                                            <p:cond delay="0"/>
                                          </p:stCondLst>
                                        </p:cTn>
                                        <p:tgtEl>
                                          <p:spTgt spid="60">
                                            <p:txEl>
                                              <p:pRg st="13" end="13"/>
                                            </p:txEl>
                                          </p:spTgt>
                                        </p:tgtEl>
                                        <p:attrNameLst>
                                          <p:attrName>style.visibility</p:attrName>
                                        </p:attrNameLst>
                                      </p:cBhvr>
                                      <p:to>
                                        <p:strVal val="visible"/>
                                      </p:to>
                                    </p:set>
                                    <p:animEffect transition="in" filter="fade">
                                      <p:cBhvr>
                                        <p:cTn id="107" dur="500"/>
                                        <p:tgtEl>
                                          <p:spTgt spid="60">
                                            <p:txEl>
                                              <p:pRg st="13" end="13"/>
                                            </p:txEl>
                                          </p:spTgt>
                                        </p:tgtEl>
                                      </p:cBhvr>
                                    </p:animEffect>
                                  </p:childTnLst>
                                </p:cTn>
                              </p:par>
                              <p:par>
                                <p:cTn id="108" presetID="10" presetClass="entr" presetSubtype="0" fill="hold" nodeType="withEffect">
                                  <p:stCondLst>
                                    <p:cond delay="0"/>
                                  </p:stCondLst>
                                  <p:childTnLst>
                                    <p:set>
                                      <p:cBhvr>
                                        <p:cTn id="109" dur="1" fill="hold">
                                          <p:stCondLst>
                                            <p:cond delay="0"/>
                                          </p:stCondLst>
                                        </p:cTn>
                                        <p:tgtEl>
                                          <p:spTgt spid="72">
                                            <p:txEl>
                                              <p:pRg st="0" end="0"/>
                                            </p:txEl>
                                          </p:spTgt>
                                        </p:tgtEl>
                                        <p:attrNameLst>
                                          <p:attrName>style.visibility</p:attrName>
                                        </p:attrNameLst>
                                      </p:cBhvr>
                                      <p:to>
                                        <p:strVal val="visible"/>
                                      </p:to>
                                    </p:set>
                                    <p:animEffect transition="in" filter="fade">
                                      <p:cBhvr>
                                        <p:cTn id="110" dur="500"/>
                                        <p:tgtEl>
                                          <p:spTgt spid="7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16" grpId="0"/>
      <p:bldP spid="18" grpId="0" animBg="1"/>
      <p:bldP spid="19" grpId="0" animBg="1"/>
      <p:bldP spid="21" grpId="0" animBg="1"/>
      <p:bldP spid="23" grpId="0" animBg="1"/>
      <p:bldP spid="25" grpId="0" animBg="1"/>
      <p:bldP spid="26" grpId="0"/>
      <p:bldP spid="27" grpId="0" animBg="1"/>
      <p:bldP spid="28" grpId="0"/>
      <p:bldP spid="29" grpId="0" animBg="1"/>
      <p:bldP spid="30" grpId="0"/>
      <p:bldP spid="56" grpId="0"/>
    </p:bldLst>
  </p:timing>
</p:sld>
</file>

<file path=ppt/slides/slide2.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Rectangle 2"/>
          <p:cNvSpPr/>
          <p:nvPr/>
        </p:nvSpPr>
        <p:spPr>
          <a:xfrm>
            <a:off x="6804387" y="300133"/>
            <a:ext cx="4825039" cy="1754326"/>
          </a:xfrm>
          <a:prstGeom prst="rect">
            <a:avLst/>
          </a:prstGeom>
        </p:spPr>
        <p:txBody>
          <a:bodyPr wrap="none">
            <a:spAutoFit/>
          </a:bodyPr>
          <a:lstStyle/>
          <a:p>
            <a:pPr algn="ctr"/>
            <a:r>
              <a:rPr lang="en-US" sz="5400" dirty="0">
                <a:solidFill>
                  <a:schemeClr val="bg1"/>
                </a:solidFill>
                <a:latin typeface="+mj-lt"/>
              </a:rPr>
              <a:t>Modern </a:t>
            </a:r>
            <a:r>
              <a:rPr lang="en-US" sz="5400" dirty="0" smtClean="0">
                <a:solidFill>
                  <a:schemeClr val="bg1"/>
                </a:solidFill>
                <a:latin typeface="+mj-lt"/>
              </a:rPr>
              <a:t>Tenants</a:t>
            </a:r>
          </a:p>
          <a:p>
            <a:pPr algn="ctr"/>
            <a:r>
              <a:rPr lang="en-US" sz="5400" dirty="0">
                <a:solidFill>
                  <a:schemeClr val="bg1"/>
                </a:solidFill>
                <a:latin typeface="+mj-lt"/>
              </a:rPr>
              <a:t>o</a:t>
            </a:r>
            <a:r>
              <a:rPr lang="en-US" sz="5400" dirty="0" smtClean="0">
                <a:solidFill>
                  <a:schemeClr val="bg1"/>
                </a:solidFill>
                <a:latin typeface="+mj-lt"/>
              </a:rPr>
              <a:t>f Architecture</a:t>
            </a:r>
            <a:endParaRPr lang="en-US" sz="5400" dirty="0">
              <a:solidFill>
                <a:schemeClr val="bg1"/>
              </a:solidFill>
              <a:latin typeface="+mj-lt"/>
            </a:endParaRPr>
          </a:p>
        </p:txBody>
      </p:sp>
    </p:spTree>
    <p:extLst>
      <p:ext uri="{BB962C8B-B14F-4D97-AF65-F5344CB8AC3E}">
        <p14:creationId xmlns:p14="http://schemas.microsoft.com/office/powerpoint/2010/main" val="720239168"/>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p:cNvGrpSpPr/>
          <p:nvPr/>
        </p:nvGrpSpPr>
        <p:grpSpPr>
          <a:xfrm>
            <a:off x="0" y="0"/>
            <a:ext cx="12188825" cy="6858000"/>
            <a:chOff x="0" y="6190996"/>
            <a:chExt cx="12188825" cy="667004"/>
          </a:xfrm>
        </p:grpSpPr>
        <p:sp>
          <p:nvSpPr>
            <p:cNvPr id="9" name="Freeform 8"/>
            <p:cNvSpPr/>
            <p:nvPr/>
          </p:nvSpPr>
          <p:spPr bwMode="auto">
            <a:xfrm>
              <a:off x="7540625" y="6190996"/>
              <a:ext cx="4648200" cy="667004"/>
            </a:xfrm>
            <a:custGeom>
              <a:avLst/>
              <a:gdLst>
                <a:gd name="connsiteX0" fmla="*/ 0 w 4648200"/>
                <a:gd name="connsiteY0" fmla="*/ 0 h 1060704"/>
                <a:gd name="connsiteX1" fmla="*/ 3733800 w 4648200"/>
                <a:gd name="connsiteY1" fmla="*/ 0 h 1060704"/>
                <a:gd name="connsiteX2" fmla="*/ 4648200 w 4648200"/>
                <a:gd name="connsiteY2" fmla="*/ 530352 h 1060704"/>
                <a:gd name="connsiteX3" fmla="*/ 3733800 w 4648200"/>
                <a:gd name="connsiteY3" fmla="*/ 1060704 h 1060704"/>
                <a:gd name="connsiteX4" fmla="*/ 0 w 4648200"/>
                <a:gd name="connsiteY4" fmla="*/ 1060704 h 10607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8200" h="1060704">
                  <a:moveTo>
                    <a:pt x="0" y="0"/>
                  </a:moveTo>
                  <a:lnTo>
                    <a:pt x="3733800" y="0"/>
                  </a:lnTo>
                  <a:lnTo>
                    <a:pt x="4648200" y="530352"/>
                  </a:lnTo>
                  <a:lnTo>
                    <a:pt x="3733800" y="1060704"/>
                  </a:lnTo>
                  <a:lnTo>
                    <a:pt x="0" y="1060704"/>
                  </a:lnTo>
                  <a:close/>
                </a:path>
              </a:pathLst>
            </a:cu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9"/>
            <p:cNvSpPr/>
            <p:nvPr/>
          </p:nvSpPr>
          <p:spPr bwMode="auto">
            <a:xfrm>
              <a:off x="5027084" y="6190996"/>
              <a:ext cx="4648200" cy="667004"/>
            </a:xfrm>
            <a:custGeom>
              <a:avLst/>
              <a:gdLst>
                <a:gd name="connsiteX0" fmla="*/ 0 w 4648200"/>
                <a:gd name="connsiteY0" fmla="*/ 0 h 1060704"/>
                <a:gd name="connsiteX1" fmla="*/ 3733800 w 4648200"/>
                <a:gd name="connsiteY1" fmla="*/ 0 h 1060704"/>
                <a:gd name="connsiteX2" fmla="*/ 4648200 w 4648200"/>
                <a:gd name="connsiteY2" fmla="*/ 530352 h 1060704"/>
                <a:gd name="connsiteX3" fmla="*/ 3733800 w 4648200"/>
                <a:gd name="connsiteY3" fmla="*/ 1060704 h 1060704"/>
                <a:gd name="connsiteX4" fmla="*/ 0 w 4648200"/>
                <a:gd name="connsiteY4" fmla="*/ 1060704 h 10607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8200" h="1060704">
                  <a:moveTo>
                    <a:pt x="0" y="0"/>
                  </a:moveTo>
                  <a:lnTo>
                    <a:pt x="3733800" y="0"/>
                  </a:lnTo>
                  <a:lnTo>
                    <a:pt x="4648200" y="530352"/>
                  </a:lnTo>
                  <a:lnTo>
                    <a:pt x="3733800" y="1060704"/>
                  </a:lnTo>
                  <a:lnTo>
                    <a:pt x="0" y="1060704"/>
                  </a:lnTo>
                  <a:close/>
                </a:path>
              </a:pathLst>
            </a:cu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Freeform 10"/>
            <p:cNvSpPr/>
            <p:nvPr/>
          </p:nvSpPr>
          <p:spPr bwMode="auto">
            <a:xfrm>
              <a:off x="2513542" y="6190996"/>
              <a:ext cx="4648200" cy="667004"/>
            </a:xfrm>
            <a:custGeom>
              <a:avLst/>
              <a:gdLst>
                <a:gd name="connsiteX0" fmla="*/ 0 w 4648200"/>
                <a:gd name="connsiteY0" fmla="*/ 0 h 1060704"/>
                <a:gd name="connsiteX1" fmla="*/ 3733800 w 4648200"/>
                <a:gd name="connsiteY1" fmla="*/ 0 h 1060704"/>
                <a:gd name="connsiteX2" fmla="*/ 4648200 w 4648200"/>
                <a:gd name="connsiteY2" fmla="*/ 530352 h 1060704"/>
                <a:gd name="connsiteX3" fmla="*/ 3733800 w 4648200"/>
                <a:gd name="connsiteY3" fmla="*/ 1060704 h 1060704"/>
                <a:gd name="connsiteX4" fmla="*/ 0 w 4648200"/>
                <a:gd name="connsiteY4" fmla="*/ 1060704 h 10607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8200" h="1060704">
                  <a:moveTo>
                    <a:pt x="0" y="0"/>
                  </a:moveTo>
                  <a:lnTo>
                    <a:pt x="3733800" y="0"/>
                  </a:lnTo>
                  <a:lnTo>
                    <a:pt x="4648200" y="530352"/>
                  </a:lnTo>
                  <a:lnTo>
                    <a:pt x="3733800" y="1060704"/>
                  </a:lnTo>
                  <a:lnTo>
                    <a:pt x="0" y="1060704"/>
                  </a:lnTo>
                  <a:close/>
                </a:path>
              </a:pathLst>
            </a:cu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Freeform 11"/>
            <p:cNvSpPr/>
            <p:nvPr/>
          </p:nvSpPr>
          <p:spPr bwMode="auto">
            <a:xfrm>
              <a:off x="0" y="6190996"/>
              <a:ext cx="4648200" cy="667004"/>
            </a:xfrm>
            <a:custGeom>
              <a:avLst/>
              <a:gdLst>
                <a:gd name="connsiteX0" fmla="*/ 0 w 4648200"/>
                <a:gd name="connsiteY0" fmla="*/ 0 h 1060704"/>
                <a:gd name="connsiteX1" fmla="*/ 3733800 w 4648200"/>
                <a:gd name="connsiteY1" fmla="*/ 0 h 1060704"/>
                <a:gd name="connsiteX2" fmla="*/ 4648200 w 4648200"/>
                <a:gd name="connsiteY2" fmla="*/ 530352 h 1060704"/>
                <a:gd name="connsiteX3" fmla="*/ 3733800 w 4648200"/>
                <a:gd name="connsiteY3" fmla="*/ 1060704 h 1060704"/>
                <a:gd name="connsiteX4" fmla="*/ 0 w 4648200"/>
                <a:gd name="connsiteY4" fmla="*/ 1060704 h 10607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8200" h="1060704">
                  <a:moveTo>
                    <a:pt x="0" y="0"/>
                  </a:moveTo>
                  <a:lnTo>
                    <a:pt x="3733800" y="0"/>
                  </a:lnTo>
                  <a:lnTo>
                    <a:pt x="4648200" y="530352"/>
                  </a:lnTo>
                  <a:lnTo>
                    <a:pt x="3733800" y="1060704"/>
                  </a:lnTo>
                  <a:lnTo>
                    <a:pt x="0" y="1060704"/>
                  </a:lnTo>
                  <a:close/>
                </a:path>
              </a:pathLst>
            </a:cu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3" name="Title 2"/>
          <p:cNvSpPr>
            <a:spLocks noGrp="1"/>
          </p:cNvSpPr>
          <p:nvPr>
            <p:ph type="title"/>
          </p:nvPr>
        </p:nvSpPr>
        <p:spPr/>
        <p:txBody>
          <a:bodyPr/>
          <a:lstStyle/>
          <a:p>
            <a:r>
              <a:rPr lang="en-US" dirty="0" smtClean="0"/>
              <a:t>Stay to the Right</a:t>
            </a:r>
            <a:endParaRPr lang="en-US" dirty="0"/>
          </a:p>
        </p:txBody>
      </p:sp>
    </p:spTree>
    <p:extLst>
      <p:ext uri="{BB962C8B-B14F-4D97-AF65-F5344CB8AC3E}">
        <p14:creationId xmlns:p14="http://schemas.microsoft.com/office/powerpoint/2010/main" val="1199817893"/>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p:cNvSpPr/>
          <p:nvPr/>
        </p:nvSpPr>
        <p:spPr bwMode="auto">
          <a:xfrm>
            <a:off x="8153853" y="405690"/>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3" name="Group 12"/>
          <p:cNvGrpSpPr/>
          <p:nvPr/>
        </p:nvGrpSpPr>
        <p:grpSpPr>
          <a:xfrm>
            <a:off x="8335353" y="777084"/>
            <a:ext cx="3322998" cy="2710459"/>
            <a:chOff x="8272734" y="777084"/>
            <a:chExt cx="3322998" cy="2710459"/>
          </a:xfrm>
        </p:grpSpPr>
        <p:pic>
          <p:nvPicPr>
            <p:cNvPr id="25" name="Picture 24"/>
            <p:cNvPicPr>
              <a:picLocks noChangeAspect="1"/>
            </p:cNvPicPr>
            <p:nvPr/>
          </p:nvPicPr>
          <p:blipFill>
            <a:blip r:embed="rId3" cstate="email">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a:ext>
              </a:extLst>
            </a:blip>
            <a:stretch>
              <a:fillRect/>
            </a:stretch>
          </p:blipFill>
          <p:spPr>
            <a:xfrm>
              <a:off x="9438496" y="777084"/>
              <a:ext cx="899686" cy="1416484"/>
            </a:xfrm>
            <a:prstGeom prst="rect">
              <a:avLst/>
            </a:prstGeom>
            <a:effectLst/>
          </p:spPr>
        </p:pic>
        <p:sp>
          <p:nvSpPr>
            <p:cNvPr id="26" name="Rectangle 25"/>
            <p:cNvSpPr/>
            <p:nvPr/>
          </p:nvSpPr>
          <p:spPr>
            <a:xfrm>
              <a:off x="8272734" y="3118211"/>
              <a:ext cx="3322998" cy="369332"/>
            </a:xfrm>
            <a:prstGeom prst="rect">
              <a:avLst/>
            </a:prstGeom>
          </p:spPr>
          <p:txBody>
            <a:bodyPr wrap="square">
              <a:spAutoFit/>
            </a:bodyPr>
            <a:lstStyle/>
            <a:p>
              <a:pPr algn="ctr" defTabSz="1218673">
                <a:lnSpc>
                  <a:spcPct val="90000"/>
                </a:lnSpc>
              </a:pPr>
              <a:r>
                <a:rPr lang="en-US" sz="2000" dirty="0">
                  <a:solidFill>
                    <a:schemeClr val="bg2">
                      <a:lumMod val="50000"/>
                      <a:alpha val="99000"/>
                    </a:schemeClr>
                  </a:solidFill>
                </a:rPr>
                <a:t>Software-as-a-Service</a:t>
              </a:r>
            </a:p>
          </p:txBody>
        </p:sp>
        <p:sp>
          <p:nvSpPr>
            <p:cNvPr id="24" name="TextBox 23"/>
            <p:cNvSpPr txBox="1"/>
            <p:nvPr/>
          </p:nvSpPr>
          <p:spPr>
            <a:xfrm>
              <a:off x="9074347" y="2323846"/>
              <a:ext cx="1595907" cy="938696"/>
            </a:xfrm>
            <a:prstGeom prst="rect">
              <a:avLst/>
            </a:prstGeom>
            <a:noFill/>
          </p:spPr>
          <p:txBody>
            <a:bodyPr wrap="none" lIns="121899" tIns="60949" rIns="121899" bIns="60949" rtlCol="0">
              <a:spAutoFit/>
            </a:bodyPr>
            <a:lstStyle>
              <a:defPPr>
                <a:defRPr lang="en-US"/>
              </a:defPPr>
              <a:lvl1pPr>
                <a:defRPr sz="5300">
                  <a:solidFill>
                    <a:schemeClr val="accent2">
                      <a:alpha val="99000"/>
                    </a:schemeClr>
                  </a:solidFill>
                  <a:latin typeface="Segoe" pitchFamily="34" charset="0"/>
                </a:defRPr>
              </a:lvl1pPr>
            </a:lstStyle>
            <a:p>
              <a:r>
                <a:rPr lang="en-US" dirty="0" err="1" smtClean="0">
                  <a:latin typeface="Segoe UI Light" pitchFamily="34" charset="0"/>
                </a:rPr>
                <a:t>SaaS</a:t>
              </a:r>
              <a:endParaRPr lang="en-US" dirty="0">
                <a:latin typeface="Segoe UI Light" pitchFamily="34" charset="0"/>
              </a:endParaRPr>
            </a:p>
          </p:txBody>
        </p:sp>
      </p:grpSp>
      <p:sp>
        <p:nvSpPr>
          <p:cNvPr id="41" name="Rectangle 40"/>
          <p:cNvSpPr/>
          <p:nvPr/>
        </p:nvSpPr>
        <p:spPr bwMode="auto">
          <a:xfrm>
            <a:off x="4354964" y="405690"/>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8" name="Group 7"/>
          <p:cNvGrpSpPr/>
          <p:nvPr/>
        </p:nvGrpSpPr>
        <p:grpSpPr>
          <a:xfrm>
            <a:off x="4587931" y="979229"/>
            <a:ext cx="3333264" cy="2508314"/>
            <a:chOff x="4468713" y="979229"/>
            <a:chExt cx="3333264" cy="2508314"/>
          </a:xfrm>
        </p:grpSpPr>
        <p:pic>
          <p:nvPicPr>
            <p:cNvPr id="31" name="Picture 30"/>
            <p:cNvPicPr>
              <a:picLocks noChangeAspect="1"/>
            </p:cNvPicPr>
            <p:nvPr/>
          </p:nvPicPr>
          <p:blipFill>
            <a:blip r:embed="rId5" cstate="email">
              <a:extLst>
                <a:ext uri="{BEBA8EAE-BF5A-486C-A8C5-ECC9F3942E4B}">
                  <a14:imgProps xmlns:a14="http://schemas.microsoft.com/office/drawing/2010/main">
                    <a14:imgLayer r:embed="rId6">
                      <a14:imgEffect>
                        <a14:brightnessContrast bright="-40000"/>
                      </a14:imgEffect>
                    </a14:imgLayer>
                  </a14:imgProps>
                </a:ext>
                <a:ext uri="{28A0092B-C50C-407E-A947-70E740481C1C}">
                  <a14:useLocalDpi xmlns:a14="http://schemas.microsoft.com/office/drawing/2010/main"/>
                </a:ext>
              </a:extLst>
            </a:blip>
            <a:stretch>
              <a:fillRect/>
            </a:stretch>
          </p:blipFill>
          <p:spPr>
            <a:xfrm>
              <a:off x="5456710" y="979229"/>
              <a:ext cx="1284299" cy="1176630"/>
            </a:xfrm>
            <a:prstGeom prst="rect">
              <a:avLst/>
            </a:prstGeom>
          </p:spPr>
        </p:pic>
        <p:sp>
          <p:nvSpPr>
            <p:cNvPr id="32" name="Rectangle 31"/>
            <p:cNvSpPr/>
            <p:nvPr/>
          </p:nvSpPr>
          <p:spPr>
            <a:xfrm>
              <a:off x="4468713" y="3118211"/>
              <a:ext cx="3333264" cy="369332"/>
            </a:xfrm>
            <a:prstGeom prst="rect">
              <a:avLst/>
            </a:prstGeom>
          </p:spPr>
          <p:txBody>
            <a:bodyPr wrap="square">
              <a:spAutoFit/>
            </a:bodyPr>
            <a:lstStyle/>
            <a:p>
              <a:pPr algn="ctr" defTabSz="1218673">
                <a:lnSpc>
                  <a:spcPct val="90000"/>
                </a:lnSpc>
              </a:pPr>
              <a:r>
                <a:rPr lang="en-US" sz="2000" dirty="0">
                  <a:solidFill>
                    <a:schemeClr val="bg2">
                      <a:lumMod val="50000"/>
                      <a:alpha val="99000"/>
                    </a:schemeClr>
                  </a:solidFill>
                </a:rPr>
                <a:t>Platform-as-a-Service</a:t>
              </a:r>
            </a:p>
          </p:txBody>
        </p:sp>
        <p:sp>
          <p:nvSpPr>
            <p:cNvPr id="30" name="TextBox 29"/>
            <p:cNvSpPr txBox="1"/>
            <p:nvPr/>
          </p:nvSpPr>
          <p:spPr>
            <a:xfrm>
              <a:off x="5305776" y="2310196"/>
              <a:ext cx="1594753" cy="938696"/>
            </a:xfrm>
            <a:prstGeom prst="rect">
              <a:avLst/>
            </a:prstGeom>
            <a:noFill/>
          </p:spPr>
          <p:txBody>
            <a:bodyPr wrap="none" lIns="121899" tIns="60949" rIns="121899" bIns="60949" rtlCol="0">
              <a:spAutoFit/>
            </a:bodyPr>
            <a:lstStyle>
              <a:defPPr>
                <a:defRPr lang="en-US"/>
              </a:defPPr>
              <a:lvl1pPr>
                <a:defRPr sz="5300">
                  <a:solidFill>
                    <a:schemeClr val="accent2">
                      <a:alpha val="99000"/>
                    </a:schemeClr>
                  </a:solidFill>
                  <a:latin typeface="Segoe" pitchFamily="34" charset="0"/>
                </a:defRPr>
              </a:lvl1pPr>
            </a:lstStyle>
            <a:p>
              <a:r>
                <a:rPr lang="en-US" dirty="0" err="1" smtClean="0">
                  <a:latin typeface="Segoe UI Light" pitchFamily="34" charset="0"/>
                </a:rPr>
                <a:t>PaaS</a:t>
              </a:r>
              <a:endParaRPr lang="en-US" dirty="0">
                <a:latin typeface="Segoe UI Light" pitchFamily="34" charset="0"/>
              </a:endParaRPr>
            </a:p>
          </p:txBody>
        </p:sp>
      </p:grpSp>
      <p:sp>
        <p:nvSpPr>
          <p:cNvPr id="39" name="Rectangle 38"/>
          <p:cNvSpPr/>
          <p:nvPr/>
        </p:nvSpPr>
        <p:spPr bwMode="auto">
          <a:xfrm>
            <a:off x="556075" y="405690"/>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5" name="Group 4"/>
          <p:cNvGrpSpPr/>
          <p:nvPr/>
        </p:nvGrpSpPr>
        <p:grpSpPr>
          <a:xfrm>
            <a:off x="556075" y="3674634"/>
            <a:ext cx="11158538" cy="718080"/>
            <a:chOff x="556075" y="3674634"/>
            <a:chExt cx="11158538" cy="718080"/>
          </a:xfrm>
        </p:grpSpPr>
        <p:sp>
          <p:nvSpPr>
            <p:cNvPr id="43" name="Rectangle 42"/>
            <p:cNvSpPr/>
            <p:nvPr/>
          </p:nvSpPr>
          <p:spPr bwMode="auto">
            <a:xfrm>
              <a:off x="8153853" y="3712417"/>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3" name="TextBox 22"/>
            <p:cNvSpPr txBox="1"/>
            <p:nvPr/>
          </p:nvSpPr>
          <p:spPr>
            <a:xfrm>
              <a:off x="8190554" y="3674634"/>
              <a:ext cx="3487358" cy="692475"/>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defPPr>
                <a:defRPr lang="en-US"/>
              </a:defPPr>
              <a:lvl1pPr algn="ctr">
                <a:defRPr sz="3600">
                  <a:solidFill>
                    <a:schemeClr val="bg2">
                      <a:lumMod val="50000"/>
                      <a:alpha val="99000"/>
                    </a:schemeClr>
                  </a:solidFill>
                </a:defRPr>
              </a:lvl1pPr>
            </a:lstStyle>
            <a:p>
              <a:r>
                <a:rPr lang="en-US" dirty="0">
                  <a:solidFill>
                    <a:schemeClr val="bg1">
                      <a:alpha val="99000"/>
                    </a:schemeClr>
                  </a:solidFill>
                </a:rPr>
                <a:t>consume</a:t>
              </a:r>
            </a:p>
          </p:txBody>
        </p:sp>
        <p:sp>
          <p:nvSpPr>
            <p:cNvPr id="44" name="Rectangle 43"/>
            <p:cNvSpPr/>
            <p:nvPr/>
          </p:nvSpPr>
          <p:spPr bwMode="auto">
            <a:xfrm>
              <a:off x="4354964" y="3712417"/>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9" name="TextBox 28"/>
            <p:cNvSpPr txBox="1"/>
            <p:nvPr/>
          </p:nvSpPr>
          <p:spPr>
            <a:xfrm>
              <a:off x="4391666" y="3674634"/>
              <a:ext cx="3487356" cy="692475"/>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defPPr>
                <a:defRPr lang="en-US"/>
              </a:defPPr>
              <a:lvl1pPr algn="ctr">
                <a:defRPr sz="3600">
                  <a:solidFill>
                    <a:schemeClr val="bg2">
                      <a:lumMod val="50000"/>
                      <a:alpha val="99000"/>
                    </a:schemeClr>
                  </a:solidFill>
                </a:defRPr>
              </a:lvl1pPr>
            </a:lstStyle>
            <a:p>
              <a:r>
                <a:rPr lang="en-US" dirty="0">
                  <a:solidFill>
                    <a:schemeClr val="bg1">
                      <a:alpha val="99000"/>
                    </a:schemeClr>
                  </a:solidFill>
                </a:rPr>
                <a:t>build</a:t>
              </a:r>
            </a:p>
          </p:txBody>
        </p:sp>
        <p:sp>
          <p:nvSpPr>
            <p:cNvPr id="45" name="Rectangle 44"/>
            <p:cNvSpPr/>
            <p:nvPr/>
          </p:nvSpPr>
          <p:spPr bwMode="auto">
            <a:xfrm>
              <a:off x="556075" y="3712417"/>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5" name="TextBox 34"/>
            <p:cNvSpPr txBox="1"/>
            <p:nvPr/>
          </p:nvSpPr>
          <p:spPr>
            <a:xfrm>
              <a:off x="592776" y="3743872"/>
              <a:ext cx="3487358" cy="553998"/>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p>
              <a:pPr algn="ctr"/>
              <a:r>
                <a:rPr lang="en-US" sz="3600" dirty="0" smtClean="0">
                  <a:solidFill>
                    <a:schemeClr val="bg1">
                      <a:alpha val="99000"/>
                    </a:schemeClr>
                  </a:solidFill>
                </a:rPr>
                <a:t>host</a:t>
              </a:r>
              <a:endParaRPr lang="en-US" sz="1600" dirty="0">
                <a:solidFill>
                  <a:schemeClr val="bg1">
                    <a:alpha val="99000"/>
                  </a:schemeClr>
                </a:solidFill>
              </a:endParaRPr>
            </a:p>
          </p:txBody>
        </p:sp>
      </p:grpSp>
      <p:grpSp>
        <p:nvGrpSpPr>
          <p:cNvPr id="6" name="Group 5"/>
          <p:cNvGrpSpPr/>
          <p:nvPr/>
        </p:nvGrpSpPr>
        <p:grpSpPr>
          <a:xfrm>
            <a:off x="737957" y="1143527"/>
            <a:ext cx="3244094" cy="2344016"/>
            <a:chOff x="714408" y="1143527"/>
            <a:chExt cx="3244094" cy="2344016"/>
          </a:xfrm>
        </p:grpSpPr>
        <p:pic>
          <p:nvPicPr>
            <p:cNvPr id="37" name="Picture 36"/>
            <p:cNvPicPr>
              <a:picLocks noChangeAspect="1"/>
            </p:cNvPicPr>
            <p:nvPr/>
          </p:nvPicPr>
          <p:blipFill>
            <a:blip r:embed="rId7" cstate="email">
              <a:extLst>
                <a:ext uri="{BEBA8EAE-BF5A-486C-A8C5-ECC9F3942E4B}">
                  <a14:imgProps xmlns:a14="http://schemas.microsoft.com/office/drawing/2010/main">
                    <a14:imgLayer r:embed="rId8">
                      <a14:imgEffect>
                        <a14:brightnessContrast bright="-40000"/>
                      </a14:imgEffect>
                    </a14:imgLayer>
                  </a14:imgProps>
                </a:ext>
                <a:ext uri="{28A0092B-C50C-407E-A947-70E740481C1C}">
                  <a14:useLocalDpi xmlns:a14="http://schemas.microsoft.com/office/drawing/2010/main"/>
                </a:ext>
              </a:extLst>
            </a:blip>
            <a:stretch>
              <a:fillRect/>
            </a:stretch>
          </p:blipFill>
          <p:spPr>
            <a:xfrm>
              <a:off x="1406639" y="1143527"/>
              <a:ext cx="1859633" cy="1027297"/>
            </a:xfrm>
            <a:prstGeom prst="rect">
              <a:avLst/>
            </a:prstGeom>
            <a:noFill/>
            <a:ln>
              <a:noFill/>
            </a:ln>
          </p:spPr>
        </p:pic>
        <p:sp>
          <p:nvSpPr>
            <p:cNvPr id="38" name="Rectangle 37"/>
            <p:cNvSpPr/>
            <p:nvPr/>
          </p:nvSpPr>
          <p:spPr>
            <a:xfrm>
              <a:off x="714408" y="3118211"/>
              <a:ext cx="3244094" cy="369332"/>
            </a:xfrm>
            <a:prstGeom prst="rect">
              <a:avLst/>
            </a:prstGeom>
          </p:spPr>
          <p:txBody>
            <a:bodyPr wrap="square">
              <a:spAutoFit/>
            </a:bodyPr>
            <a:lstStyle/>
            <a:p>
              <a:pPr algn="ctr" defTabSz="1218673">
                <a:lnSpc>
                  <a:spcPct val="90000"/>
                </a:lnSpc>
              </a:pPr>
              <a:r>
                <a:rPr lang="en-US" sz="2000" dirty="0">
                  <a:solidFill>
                    <a:schemeClr val="bg2">
                      <a:lumMod val="50000"/>
                      <a:alpha val="99000"/>
                    </a:schemeClr>
                  </a:solidFill>
                </a:rPr>
                <a:t>Infrastructure-as-a-Service</a:t>
              </a:r>
            </a:p>
          </p:txBody>
        </p:sp>
        <p:sp>
          <p:nvSpPr>
            <p:cNvPr id="36" name="TextBox 35"/>
            <p:cNvSpPr txBox="1"/>
            <p:nvPr/>
          </p:nvSpPr>
          <p:spPr>
            <a:xfrm>
              <a:off x="1605356" y="2296547"/>
              <a:ext cx="1411562" cy="938696"/>
            </a:xfrm>
            <a:prstGeom prst="rect">
              <a:avLst/>
            </a:prstGeom>
            <a:noFill/>
          </p:spPr>
          <p:txBody>
            <a:bodyPr wrap="none" lIns="121899" tIns="60949" rIns="121899" bIns="60949" rtlCol="0">
              <a:spAutoFit/>
            </a:bodyPr>
            <a:lstStyle/>
            <a:p>
              <a:r>
                <a:rPr lang="en-US" sz="5300" dirty="0" err="1" smtClean="0">
                  <a:solidFill>
                    <a:schemeClr val="accent2">
                      <a:alpha val="99000"/>
                    </a:schemeClr>
                  </a:solidFill>
                  <a:latin typeface="Segoe UI Light" pitchFamily="34" charset="0"/>
                </a:rPr>
                <a:t>IaaS</a:t>
              </a:r>
              <a:endParaRPr lang="en-US" sz="5300" dirty="0">
                <a:solidFill>
                  <a:schemeClr val="accent2">
                    <a:alpha val="99000"/>
                  </a:schemeClr>
                </a:solidFill>
                <a:latin typeface="Segoe UI Light" pitchFamily="34" charset="0"/>
              </a:endParaRPr>
            </a:p>
          </p:txBody>
        </p:sp>
      </p:grpSp>
      <p:sp>
        <p:nvSpPr>
          <p:cNvPr id="4" name="Left Arrow 3"/>
          <p:cNvSpPr/>
          <p:nvPr/>
        </p:nvSpPr>
        <p:spPr bwMode="auto">
          <a:xfrm>
            <a:off x="556075" y="5023104"/>
            <a:ext cx="5686229" cy="963168"/>
          </a:xfrm>
          <a:prstGeom prst="lef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More Control</a:t>
            </a:r>
          </a:p>
        </p:txBody>
      </p:sp>
      <p:sp>
        <p:nvSpPr>
          <p:cNvPr id="10" name="Right Arrow 9"/>
          <p:cNvSpPr/>
          <p:nvPr/>
        </p:nvSpPr>
        <p:spPr bwMode="auto">
          <a:xfrm>
            <a:off x="6242304" y="5023104"/>
            <a:ext cx="5472309" cy="96316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More Freedom</a:t>
            </a:r>
          </a:p>
        </p:txBody>
      </p:sp>
    </p:spTree>
    <p:extLst>
      <p:ext uri="{BB962C8B-B14F-4D97-AF65-F5344CB8AC3E}">
        <p14:creationId xmlns:p14="http://schemas.microsoft.com/office/powerpoint/2010/main" val="12530428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5"/>
                                        </p:tgtEl>
                                      </p:cBhvr>
                                    </p:animEffect>
                                    <p:set>
                                      <p:cBhvr>
                                        <p:cTn id="7" dur="1" fill="hold">
                                          <p:stCondLst>
                                            <p:cond delay="499"/>
                                          </p:stCondLst>
                                        </p:cTn>
                                        <p:tgtEl>
                                          <p:spTgt spid="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t>The Benefits of PaaS</a:t>
            </a:r>
            <a:br>
              <a:rPr lang="en-US" sz="5400" dirty="0" smtClean="0"/>
            </a:br>
            <a:endParaRPr lang="en-US" sz="2800" dirty="0">
              <a:solidFill>
                <a:schemeClr val="accent1"/>
              </a:solidFill>
            </a:endParaRPr>
          </a:p>
        </p:txBody>
      </p:sp>
      <p:sp>
        <p:nvSpPr>
          <p:cNvPr id="4" name="Rectangle 3"/>
          <p:cNvSpPr/>
          <p:nvPr/>
        </p:nvSpPr>
        <p:spPr bwMode="auto">
          <a:xfrm>
            <a:off x="1988528" y="1651472"/>
            <a:ext cx="9489286" cy="3950475"/>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36" tIns="60936" rIns="60936" bIns="60936" numCol="1" spcCol="0" rtlCol="0" fromWordArt="0" anchor="ctr" anchorCtr="0" forceAA="0" compatLnSpc="1">
            <a:prstTxWarp prst="textNoShape">
              <a:avLst/>
            </a:prstTxWarp>
            <a:noAutofit/>
          </a:bodyPr>
          <a:lstStyle/>
          <a:p>
            <a:pPr algn="ctr" defTabSz="1218342" fontAlgn="base">
              <a:spcBef>
                <a:spcPct val="0"/>
              </a:spcBef>
              <a:spcAft>
                <a:spcPct val="0"/>
              </a:spcAft>
            </a:pPr>
            <a:endParaRPr lang="en-US" sz="2533"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670024" y="1651474"/>
            <a:ext cx="1318509" cy="131850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1218342" fontAlgn="base">
              <a:spcBef>
                <a:spcPct val="0"/>
              </a:spcBef>
              <a:spcAft>
                <a:spcPct val="0"/>
              </a:spcAft>
            </a:pPr>
            <a:endParaRPr lang="en-US" sz="253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670024" y="2964932"/>
            <a:ext cx="1318509" cy="1318509"/>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1218342" fontAlgn="base">
              <a:spcBef>
                <a:spcPct val="0"/>
              </a:spcBef>
              <a:spcAft>
                <a:spcPct val="0"/>
              </a:spcAft>
            </a:pPr>
            <a:endParaRPr lang="en-US" sz="2533"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670024" y="4283441"/>
            <a:ext cx="1318509" cy="1318509"/>
          </a:xfrm>
          <a:prstGeom prst="rect">
            <a:avLst/>
          </a:pr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1218342" fontAlgn="base">
              <a:spcBef>
                <a:spcPct val="0"/>
              </a:spcBef>
              <a:spcAft>
                <a:spcPct val="0"/>
              </a:spcAft>
            </a:pPr>
            <a:endParaRPr lang="en-US" sz="2533" dirty="0">
              <a:gradFill>
                <a:gsLst>
                  <a:gs pos="0">
                    <a:srgbClr val="FFFFFF"/>
                  </a:gs>
                  <a:gs pos="100000">
                    <a:srgbClr val="FFFFFF"/>
                  </a:gs>
                </a:gsLst>
                <a:lin ang="5400000" scaled="0"/>
              </a:gradFill>
              <a:ea typeface="Segoe UI" pitchFamily="34" charset="0"/>
              <a:cs typeface="Segoe UI" pitchFamily="34" charset="0"/>
            </a:endParaRPr>
          </a:p>
        </p:txBody>
      </p:sp>
      <p:sp>
        <p:nvSpPr>
          <p:cNvPr id="13" name="Text Placeholder 3"/>
          <p:cNvSpPr txBox="1">
            <a:spLocks/>
          </p:cNvSpPr>
          <p:nvPr/>
        </p:nvSpPr>
        <p:spPr>
          <a:xfrm>
            <a:off x="2220117" y="2971571"/>
            <a:ext cx="10244414" cy="1230786"/>
          </a:xfrm>
          <a:prstGeom prst="rect">
            <a:avLst/>
          </a:prstGeom>
        </p:spPr>
        <p:txBody>
          <a:bodyPr vert="horz"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4"/>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4"/>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4"/>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lvl="1">
              <a:lnSpc>
                <a:spcPct val="100000"/>
              </a:lnSpc>
            </a:pPr>
            <a:r>
              <a:rPr lang="en-US" sz="3732" dirty="0" smtClean="0">
                <a:solidFill>
                  <a:srgbClr val="8CC600">
                    <a:alpha val="99000"/>
                  </a:srgbClr>
                </a:solidFill>
                <a:latin typeface="Segoe UI Light"/>
              </a:rPr>
              <a:t>PaaS </a:t>
            </a:r>
            <a:r>
              <a:rPr lang="en-US" sz="3732" dirty="0">
                <a:solidFill>
                  <a:srgbClr val="8CC600">
                    <a:alpha val="99000"/>
                  </a:srgbClr>
                </a:solidFill>
                <a:latin typeface="Segoe UI Light"/>
              </a:rPr>
              <a:t>is cheaper</a:t>
            </a:r>
          </a:p>
          <a:p>
            <a:pPr marL="3174" lvl="1">
              <a:lnSpc>
                <a:spcPct val="100000"/>
              </a:lnSpc>
            </a:pPr>
            <a:r>
              <a:rPr lang="en-US" sz="2133" dirty="0">
                <a:solidFill>
                  <a:srgbClr val="5F5F5F">
                    <a:alpha val="99000"/>
                  </a:srgbClr>
                </a:solidFill>
              </a:rPr>
              <a:t>Reason: </a:t>
            </a:r>
            <a:r>
              <a:rPr lang="en-US" sz="2133" dirty="0">
                <a:solidFill>
                  <a:srgbClr val="5F5F5F">
                    <a:lumMod val="65000"/>
                    <a:alpha val="99000"/>
                  </a:srgbClr>
                </a:solidFill>
              </a:rPr>
              <a:t>There’s less admin and management work to do</a:t>
            </a:r>
          </a:p>
          <a:p>
            <a:pPr marL="3174" lvl="1">
              <a:lnSpc>
                <a:spcPct val="100000"/>
              </a:lnSpc>
            </a:pPr>
            <a:r>
              <a:rPr lang="en-US" sz="2133" dirty="0">
                <a:solidFill>
                  <a:srgbClr val="5F5F5F">
                    <a:alpha val="99000"/>
                  </a:srgbClr>
                </a:solidFill>
              </a:rPr>
              <a:t>Benefit: </a:t>
            </a:r>
            <a:r>
              <a:rPr lang="en-US" sz="2133" dirty="0">
                <a:solidFill>
                  <a:srgbClr val="5F5F5F">
                    <a:lumMod val="65000"/>
                    <a:alpha val="99000"/>
                  </a:srgbClr>
                </a:solidFill>
              </a:rPr>
              <a:t>Organizations spend less supporting applications</a:t>
            </a:r>
          </a:p>
        </p:txBody>
      </p:sp>
      <p:sp>
        <p:nvSpPr>
          <p:cNvPr id="14" name="Text Placeholder 3"/>
          <p:cNvSpPr txBox="1">
            <a:spLocks/>
          </p:cNvSpPr>
          <p:nvPr/>
        </p:nvSpPr>
        <p:spPr>
          <a:xfrm>
            <a:off x="2220117" y="1700339"/>
            <a:ext cx="10244414" cy="1230786"/>
          </a:xfrm>
          <a:prstGeom prst="rect">
            <a:avLst/>
          </a:prstGeom>
        </p:spPr>
        <p:txBody>
          <a:bodyPr vert="horz"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4"/>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4"/>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4"/>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nSpc>
                <a:spcPct val="100000"/>
              </a:lnSpc>
              <a:spcAft>
                <a:spcPts val="0"/>
              </a:spcAft>
            </a:pPr>
            <a:r>
              <a:rPr lang="en-US" sz="3732" dirty="0">
                <a:solidFill>
                  <a:srgbClr val="8CC600">
                    <a:alpha val="99000"/>
                  </a:srgbClr>
                </a:solidFill>
                <a:latin typeface="Segoe UI Light"/>
              </a:rPr>
              <a:t>PaaS is faster</a:t>
            </a:r>
          </a:p>
          <a:p>
            <a:pPr marL="3174" lvl="1">
              <a:lnSpc>
                <a:spcPct val="100000"/>
              </a:lnSpc>
            </a:pPr>
            <a:r>
              <a:rPr lang="en-US" sz="2133" dirty="0">
                <a:solidFill>
                  <a:srgbClr val="5F5F5F">
                    <a:alpha val="99000"/>
                  </a:srgbClr>
                </a:solidFill>
              </a:rPr>
              <a:t>Reason: </a:t>
            </a:r>
            <a:r>
              <a:rPr lang="en-US" sz="2133" dirty="0">
                <a:solidFill>
                  <a:srgbClr val="5F5F5F">
                    <a:lumMod val="65000"/>
                    <a:alpha val="99000"/>
                  </a:srgbClr>
                </a:solidFill>
              </a:rPr>
              <a:t>There’s less work for developers to do</a:t>
            </a:r>
          </a:p>
          <a:p>
            <a:pPr marL="3174" lvl="1">
              <a:lnSpc>
                <a:spcPct val="100000"/>
              </a:lnSpc>
            </a:pPr>
            <a:r>
              <a:rPr lang="en-US" sz="2133" dirty="0">
                <a:solidFill>
                  <a:srgbClr val="5F5F5F">
                    <a:alpha val="99000"/>
                  </a:srgbClr>
                </a:solidFill>
              </a:rPr>
              <a:t>Benefit: </a:t>
            </a:r>
            <a:r>
              <a:rPr lang="en-US" sz="2133" dirty="0">
                <a:solidFill>
                  <a:srgbClr val="5F5F5F">
                    <a:lumMod val="65000"/>
                    <a:alpha val="99000"/>
                  </a:srgbClr>
                </a:solidFill>
              </a:rPr>
              <a:t>Applications can go from idea to availability more quickly</a:t>
            </a:r>
          </a:p>
        </p:txBody>
      </p:sp>
      <p:sp>
        <p:nvSpPr>
          <p:cNvPr id="15" name="Freeform 125"/>
          <p:cNvSpPr>
            <a:spLocks noEditPoints="1"/>
          </p:cNvSpPr>
          <p:nvPr/>
        </p:nvSpPr>
        <p:spPr bwMode="black">
          <a:xfrm>
            <a:off x="974643" y="1830940"/>
            <a:ext cx="672348" cy="925792"/>
          </a:xfrm>
          <a:custGeom>
            <a:avLst/>
            <a:gdLst>
              <a:gd name="T0" fmla="*/ 447 w 867"/>
              <a:gd name="T1" fmla="*/ 1019 h 1194"/>
              <a:gd name="T2" fmla="*/ 494 w 867"/>
              <a:gd name="T3" fmla="*/ 180 h 1194"/>
              <a:gd name="T4" fmla="*/ 292 w 867"/>
              <a:gd name="T5" fmla="*/ 541 h 1194"/>
              <a:gd name="T6" fmla="*/ 433 w 867"/>
              <a:gd name="T7" fmla="*/ 408 h 1194"/>
              <a:gd name="T8" fmla="*/ 413 w 867"/>
              <a:gd name="T9" fmla="*/ 804 h 1194"/>
              <a:gd name="T10" fmla="*/ 174 w 867"/>
              <a:gd name="T11" fmla="*/ 773 h 1194"/>
              <a:gd name="T12" fmla="*/ 552 w 867"/>
              <a:gd name="T13" fmla="*/ 528 h 1194"/>
              <a:gd name="T14" fmla="*/ 277 w 867"/>
              <a:gd name="T15" fmla="*/ 1057 h 1194"/>
              <a:gd name="T16" fmla="*/ 693 w 867"/>
              <a:gd name="T17" fmla="*/ 773 h 1194"/>
              <a:gd name="T18" fmla="*/ 447 w 867"/>
              <a:gd name="T19" fmla="*/ 1019 h 1194"/>
              <a:gd name="T20" fmla="*/ 447 w 867"/>
              <a:gd name="T21" fmla="*/ 500 h 1194"/>
              <a:gd name="T22" fmla="*/ 552 w 867"/>
              <a:gd name="T23" fmla="*/ 991 h 1194"/>
              <a:gd name="T24" fmla="*/ 202 w 867"/>
              <a:gd name="T25" fmla="*/ 641 h 1194"/>
              <a:gd name="T26" fmla="*/ 717 w 867"/>
              <a:gd name="T27" fmla="*/ 939 h 1194"/>
              <a:gd name="T28" fmla="*/ 315 w 867"/>
              <a:gd name="T29" fmla="*/ 528 h 1194"/>
              <a:gd name="T30" fmla="*/ 665 w 867"/>
              <a:gd name="T31" fmla="*/ 641 h 1194"/>
              <a:gd name="T32" fmla="*/ 432 w 867"/>
              <a:gd name="T33" fmla="*/ 517 h 1194"/>
              <a:gd name="T34" fmla="*/ 150 w 867"/>
              <a:gd name="T35" fmla="*/ 939 h 1194"/>
              <a:gd name="T36" fmla="*/ 575 w 867"/>
              <a:gd name="T37" fmla="*/ 541 h 1194"/>
              <a:gd name="T38" fmla="*/ 315 w 867"/>
              <a:gd name="T39" fmla="*/ 991 h 1194"/>
              <a:gd name="T40" fmla="*/ 433 w 867"/>
              <a:gd name="T41" fmla="*/ 1112 h 1194"/>
              <a:gd name="T42" fmla="*/ 457 w 867"/>
              <a:gd name="T43" fmla="*/ 847 h 1194"/>
              <a:gd name="T44" fmla="*/ 98 w 867"/>
              <a:gd name="T45" fmla="*/ 747 h 1194"/>
              <a:gd name="T46" fmla="*/ 590 w 867"/>
              <a:gd name="T47" fmla="*/ 1057 h 1194"/>
              <a:gd name="T48" fmla="*/ 215 w 867"/>
              <a:gd name="T49" fmla="*/ 619 h 1194"/>
              <a:gd name="T50" fmla="*/ 769 w 867"/>
              <a:gd name="T51" fmla="*/ 747 h 1194"/>
              <a:gd name="T52" fmla="*/ 420 w 867"/>
              <a:gd name="T53" fmla="*/ 1095 h 1194"/>
              <a:gd name="T54" fmla="*/ 420 w 867"/>
              <a:gd name="T55" fmla="*/ 425 h 1194"/>
              <a:gd name="T56" fmla="*/ 454 w 867"/>
              <a:gd name="T57" fmla="*/ 804 h 1194"/>
              <a:gd name="T58" fmla="*/ 215 w 867"/>
              <a:gd name="T59" fmla="*/ 901 h 1194"/>
              <a:gd name="T60" fmla="*/ 665 w 867"/>
              <a:gd name="T61" fmla="*/ 878 h 1194"/>
              <a:gd name="T62" fmla="*/ 255 w 867"/>
              <a:gd name="T63" fmla="*/ 476 h 1194"/>
              <a:gd name="T64" fmla="*/ 433 w 867"/>
              <a:gd name="T65" fmla="*/ 1155 h 1194"/>
              <a:gd name="T66" fmla="*/ 292 w 867"/>
              <a:gd name="T67" fmla="*/ 541 h 1194"/>
              <a:gd name="T68" fmla="*/ 652 w 867"/>
              <a:gd name="T69" fmla="*/ 619 h 1194"/>
              <a:gd name="T70" fmla="*/ 447 w 867"/>
              <a:gd name="T71" fmla="*/ 713 h 1194"/>
              <a:gd name="T72" fmla="*/ 137 w 867"/>
              <a:gd name="T73" fmla="*/ 916 h 1194"/>
              <a:gd name="T74" fmla="*/ 717 w 867"/>
              <a:gd name="T75" fmla="*/ 939 h 1194"/>
              <a:gd name="T76" fmla="*/ 277 w 867"/>
              <a:gd name="T77" fmla="*/ 1057 h 1194"/>
              <a:gd name="T78" fmla="*/ 786 w 867"/>
              <a:gd name="T79" fmla="*/ 760 h 1194"/>
              <a:gd name="T80" fmla="*/ 410 w 867"/>
              <a:gd name="T81" fmla="*/ 847 h 1194"/>
              <a:gd name="T82" fmla="*/ 174 w 867"/>
              <a:gd name="T83" fmla="*/ 747 h 1194"/>
              <a:gd name="T84" fmla="*/ 575 w 867"/>
              <a:gd name="T85" fmla="*/ 541 h 1194"/>
              <a:gd name="T86" fmla="*/ 202 w 867"/>
              <a:gd name="T87" fmla="*/ 641 h 1194"/>
              <a:gd name="T88" fmla="*/ 769 w 867"/>
              <a:gd name="T89" fmla="*/ 773 h 1194"/>
              <a:gd name="T90" fmla="*/ 420 w 867"/>
              <a:gd name="T91" fmla="*/ 1019 h 1194"/>
              <a:gd name="T92" fmla="*/ 447 w 867"/>
              <a:gd name="T93" fmla="*/ 425 h 1194"/>
              <a:gd name="T94" fmla="*/ 590 w 867"/>
              <a:gd name="T95" fmla="*/ 1057 h 1194"/>
              <a:gd name="T96" fmla="*/ 150 w 867"/>
              <a:gd name="T97" fmla="*/ 939 h 1194"/>
              <a:gd name="T98" fmla="*/ 730 w 867"/>
              <a:gd name="T99" fmla="*/ 916 h 1194"/>
              <a:gd name="T100" fmla="*/ 277 w 867"/>
              <a:gd name="T101" fmla="*/ 463 h 1194"/>
              <a:gd name="T102" fmla="*/ 730 w 867"/>
              <a:gd name="T103" fmla="*/ 603 h 1194"/>
              <a:gd name="T104" fmla="*/ 419 w 867"/>
              <a:gd name="T105" fmla="*/ 713 h 1194"/>
              <a:gd name="T106" fmla="*/ 98 w 867"/>
              <a:gd name="T107" fmla="*/ 747 h 1194"/>
              <a:gd name="T108" fmla="*/ 612 w 867"/>
              <a:gd name="T109" fmla="*/ 476 h 1194"/>
              <a:gd name="T110" fmla="*/ 292 w 867"/>
              <a:gd name="T111" fmla="*/ 978 h 1194"/>
              <a:gd name="T112" fmla="*/ 81 w 867"/>
              <a:gd name="T113" fmla="*/ 760 h 1194"/>
              <a:gd name="T114" fmla="*/ 454 w 867"/>
              <a:gd name="T115" fmla="*/ 804 h 1194"/>
              <a:gd name="T116" fmla="*/ 420 w 867"/>
              <a:gd name="T117" fmla="*/ 425 h 1194"/>
              <a:gd name="T118" fmla="*/ 612 w 867"/>
              <a:gd name="T119" fmla="*/ 1043 h 1194"/>
              <a:gd name="T120" fmla="*/ 150 w 867"/>
              <a:gd name="T121" fmla="*/ 581 h 1194"/>
              <a:gd name="T122" fmla="*/ 693 w 867"/>
              <a:gd name="T123" fmla="*/ 747 h 1194"/>
              <a:gd name="T124" fmla="*/ 447 w 867"/>
              <a:gd name="T125" fmla="*/ 1095 h 1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7" h="1194">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398" y="135"/>
                </a:moveTo>
                <a:cubicBezTo>
                  <a:pt x="398" y="290"/>
                  <a:pt x="398" y="290"/>
                  <a:pt x="398" y="290"/>
                </a:cubicBezTo>
                <a:cubicBezTo>
                  <a:pt x="469" y="290"/>
                  <a:pt x="469" y="290"/>
                  <a:pt x="469" y="290"/>
                </a:cubicBezTo>
                <a:cubicBezTo>
                  <a:pt x="469" y="135"/>
                  <a:pt x="469" y="135"/>
                  <a:pt x="469" y="135"/>
                </a:cubicBezTo>
                <a:lnTo>
                  <a:pt x="398" y="135"/>
                </a:lnTo>
                <a:close/>
                <a:moveTo>
                  <a:pt x="433" y="0"/>
                </a:moveTo>
                <a:cubicBezTo>
                  <a:pt x="368" y="0"/>
                  <a:pt x="314" y="54"/>
                  <a:pt x="314" y="119"/>
                </a:cubicBezTo>
                <a:cubicBezTo>
                  <a:pt x="314" y="163"/>
                  <a:pt x="338" y="201"/>
                  <a:pt x="373" y="222"/>
                </a:cubicBezTo>
                <a:cubicBezTo>
                  <a:pt x="373" y="180"/>
                  <a:pt x="373" y="180"/>
                  <a:pt x="373" y="180"/>
                </a:cubicBezTo>
                <a:cubicBezTo>
                  <a:pt x="357" y="164"/>
                  <a:pt x="348" y="143"/>
                  <a:pt x="348" y="119"/>
                </a:cubicBezTo>
                <a:cubicBezTo>
                  <a:pt x="348" y="72"/>
                  <a:pt x="386" y="34"/>
                  <a:pt x="433" y="34"/>
                </a:cubicBezTo>
                <a:cubicBezTo>
                  <a:pt x="481" y="34"/>
                  <a:pt x="519" y="72"/>
                  <a:pt x="519" y="119"/>
                </a:cubicBezTo>
                <a:cubicBezTo>
                  <a:pt x="519" y="143"/>
                  <a:pt x="510" y="164"/>
                  <a:pt x="494" y="180"/>
                </a:cubicBezTo>
                <a:cubicBezTo>
                  <a:pt x="494" y="222"/>
                  <a:pt x="494" y="222"/>
                  <a:pt x="494" y="222"/>
                </a:cubicBezTo>
                <a:cubicBezTo>
                  <a:pt x="529" y="201"/>
                  <a:pt x="553" y="163"/>
                  <a:pt x="553" y="119"/>
                </a:cubicBezTo>
                <a:cubicBezTo>
                  <a:pt x="553" y="54"/>
                  <a:pt x="499" y="0"/>
                  <a:pt x="433" y="0"/>
                </a:cubicBezTo>
                <a:close/>
                <a:moveTo>
                  <a:pt x="725" y="277"/>
                </a:moveTo>
                <a:cubicBezTo>
                  <a:pt x="672" y="353"/>
                  <a:pt x="672" y="353"/>
                  <a:pt x="672" y="353"/>
                </a:cubicBezTo>
                <a:cubicBezTo>
                  <a:pt x="730" y="393"/>
                  <a:pt x="730" y="393"/>
                  <a:pt x="730" y="393"/>
                </a:cubicBezTo>
                <a:cubicBezTo>
                  <a:pt x="783" y="317"/>
                  <a:pt x="783" y="317"/>
                  <a:pt x="783" y="317"/>
                </a:cubicBezTo>
                <a:lnTo>
                  <a:pt x="725" y="277"/>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326"/>
                </a:moveTo>
                <a:cubicBezTo>
                  <a:pt x="195" y="326"/>
                  <a:pt x="0" y="521"/>
                  <a:pt x="0" y="760"/>
                </a:cubicBezTo>
                <a:cubicBezTo>
                  <a:pt x="0" y="999"/>
                  <a:pt x="195" y="1194"/>
                  <a:pt x="433" y="1194"/>
                </a:cubicBezTo>
                <a:cubicBezTo>
                  <a:pt x="672" y="1194"/>
                  <a:pt x="867" y="999"/>
                  <a:pt x="867" y="760"/>
                </a:cubicBezTo>
                <a:cubicBezTo>
                  <a:pt x="867" y="521"/>
                  <a:pt x="672" y="326"/>
                  <a:pt x="433" y="326"/>
                </a:cubicBezTo>
                <a:close/>
                <a:moveTo>
                  <a:pt x="433" y="1155"/>
                </a:moveTo>
                <a:cubicBezTo>
                  <a:pt x="216" y="1155"/>
                  <a:pt x="39" y="977"/>
                  <a:pt x="39" y="760"/>
                </a:cubicBezTo>
                <a:cubicBezTo>
                  <a:pt x="39" y="542"/>
                  <a:pt x="216" y="365"/>
                  <a:pt x="433" y="365"/>
                </a:cubicBezTo>
                <a:cubicBezTo>
                  <a:pt x="651" y="365"/>
                  <a:pt x="828" y="542"/>
                  <a:pt x="828" y="760"/>
                </a:cubicBezTo>
                <a:cubicBezTo>
                  <a:pt x="828" y="977"/>
                  <a:pt x="651" y="1155"/>
                  <a:pt x="433" y="1155"/>
                </a:cubicBez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72" tIns="60936" rIns="121872" bIns="60936" numCol="1" anchor="t" anchorCtr="0" compatLnSpc="1">
            <a:prstTxWarp prst="textNoShape">
              <a:avLst/>
            </a:prstTxWarp>
          </a:bodyPr>
          <a:lstStyle/>
          <a:p>
            <a:pPr defTabSz="1218490"/>
            <a:endParaRPr lang="en-US" sz="2533" dirty="0">
              <a:solidFill>
                <a:srgbClr val="5F5F5F"/>
              </a:solidFill>
            </a:endParaRPr>
          </a:p>
        </p:txBody>
      </p:sp>
      <p:sp>
        <p:nvSpPr>
          <p:cNvPr id="16" name="Freeform 9"/>
          <p:cNvSpPr>
            <a:spLocks noChangeAspect="1"/>
          </p:cNvSpPr>
          <p:nvPr/>
        </p:nvSpPr>
        <p:spPr bwMode="black">
          <a:xfrm>
            <a:off x="1139352" y="3261989"/>
            <a:ext cx="455143" cy="784613"/>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121872" tIns="60936" rIns="121872" bIns="60936" numCol="1" anchor="t" anchorCtr="0" compatLnSpc="1">
            <a:prstTxWarp prst="textNoShape">
              <a:avLst/>
            </a:prstTxWarp>
          </a:bodyPr>
          <a:lstStyle/>
          <a:p>
            <a:pPr defTabSz="1218490"/>
            <a:endParaRPr lang="en-US" sz="2533" dirty="0">
              <a:solidFill>
                <a:srgbClr val="5F5F5F"/>
              </a:solidFill>
            </a:endParaRPr>
          </a:p>
        </p:txBody>
      </p:sp>
      <p:sp>
        <p:nvSpPr>
          <p:cNvPr id="17" name="Freeform 164"/>
          <p:cNvSpPr>
            <a:spLocks noEditPoints="1"/>
          </p:cNvSpPr>
          <p:nvPr/>
        </p:nvSpPr>
        <p:spPr bwMode="black">
          <a:xfrm>
            <a:off x="1081916" y="4593304"/>
            <a:ext cx="530884" cy="736020"/>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09699" tIns="54848" rIns="109699" bIns="54848" numCol="1" anchor="t" anchorCtr="0" compatLnSpc="1">
            <a:prstTxWarp prst="textNoShape">
              <a:avLst/>
            </a:prstTxWarp>
          </a:bodyPr>
          <a:lstStyle/>
          <a:p>
            <a:pPr defTabSz="1218490"/>
            <a:endParaRPr lang="en-US" sz="2133" dirty="0">
              <a:solidFill>
                <a:srgbClr val="5F5F5F"/>
              </a:solidFill>
            </a:endParaRPr>
          </a:p>
        </p:txBody>
      </p:sp>
      <p:sp>
        <p:nvSpPr>
          <p:cNvPr id="18" name="Text Placeholder 3"/>
          <p:cNvSpPr txBox="1">
            <a:spLocks/>
          </p:cNvSpPr>
          <p:nvPr/>
        </p:nvSpPr>
        <p:spPr>
          <a:xfrm>
            <a:off x="2220117" y="4271826"/>
            <a:ext cx="10244414" cy="1230786"/>
          </a:xfrm>
          <a:prstGeom prst="rect">
            <a:avLst/>
          </a:prstGeom>
        </p:spPr>
        <p:txBody>
          <a:bodyPr vert="horz" lIns="0" tIns="0" rIns="0" bIns="0" rtlCol="0">
            <a:spAutoFit/>
          </a:bodyPr>
          <a:lstStyle>
            <a:lvl1pPr marL="213142" marR="0" indent="-213142" algn="l" defTabSz="685835" rtl="0" eaLnBrk="1" fontAlgn="auto" latinLnBrk="0" hangingPunct="1">
              <a:lnSpc>
                <a:spcPct val="90000"/>
              </a:lnSpc>
              <a:spcBef>
                <a:spcPct val="20000"/>
              </a:spcBef>
              <a:spcAft>
                <a:spcPts val="0"/>
              </a:spcAft>
              <a:buClrTx/>
              <a:buSzPct val="90000"/>
              <a:buFont typeface="Wingdings" pitchFamily="2" charset="2"/>
              <a:buChar char=""/>
              <a:tabLst/>
              <a:defRPr sz="3000" kern="1200" spc="-53" baseline="0">
                <a:gradFill>
                  <a:gsLst>
                    <a:gs pos="1250">
                      <a:schemeClr val="tx1"/>
                    </a:gs>
                    <a:gs pos="100000">
                      <a:schemeClr val="tx1"/>
                    </a:gs>
                  </a:gsLst>
                  <a:lin ang="5400000" scaled="0"/>
                </a:gradFill>
                <a:latin typeface="+mj-lt"/>
                <a:ea typeface="+mn-ea"/>
                <a:cs typeface="+mn-cs"/>
              </a:defRPr>
            </a:lvl1pPr>
            <a:lvl2pPr marL="388180" marR="0" indent="-175039" algn="l" defTabSz="685835"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gradFill>
                  <a:gsLst>
                    <a:gs pos="1250">
                      <a:schemeClr val="tx1"/>
                    </a:gs>
                    <a:gs pos="100000">
                      <a:schemeClr val="tx1"/>
                    </a:gs>
                  </a:gsLst>
                  <a:lin ang="5400000" scaled="0"/>
                </a:gradFill>
                <a:latin typeface="+mn-lt"/>
                <a:ea typeface="+mn-ea"/>
                <a:cs typeface="+mn-cs"/>
              </a:defRPr>
            </a:lvl2pPr>
            <a:lvl3pPr marL="556073" marR="0" indent="-167894" algn="l" defTabSz="685835"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gradFill>
                  <a:gsLst>
                    <a:gs pos="1250">
                      <a:schemeClr val="tx1"/>
                    </a:gs>
                    <a:gs pos="100000">
                      <a:schemeClr val="tx1"/>
                    </a:gs>
                  </a:gsLst>
                  <a:lin ang="5400000" scaled="0"/>
                </a:gradFill>
                <a:latin typeface="+mn-lt"/>
                <a:ea typeface="+mn-ea"/>
                <a:cs typeface="+mn-cs"/>
              </a:defRPr>
            </a:lvl3pPr>
            <a:lvl4pPr marL="685862" marR="0" indent="-129791" algn="l" defTabSz="685835"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gradFill>
                  <a:gsLst>
                    <a:gs pos="1250">
                      <a:schemeClr val="tx1"/>
                    </a:gs>
                    <a:gs pos="100000">
                      <a:schemeClr val="tx1"/>
                    </a:gs>
                  </a:gsLst>
                  <a:lin ang="5400000" scaled="0"/>
                </a:gradFill>
                <a:latin typeface="+mn-lt"/>
                <a:ea typeface="+mn-ea"/>
                <a:cs typeface="+mn-cs"/>
              </a:defRPr>
            </a:lvl4pPr>
            <a:lvl5pPr marL="815653" marR="0" indent="-129791" algn="l" defTabSz="685835"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gradFill>
                  <a:gsLst>
                    <a:gs pos="1250">
                      <a:schemeClr val="tx1"/>
                    </a:gs>
                    <a:gs pos="100000">
                      <a:schemeClr val="tx1"/>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lvl="1" indent="0">
              <a:lnSpc>
                <a:spcPct val="100000"/>
              </a:lnSpc>
              <a:buNone/>
            </a:pPr>
            <a:r>
              <a:rPr lang="en-US" sz="3732" dirty="0">
                <a:solidFill>
                  <a:srgbClr val="8CC600">
                    <a:alpha val="99000"/>
                  </a:srgbClr>
                </a:solidFill>
                <a:latin typeface="Segoe UI Light"/>
              </a:rPr>
              <a:t>PaaS is lower risk</a:t>
            </a:r>
          </a:p>
          <a:p>
            <a:pPr marL="3174" lvl="1" indent="0">
              <a:lnSpc>
                <a:spcPct val="100000"/>
              </a:lnSpc>
              <a:spcBef>
                <a:spcPts val="0"/>
              </a:spcBef>
              <a:buSzPct val="80000"/>
              <a:buNone/>
            </a:pPr>
            <a:r>
              <a:rPr lang="en-US" sz="2133" spc="-51" dirty="0">
                <a:solidFill>
                  <a:srgbClr val="5F5F5F">
                    <a:alpha val="99000"/>
                  </a:srgbClr>
                </a:solidFill>
              </a:rPr>
              <a:t>Reason: </a:t>
            </a:r>
            <a:r>
              <a:rPr lang="en-US" sz="2133" spc="-51" dirty="0">
                <a:solidFill>
                  <a:srgbClr val="5F5F5F">
                    <a:lumMod val="65000"/>
                    <a:alpha val="99000"/>
                  </a:srgbClr>
                </a:solidFill>
              </a:rPr>
              <a:t>The platform does more, leaving fewer opportunities for error</a:t>
            </a:r>
          </a:p>
          <a:p>
            <a:pPr marL="3174" lvl="1" indent="0">
              <a:lnSpc>
                <a:spcPct val="100000"/>
              </a:lnSpc>
              <a:spcBef>
                <a:spcPts val="0"/>
              </a:spcBef>
              <a:buSzPct val="80000"/>
              <a:buNone/>
            </a:pPr>
            <a:r>
              <a:rPr lang="en-US" sz="2133" spc="-51" dirty="0">
                <a:solidFill>
                  <a:srgbClr val="5F5F5F">
                    <a:alpha val="99000"/>
                  </a:srgbClr>
                </a:solidFill>
              </a:rPr>
              <a:t>Benefit: </a:t>
            </a:r>
            <a:r>
              <a:rPr lang="en-US" sz="2133" spc="-51" dirty="0">
                <a:solidFill>
                  <a:srgbClr val="5F5F5F">
                    <a:lumMod val="65000"/>
                    <a:alpha val="99000"/>
                  </a:srgbClr>
                </a:solidFill>
              </a:rPr>
              <a:t>Creating and running applications gets more reliable</a:t>
            </a:r>
          </a:p>
        </p:txBody>
      </p:sp>
    </p:spTree>
    <p:custDataLst>
      <p:tags r:id="rId1"/>
    </p:custDataLst>
    <p:extLst>
      <p:ext uri="{BB962C8B-B14F-4D97-AF65-F5344CB8AC3E}">
        <p14:creationId xmlns:p14="http://schemas.microsoft.com/office/powerpoint/2010/main" val="349141282"/>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8000" dirty="0" smtClean="0"/>
              <a:t>Connecting </a:t>
            </a:r>
            <a:br>
              <a:rPr lang="en-US" sz="8000" dirty="0" smtClean="0"/>
            </a:br>
            <a:r>
              <a:rPr lang="en-US" sz="8000" dirty="0" smtClean="0"/>
              <a:t>the Cloud </a:t>
            </a:r>
            <a:br>
              <a:rPr lang="en-US" sz="8000" dirty="0" smtClean="0"/>
            </a:br>
            <a:r>
              <a:rPr lang="en-US" sz="8000" dirty="0" smtClean="0"/>
              <a:t>to the </a:t>
            </a:r>
            <a:br>
              <a:rPr lang="en-US" sz="8000" dirty="0" smtClean="0"/>
            </a:br>
            <a:r>
              <a:rPr lang="en-US" sz="8000" dirty="0" smtClean="0"/>
              <a:t>Real world</a:t>
            </a:r>
            <a:endParaRPr lang="en-US" sz="8000" dirty="0"/>
          </a:p>
        </p:txBody>
      </p:sp>
    </p:spTree>
    <p:extLst>
      <p:ext uri="{BB962C8B-B14F-4D97-AF65-F5344CB8AC3E}">
        <p14:creationId xmlns:p14="http://schemas.microsoft.com/office/powerpoint/2010/main" val="2325389013"/>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3949200"/>
          </a:xfrm>
        </p:spPr>
        <p:txBody>
          <a:bodyPr/>
          <a:lstStyle/>
          <a:p>
            <a:r>
              <a:rPr lang="en-US" dirty="0" smtClean="0"/>
              <a:t>App Servers connecting to local data</a:t>
            </a:r>
          </a:p>
          <a:p>
            <a:r>
              <a:rPr lang="en-US" dirty="0" smtClean="0"/>
              <a:t>Nightly backups</a:t>
            </a:r>
          </a:p>
          <a:p>
            <a:r>
              <a:rPr lang="en-US" dirty="0" smtClean="0"/>
              <a:t>Integrated Authentication</a:t>
            </a:r>
          </a:p>
          <a:p>
            <a:r>
              <a:rPr lang="en-US" dirty="0" smtClean="0"/>
              <a:t>Frontend servers connecting to backend servers</a:t>
            </a:r>
          </a:p>
          <a:p>
            <a:r>
              <a:rPr lang="en-US" dirty="0" smtClean="0"/>
              <a:t>Connect remote management tools</a:t>
            </a:r>
          </a:p>
          <a:p>
            <a:r>
              <a:rPr lang="en-US" dirty="0" smtClean="0"/>
              <a:t>And many more</a:t>
            </a:r>
            <a:endParaRPr lang="en-US" dirty="0"/>
          </a:p>
        </p:txBody>
      </p:sp>
      <p:sp>
        <p:nvSpPr>
          <p:cNvPr id="3" name="Title 2"/>
          <p:cNvSpPr>
            <a:spLocks noGrp="1"/>
          </p:cNvSpPr>
          <p:nvPr>
            <p:ph type="title"/>
          </p:nvPr>
        </p:nvSpPr>
        <p:spPr/>
        <p:txBody>
          <a:bodyPr/>
          <a:lstStyle/>
          <a:p>
            <a:r>
              <a:rPr lang="en-US" dirty="0" smtClean="0"/>
              <a:t>Common Connectivity Scenarios</a:t>
            </a:r>
            <a:endParaRPr lang="en-US" dirty="0"/>
          </a:p>
        </p:txBody>
      </p:sp>
    </p:spTree>
    <p:extLst>
      <p:ext uri="{BB962C8B-B14F-4D97-AF65-F5344CB8AC3E}">
        <p14:creationId xmlns:p14="http://schemas.microsoft.com/office/powerpoint/2010/main" val="2184850755"/>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1"/>
            <a:r>
              <a:rPr lang="en-US" sz="5400" dirty="0" smtClean="0">
                <a:solidFill>
                  <a:schemeClr val="tx1"/>
                </a:solidFill>
                <a:latin typeface="Segoe UI Light" pitchFamily="34" charset="0"/>
                <a:cs typeface="Segoe UI Light" pitchFamily="34" charset="0"/>
              </a:rPr>
              <a:t>Windows Azure Virtual Network</a:t>
            </a:r>
            <a:endParaRPr lang="en-US" sz="5400" dirty="0">
              <a:solidFill>
                <a:schemeClr val="tx1"/>
              </a:solidFill>
              <a:latin typeface="Segoe UI Light" pitchFamily="34" charset="0"/>
              <a:cs typeface="Segoe UI Light" pitchFamily="34" charset="0"/>
            </a:endParaRPr>
          </a:p>
        </p:txBody>
      </p:sp>
      <p:sp>
        <p:nvSpPr>
          <p:cNvPr id="3" name="Text Placeholder 2"/>
          <p:cNvSpPr>
            <a:spLocks noGrp="1"/>
          </p:cNvSpPr>
          <p:nvPr>
            <p:ph type="body" sz="quarter" idx="4294967295"/>
          </p:nvPr>
        </p:nvSpPr>
        <p:spPr>
          <a:xfrm>
            <a:off x="330415" y="1317541"/>
            <a:ext cx="8018463" cy="5731483"/>
          </a:xfrm>
        </p:spPr>
        <p:txBody>
          <a:bodyPr/>
          <a:lstStyle/>
          <a:p>
            <a:pPr marL="0" lvl="1" indent="0">
              <a:lnSpc>
                <a:spcPct val="100000"/>
              </a:lnSpc>
              <a:buNone/>
            </a:pPr>
            <a:r>
              <a:rPr lang="en-US" sz="3822" dirty="0">
                <a:solidFill>
                  <a:schemeClr val="tx2"/>
                </a:solidFill>
                <a:latin typeface="+mj-lt"/>
              </a:rPr>
              <a:t>Persistent IP Address Requirements</a:t>
            </a:r>
          </a:p>
          <a:p>
            <a:pPr marL="336033" lvl="1" indent="-336033"/>
            <a:r>
              <a:rPr lang="en-US" sz="2000" spc="-38" dirty="0">
                <a:solidFill>
                  <a:schemeClr val="tx1">
                    <a:alpha val="99000"/>
                  </a:schemeClr>
                </a:solidFill>
              </a:rPr>
              <a:t>Virtual Machines deployed into a virtual network have an infinite DHCP lease</a:t>
            </a:r>
          </a:p>
          <a:p>
            <a:pPr lvl="1"/>
            <a:endParaRPr lang="en-US" sz="800" dirty="0">
              <a:solidFill>
                <a:schemeClr val="accent2"/>
              </a:solidFill>
              <a:latin typeface="Segoe UI Light" pitchFamily="34" charset="0"/>
              <a:cs typeface="Segoe UI Light" pitchFamily="34" charset="0"/>
            </a:endParaRPr>
          </a:p>
          <a:p>
            <a:pPr marL="0" lvl="1" indent="0">
              <a:lnSpc>
                <a:spcPct val="100000"/>
              </a:lnSpc>
              <a:buNone/>
            </a:pPr>
            <a:r>
              <a:rPr lang="en-US" sz="3822" dirty="0">
                <a:solidFill>
                  <a:schemeClr val="tx2"/>
                </a:solidFill>
                <a:latin typeface="+mj-lt"/>
              </a:rPr>
              <a:t>Hybrid On-Premises Cloud Apps</a:t>
            </a:r>
          </a:p>
          <a:p>
            <a:pPr marL="336033" lvl="1" indent="-336033"/>
            <a:r>
              <a:rPr lang="en-US" sz="2000" spc="-38" dirty="0">
                <a:solidFill>
                  <a:schemeClr val="tx1">
                    <a:alpha val="99000"/>
                  </a:schemeClr>
                </a:solidFill>
              </a:rPr>
              <a:t>Requirement for connectivity between your data center and the public cloud</a:t>
            </a:r>
          </a:p>
          <a:p>
            <a:pPr lvl="1"/>
            <a:endParaRPr lang="en-US" sz="800" dirty="0">
              <a:solidFill>
                <a:schemeClr val="accent2"/>
              </a:solidFill>
              <a:latin typeface="Segoe UI Light" pitchFamily="34" charset="0"/>
              <a:cs typeface="Segoe UI Light" pitchFamily="34" charset="0"/>
            </a:endParaRPr>
          </a:p>
          <a:p>
            <a:pPr marL="0" lvl="1" indent="0">
              <a:lnSpc>
                <a:spcPct val="100000"/>
              </a:lnSpc>
              <a:buNone/>
            </a:pPr>
            <a:r>
              <a:rPr lang="en-US" sz="3822" dirty="0">
                <a:solidFill>
                  <a:schemeClr val="tx2"/>
                </a:solidFill>
                <a:latin typeface="+mj-lt"/>
              </a:rPr>
              <a:t>Connectivity between cloud </a:t>
            </a:r>
            <a:r>
              <a:rPr lang="en-US" sz="3822" dirty="0" smtClean="0">
                <a:solidFill>
                  <a:schemeClr val="tx2"/>
                </a:solidFill>
                <a:latin typeface="+mj-lt"/>
              </a:rPr>
              <a:t>services</a:t>
            </a:r>
            <a:endParaRPr lang="en-US" sz="3822" dirty="0">
              <a:solidFill>
                <a:schemeClr val="tx2"/>
              </a:solidFill>
              <a:latin typeface="+mj-lt"/>
            </a:endParaRPr>
          </a:p>
          <a:p>
            <a:pPr marL="336033" lvl="1" indent="-336033"/>
            <a:r>
              <a:rPr lang="en-US" sz="2000" spc="-38" dirty="0">
                <a:solidFill>
                  <a:schemeClr val="tx1">
                    <a:alpha val="99000"/>
                  </a:schemeClr>
                </a:solidFill>
              </a:rPr>
              <a:t>Deploying Active Directory in the Cloud or connecting a PaaS to </a:t>
            </a:r>
            <a:r>
              <a:rPr lang="en-US" sz="2000" spc="-38" dirty="0" err="1">
                <a:solidFill>
                  <a:schemeClr val="tx1">
                    <a:alpha val="99000"/>
                  </a:schemeClr>
                </a:solidFill>
              </a:rPr>
              <a:t>IaaS</a:t>
            </a:r>
            <a:r>
              <a:rPr lang="en-US" sz="2000" spc="-38" dirty="0">
                <a:solidFill>
                  <a:schemeClr val="tx1">
                    <a:alpha val="99000"/>
                  </a:schemeClr>
                </a:solidFill>
              </a:rPr>
              <a:t> Service</a:t>
            </a:r>
          </a:p>
          <a:p>
            <a:pPr lvl="1"/>
            <a:endParaRPr lang="en-US" sz="800" dirty="0">
              <a:solidFill>
                <a:schemeClr val="accent2"/>
              </a:solidFill>
            </a:endParaRPr>
          </a:p>
          <a:p>
            <a:endParaRPr lang="en-US" dirty="0" smtClean="0"/>
          </a:p>
          <a:p>
            <a:endParaRPr lang="en-US" dirty="0"/>
          </a:p>
        </p:txBody>
      </p:sp>
      <p:sp>
        <p:nvSpPr>
          <p:cNvPr id="6" name="Rectangle 5"/>
          <p:cNvSpPr/>
          <p:nvPr>
            <p:custDataLst>
              <p:tags r:id="rId1"/>
            </p:custDataLst>
          </p:nvPr>
        </p:nvSpPr>
        <p:spPr bwMode="auto">
          <a:xfrm>
            <a:off x="8457937" y="1614417"/>
            <a:ext cx="3535646" cy="361592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9" tIns="34295" rIns="68562" bIns="68589" numCol="1" spcCol="0" rtlCol="0" anchor="b" anchorCtr="0" compatLnSpc="1">
            <a:prstTxWarp prst="textNoShape">
              <a:avLst/>
            </a:prstTxWarp>
          </a:bodyPr>
          <a:lstStyle/>
          <a:p>
            <a:pPr algn="ctr" defTabSz="685432" fontAlgn="base">
              <a:spcBef>
                <a:spcPts val="900"/>
              </a:spcBef>
              <a:spcAft>
                <a:spcPct val="0"/>
              </a:spcAft>
            </a:pPr>
            <a:r>
              <a:rPr lang="en-US" sz="2400" dirty="0">
                <a:ln>
                  <a:solidFill>
                    <a:schemeClr val="bg1">
                      <a:alpha val="0"/>
                    </a:schemeClr>
                  </a:solidFill>
                </a:ln>
                <a:solidFill>
                  <a:schemeClr val="bg1">
                    <a:lumMod val="75000"/>
                    <a:lumOff val="25000"/>
                  </a:schemeClr>
                </a:solidFill>
                <a:latin typeface="Segoe UI Light" pitchFamily="34" charset="0"/>
              </a:rPr>
              <a:t>Corpnet</a:t>
            </a:r>
          </a:p>
        </p:txBody>
      </p:sp>
      <p:sp>
        <p:nvSpPr>
          <p:cNvPr id="7" name="Oval 6"/>
          <p:cNvSpPr/>
          <p:nvPr>
            <p:custDataLst>
              <p:tags r:id="rId2"/>
            </p:custDataLst>
          </p:nvPr>
        </p:nvSpPr>
        <p:spPr bwMode="auto">
          <a:xfrm>
            <a:off x="8993567" y="3537977"/>
            <a:ext cx="2469523" cy="1165860"/>
          </a:xfrm>
          <a:prstGeom prst="ellipse">
            <a:avLst/>
          </a:prstGeom>
          <a:solidFill>
            <a:schemeClr val="accent3"/>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solidFill>
                <a:srgbClr val="595959"/>
              </a:solidFill>
            </a:endParaRPr>
          </a:p>
        </p:txBody>
      </p:sp>
      <p:grpSp>
        <p:nvGrpSpPr>
          <p:cNvPr id="8" name="Group 7"/>
          <p:cNvGrpSpPr/>
          <p:nvPr/>
        </p:nvGrpSpPr>
        <p:grpSpPr>
          <a:xfrm>
            <a:off x="9078375" y="1666461"/>
            <a:ext cx="2276815" cy="1525628"/>
            <a:chOff x="7479592" y="1494853"/>
            <a:chExt cx="3649895" cy="2446325"/>
          </a:xfrm>
          <a:solidFill>
            <a:schemeClr val="accent3"/>
          </a:solidFill>
        </p:grpSpPr>
        <p:sp>
          <p:nvSpPr>
            <p:cNvPr id="42" name="Freeform 6"/>
            <p:cNvSpPr>
              <a:spLocks/>
            </p:cNvSpPr>
            <p:nvPr/>
          </p:nvSpPr>
          <p:spPr bwMode="auto">
            <a:xfrm>
              <a:off x="7479592" y="1494853"/>
              <a:ext cx="3649895" cy="2446325"/>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grpFill/>
            <a:ln>
              <a:noFill/>
            </a:ln>
          </p:spPr>
          <p:txBody>
            <a:bodyPr vert="horz" wrap="square" lIns="82305" tIns="41153" rIns="82305" bIns="41153" numCol="1" anchor="t" anchorCtr="0" compatLnSpc="1">
              <a:prstTxWarp prst="textNoShape">
                <a:avLst/>
              </a:prstTxWarp>
            </a:bodyPr>
            <a:lstStyle/>
            <a:p>
              <a:endParaRPr lang="en-US" sz="1200" dirty="0"/>
            </a:p>
          </p:txBody>
        </p:sp>
        <p:sp>
          <p:nvSpPr>
            <p:cNvPr id="43" name="Rectangle 42"/>
            <p:cNvSpPr/>
            <p:nvPr/>
          </p:nvSpPr>
          <p:spPr>
            <a:xfrm>
              <a:off x="8165814" y="1990103"/>
              <a:ext cx="2411946" cy="518191"/>
            </a:xfrm>
            <a:prstGeom prst="rect">
              <a:avLst/>
            </a:prstGeom>
            <a:grpFill/>
          </p:spPr>
          <p:txBody>
            <a:bodyPr wrap="none">
              <a:spAutoFit/>
            </a:bodyPr>
            <a:lstStyle/>
            <a:p>
              <a:pPr algn="ctr" defTabSz="685432" fontAlgn="base">
                <a:spcBef>
                  <a:spcPts val="900"/>
                </a:spcBef>
                <a:spcAft>
                  <a:spcPct val="0"/>
                </a:spcAft>
              </a:pPr>
              <a:r>
                <a:rPr lang="en-US" sz="1500" dirty="0">
                  <a:ln>
                    <a:solidFill>
                      <a:srgbClr val="FFFFFF">
                        <a:alpha val="0"/>
                      </a:srgbClr>
                    </a:solidFill>
                  </a:ln>
                  <a:solidFill>
                    <a:schemeClr val="bg1">
                      <a:alpha val="99000"/>
                    </a:schemeClr>
                  </a:solidFill>
                </a:rPr>
                <a:t>Windows Azure</a:t>
              </a:r>
            </a:p>
          </p:txBody>
        </p:sp>
      </p:grpSp>
      <p:sp>
        <p:nvSpPr>
          <p:cNvPr id="9" name="Rectangle 8"/>
          <p:cNvSpPr/>
          <p:nvPr>
            <p:custDataLst>
              <p:tags r:id="rId3"/>
            </p:custDataLst>
          </p:nvPr>
        </p:nvSpPr>
        <p:spPr>
          <a:xfrm>
            <a:off x="9302691" y="2298797"/>
            <a:ext cx="1783544" cy="685800"/>
          </a:xfrm>
          <a:prstGeom prst="rect">
            <a:avLst/>
          </a:prstGeom>
          <a:noFill/>
          <a:ln w="19050">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ln>
                <a:solidFill>
                  <a:schemeClr val="bg1">
                    <a:alpha val="0"/>
                  </a:schemeClr>
                </a:solidFill>
              </a:ln>
            </a:endParaRPr>
          </a:p>
        </p:txBody>
      </p:sp>
      <p:sp>
        <p:nvSpPr>
          <p:cNvPr id="10" name="Rectangle 9"/>
          <p:cNvSpPr/>
          <p:nvPr/>
        </p:nvSpPr>
        <p:spPr>
          <a:xfrm>
            <a:off x="9372726" y="2368099"/>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r>
              <a:rPr lang="en-US" sz="900" dirty="0" smtClean="0">
                <a:ln>
                  <a:solidFill>
                    <a:schemeClr val="bg1">
                      <a:alpha val="0"/>
                    </a:schemeClr>
                  </a:solidFill>
                </a:ln>
              </a:rPr>
              <a:t>VM </a:t>
            </a:r>
            <a:r>
              <a:rPr lang="en-US" sz="900" dirty="0">
                <a:ln>
                  <a:solidFill>
                    <a:schemeClr val="bg1">
                      <a:alpha val="0"/>
                    </a:schemeClr>
                  </a:solidFill>
                </a:ln>
              </a:rPr>
              <a:t>1</a:t>
            </a:r>
          </a:p>
        </p:txBody>
      </p:sp>
      <p:sp>
        <p:nvSpPr>
          <p:cNvPr id="11" name="Rectangle 10"/>
          <p:cNvSpPr/>
          <p:nvPr/>
        </p:nvSpPr>
        <p:spPr>
          <a:xfrm>
            <a:off x="10532326" y="2368099"/>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r>
              <a:rPr lang="en-US" sz="900" dirty="0" smtClean="0">
                <a:ln>
                  <a:solidFill>
                    <a:schemeClr val="bg1">
                      <a:alpha val="0"/>
                    </a:schemeClr>
                  </a:solidFill>
                </a:ln>
              </a:rPr>
              <a:t>VM 2</a:t>
            </a:r>
            <a:endParaRPr lang="en-US" sz="900" dirty="0">
              <a:ln>
                <a:solidFill>
                  <a:schemeClr val="bg1">
                    <a:alpha val="0"/>
                  </a:schemeClr>
                </a:solidFill>
              </a:ln>
            </a:endParaRPr>
          </a:p>
        </p:txBody>
      </p:sp>
      <p:sp>
        <p:nvSpPr>
          <p:cNvPr id="12" name="Rectangle 11"/>
          <p:cNvSpPr/>
          <p:nvPr>
            <p:custDataLst>
              <p:tags r:id="rId4"/>
            </p:custDataLst>
          </p:nvPr>
        </p:nvSpPr>
        <p:spPr>
          <a:xfrm>
            <a:off x="9952938" y="2716936"/>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4295" tIns="34295" rIns="34295" bIns="34295" rtlCol="0" anchor="ctr"/>
          <a:lstStyle/>
          <a:p>
            <a:pPr algn="ctr"/>
            <a:r>
              <a:rPr lang="en-US" sz="900" dirty="0" smtClean="0">
                <a:ln>
                  <a:solidFill>
                    <a:schemeClr val="bg1">
                      <a:alpha val="0"/>
                    </a:schemeClr>
                  </a:solidFill>
                </a:ln>
              </a:rPr>
              <a:t>ROLE 1</a:t>
            </a:r>
            <a:endParaRPr lang="en-US" sz="900" dirty="0">
              <a:ln>
                <a:solidFill>
                  <a:schemeClr val="bg1">
                    <a:alpha val="0"/>
                  </a:schemeClr>
                </a:solidFill>
              </a:ln>
            </a:endParaRPr>
          </a:p>
        </p:txBody>
      </p:sp>
      <p:cxnSp>
        <p:nvCxnSpPr>
          <p:cNvPr id="13" name="Straight Connector 12"/>
          <p:cNvCxnSpPr>
            <a:stCxn id="10" idx="3"/>
            <a:endCxn id="11" idx="1"/>
          </p:cNvCxnSpPr>
          <p:nvPr>
            <p:custDataLst>
              <p:tags r:id="rId5"/>
            </p:custDataLst>
          </p:nvPr>
        </p:nvCxnSpPr>
        <p:spPr>
          <a:xfrm>
            <a:off x="9852912" y="2470969"/>
            <a:ext cx="679415"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custDataLst>
              <p:tags r:id="rId6"/>
            </p:custDataLst>
          </p:nvPr>
        </p:nvSpPr>
        <p:spPr>
          <a:xfrm>
            <a:off x="9335557" y="2333809"/>
            <a:ext cx="1714947"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ln>
                <a:solidFill>
                  <a:schemeClr val="bg1">
                    <a:alpha val="0"/>
                  </a:schemeClr>
                </a:solidFill>
              </a:ln>
            </a:endParaRPr>
          </a:p>
        </p:txBody>
      </p:sp>
      <p:sp>
        <p:nvSpPr>
          <p:cNvPr id="15" name="Rectangle 14"/>
          <p:cNvSpPr/>
          <p:nvPr>
            <p:custDataLst>
              <p:tags r:id="rId7"/>
            </p:custDataLst>
          </p:nvPr>
        </p:nvSpPr>
        <p:spPr>
          <a:xfrm>
            <a:off x="9918639" y="2682646"/>
            <a:ext cx="548783"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ln>
                <a:solidFill>
                  <a:schemeClr val="bg1">
                    <a:alpha val="0"/>
                  </a:schemeClr>
                </a:solidFill>
              </a:ln>
            </a:endParaRPr>
          </a:p>
        </p:txBody>
      </p:sp>
      <p:cxnSp>
        <p:nvCxnSpPr>
          <p:cNvPr id="16" name="Straight Connector 117"/>
          <p:cNvCxnSpPr>
            <a:stCxn id="10" idx="2"/>
            <a:endCxn id="12" idx="0"/>
          </p:cNvCxnSpPr>
          <p:nvPr>
            <p:custDataLst>
              <p:tags r:id="rId8"/>
            </p:custDataLst>
          </p:nvPr>
        </p:nvCxnSpPr>
        <p:spPr>
          <a:xfrm rot="16200000" flipH="1">
            <a:off x="9831377" y="2355281"/>
            <a:ext cx="143096" cy="580212"/>
          </a:xfrm>
          <a:prstGeom prst="bentConnector3">
            <a:avLst>
              <a:gd name="adj1" fmla="val 50000"/>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9321536" y="2760758"/>
            <a:ext cx="554623" cy="196208"/>
          </a:xfrm>
          <a:prstGeom prst="rect">
            <a:avLst/>
          </a:prstGeom>
        </p:spPr>
        <p:txBody>
          <a:bodyPr wrap="none" lIns="68589" tIns="34295" rIns="68589" bIns="34295">
            <a:spAutoFit/>
          </a:bodyPr>
          <a:lstStyle/>
          <a:p>
            <a:pPr algn="ctr" defTabSz="685432" fontAlgn="base">
              <a:spcBef>
                <a:spcPts val="900"/>
              </a:spcBef>
              <a:spcAft>
                <a:spcPct val="0"/>
              </a:spcAft>
            </a:pPr>
            <a:r>
              <a:rPr lang="en-US" sz="800" dirty="0">
                <a:ln>
                  <a:solidFill>
                    <a:srgbClr val="FFFFFF">
                      <a:alpha val="0"/>
                    </a:srgbClr>
                  </a:solidFill>
                </a:ln>
              </a:rPr>
              <a:t>Subnet 2</a:t>
            </a:r>
          </a:p>
        </p:txBody>
      </p:sp>
      <p:sp>
        <p:nvSpPr>
          <p:cNvPr id="18" name="Rectangle 17"/>
          <p:cNvSpPr/>
          <p:nvPr/>
        </p:nvSpPr>
        <p:spPr>
          <a:xfrm>
            <a:off x="10511155" y="2572653"/>
            <a:ext cx="554624" cy="196208"/>
          </a:xfrm>
          <a:prstGeom prst="rect">
            <a:avLst/>
          </a:prstGeom>
        </p:spPr>
        <p:txBody>
          <a:bodyPr wrap="none" lIns="68589" tIns="34295" rIns="68589" bIns="34295">
            <a:spAutoFit/>
          </a:bodyPr>
          <a:lstStyle/>
          <a:p>
            <a:pPr algn="ctr" defTabSz="685432" fontAlgn="base">
              <a:spcBef>
                <a:spcPts val="900"/>
              </a:spcBef>
              <a:spcAft>
                <a:spcPct val="0"/>
              </a:spcAft>
            </a:pPr>
            <a:r>
              <a:rPr lang="en-US" sz="800" dirty="0">
                <a:ln>
                  <a:solidFill>
                    <a:srgbClr val="FFFFFF">
                      <a:alpha val="0"/>
                    </a:srgbClr>
                  </a:solidFill>
                </a:ln>
              </a:rPr>
              <a:t>Subnet 1</a:t>
            </a:r>
          </a:p>
        </p:txBody>
      </p:sp>
      <p:cxnSp>
        <p:nvCxnSpPr>
          <p:cNvPr id="19" name="Straight Arrow Connector 18"/>
          <p:cNvCxnSpPr/>
          <p:nvPr/>
        </p:nvCxnSpPr>
        <p:spPr>
          <a:xfrm flipV="1">
            <a:off x="10292051" y="3066873"/>
            <a:ext cx="285072" cy="404852"/>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9292374" y="3637289"/>
            <a:ext cx="1082728" cy="31380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9626555" y="3615858"/>
            <a:ext cx="702100" cy="53171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9936667" y="3596807"/>
            <a:ext cx="391988" cy="64125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10289355" y="3664078"/>
            <a:ext cx="397357" cy="1390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H="1">
            <a:off x="10481258" y="3951097"/>
            <a:ext cx="183643" cy="28696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10672514" y="3951096"/>
            <a:ext cx="357533" cy="16981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10672514" y="3951097"/>
            <a:ext cx="100649" cy="2321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Freeform 6"/>
          <p:cNvSpPr>
            <a:spLocks noEditPoints="1"/>
          </p:cNvSpPr>
          <p:nvPr/>
        </p:nvSpPr>
        <p:spPr bwMode="auto">
          <a:xfrm>
            <a:off x="9096057" y="3915402"/>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28" name="Freeform 6"/>
          <p:cNvSpPr>
            <a:spLocks noEditPoints="1"/>
          </p:cNvSpPr>
          <p:nvPr/>
        </p:nvSpPr>
        <p:spPr bwMode="auto">
          <a:xfrm>
            <a:off x="9441428" y="4153527"/>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29" name="Freeform 6"/>
          <p:cNvSpPr>
            <a:spLocks noEditPoints="1"/>
          </p:cNvSpPr>
          <p:nvPr/>
        </p:nvSpPr>
        <p:spPr bwMode="auto">
          <a:xfrm>
            <a:off x="9817764" y="4258302"/>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30" name="Freeform 6"/>
          <p:cNvSpPr>
            <a:spLocks noEditPoints="1"/>
          </p:cNvSpPr>
          <p:nvPr/>
        </p:nvSpPr>
        <p:spPr bwMode="auto">
          <a:xfrm>
            <a:off x="10370358" y="4258302"/>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31" name="Freeform 6"/>
          <p:cNvSpPr>
            <a:spLocks noEditPoints="1"/>
          </p:cNvSpPr>
          <p:nvPr/>
        </p:nvSpPr>
        <p:spPr bwMode="auto">
          <a:xfrm>
            <a:off x="10765748" y="4189246"/>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32" name="Freeform 6"/>
          <p:cNvSpPr>
            <a:spLocks noEditPoints="1"/>
          </p:cNvSpPr>
          <p:nvPr/>
        </p:nvSpPr>
        <p:spPr bwMode="auto">
          <a:xfrm>
            <a:off x="11042045" y="4079709"/>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grpSp>
        <p:nvGrpSpPr>
          <p:cNvPr id="33" name="Group 32"/>
          <p:cNvGrpSpPr/>
          <p:nvPr/>
        </p:nvGrpSpPr>
        <p:grpSpPr>
          <a:xfrm>
            <a:off x="9935040" y="3487762"/>
            <a:ext cx="674676" cy="186906"/>
            <a:chOff x="8924116" y="3944007"/>
            <a:chExt cx="899334" cy="249208"/>
          </a:xfrm>
        </p:grpSpPr>
        <p:sp>
          <p:nvSpPr>
            <p:cNvPr id="40" name="Rectangle 39"/>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41"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34" name="Group 33"/>
          <p:cNvGrpSpPr/>
          <p:nvPr/>
        </p:nvGrpSpPr>
        <p:grpSpPr>
          <a:xfrm>
            <a:off x="10399910" y="3801963"/>
            <a:ext cx="559535" cy="155009"/>
            <a:chOff x="8924116" y="3944007"/>
            <a:chExt cx="899334" cy="249208"/>
          </a:xfrm>
        </p:grpSpPr>
        <p:sp>
          <p:nvSpPr>
            <p:cNvPr id="38" name="Rectangle 37"/>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39"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35" name="Group 34"/>
          <p:cNvGrpSpPr/>
          <p:nvPr/>
        </p:nvGrpSpPr>
        <p:grpSpPr>
          <a:xfrm>
            <a:off x="10554329" y="2920214"/>
            <a:ext cx="426962" cy="118281"/>
            <a:chOff x="8924116" y="3944007"/>
            <a:chExt cx="899334" cy="249208"/>
          </a:xfrm>
        </p:grpSpPr>
        <p:sp>
          <p:nvSpPr>
            <p:cNvPr id="36" name="Rectangle 35"/>
            <p:cNvSpPr/>
            <p:nvPr/>
          </p:nvSpPr>
          <p:spPr bwMode="auto">
            <a:xfrm>
              <a:off x="8963025" y="3976688"/>
              <a:ext cx="802481" cy="1928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37"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284440555"/>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 name="Elbow Connector 23"/>
          <p:cNvCxnSpPr/>
          <p:nvPr/>
        </p:nvCxnSpPr>
        <p:spPr>
          <a:xfrm rot="10800000" flipV="1">
            <a:off x="6248650" y="1482279"/>
            <a:ext cx="4477670" cy="4509865"/>
          </a:xfrm>
          <a:prstGeom prst="bentConnector3">
            <a:avLst>
              <a:gd name="adj1" fmla="val 108823"/>
            </a:avLst>
          </a:prstGeom>
          <a:ln w="31750">
            <a:solidFill>
              <a:schemeClr val="accent1"/>
            </a:solidFill>
            <a:tailEnd type="arrow"/>
          </a:ln>
        </p:spPr>
        <p:style>
          <a:lnRef idx="1">
            <a:schemeClr val="accent1"/>
          </a:lnRef>
          <a:fillRef idx="0">
            <a:schemeClr val="accent1"/>
          </a:fillRef>
          <a:effectRef idx="0">
            <a:schemeClr val="accent1"/>
          </a:effectRef>
          <a:fontRef idx="minor">
            <a:schemeClr val="tx1"/>
          </a:fontRef>
        </p:style>
      </p:cxnSp>
      <p:sp>
        <p:nvSpPr>
          <p:cNvPr id="117" name="Rectangle 116"/>
          <p:cNvSpPr/>
          <p:nvPr/>
        </p:nvSpPr>
        <p:spPr bwMode="auto">
          <a:xfrm rot="5400000">
            <a:off x="5209678" y="4070772"/>
            <a:ext cx="2745878" cy="42071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rtlCol="0" anchor="ctr" anchorCtr="0" compatLnSpc="1">
            <a:prstTxWarp prst="textNoShape">
              <a:avLst/>
            </a:prstTxWarp>
          </a:bodyPr>
          <a:lstStyle/>
          <a:p>
            <a:pPr algn="ctr" defTabSz="913765"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118" name="Rounded Rectangle 117"/>
          <p:cNvSpPr/>
          <p:nvPr/>
        </p:nvSpPr>
        <p:spPr bwMode="auto">
          <a:xfrm rot="1804617">
            <a:off x="6306560" y="2685522"/>
            <a:ext cx="764510" cy="546163"/>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rtlCol="0" anchor="ctr" anchorCtr="0" compatLnSpc="1">
            <a:prstTxWarp prst="textNoShape">
              <a:avLst/>
            </a:prstTxWarp>
          </a:bodyPr>
          <a:lstStyle/>
          <a:p>
            <a:pPr algn="ctr" defTabSz="913765"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11" name="Rounded Rectangle 10"/>
          <p:cNvSpPr/>
          <p:nvPr/>
        </p:nvSpPr>
        <p:spPr bwMode="auto">
          <a:xfrm rot="19727983">
            <a:off x="6782714" y="2621906"/>
            <a:ext cx="764510" cy="546163"/>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rtlCol="0" anchor="ctr" anchorCtr="0" compatLnSpc="1">
            <a:prstTxWarp prst="textNoShape">
              <a:avLst/>
            </a:prstTxWarp>
          </a:bodyPr>
          <a:lstStyle/>
          <a:p>
            <a:pPr algn="ctr" defTabSz="913765"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a:t>Connecting Applications and VMs</a:t>
            </a:r>
          </a:p>
        </p:txBody>
      </p:sp>
      <p:sp>
        <p:nvSpPr>
          <p:cNvPr id="28" name="Content Placeholder 2"/>
          <p:cNvSpPr>
            <a:spLocks noGrp="1"/>
          </p:cNvSpPr>
          <p:nvPr>
            <p:ph type="body" sz="quarter" idx="4294967295"/>
          </p:nvPr>
        </p:nvSpPr>
        <p:spPr>
          <a:xfrm>
            <a:off x="269170" y="1424998"/>
            <a:ext cx="5159375" cy="2498995"/>
          </a:xfrm>
        </p:spPr>
        <p:txBody>
          <a:bodyPr/>
          <a:lstStyle/>
          <a:p>
            <a:pPr marL="0" indent="0">
              <a:buNone/>
            </a:pPr>
            <a:r>
              <a:rPr lang="en-US" sz="4000" dirty="0">
                <a:solidFill>
                  <a:schemeClr val="tx2">
                    <a:alpha val="99000"/>
                  </a:schemeClr>
                </a:solidFill>
              </a:rPr>
              <a:t>Strengths</a:t>
            </a:r>
            <a:endParaRPr lang="en-US" sz="3199" dirty="0">
              <a:solidFill>
                <a:schemeClr val="tx2">
                  <a:alpha val="99000"/>
                </a:schemeClr>
              </a:solidFill>
            </a:endParaRPr>
          </a:p>
          <a:p>
            <a:pPr lvl="1"/>
            <a:r>
              <a:rPr lang="en-US" sz="2000" spc="0" dirty="0"/>
              <a:t>Simplicity</a:t>
            </a:r>
          </a:p>
          <a:p>
            <a:pPr lvl="1"/>
            <a:r>
              <a:rPr lang="en-US" sz="2000" spc="0" dirty="0"/>
              <a:t>Tenant Autonomy</a:t>
            </a:r>
          </a:p>
          <a:p>
            <a:pPr lvl="1"/>
            <a:r>
              <a:rPr lang="en-US" sz="2000" spc="0" dirty="0"/>
              <a:t>VIP Swap (cloud services)</a:t>
            </a:r>
          </a:p>
          <a:p>
            <a:pPr lvl="1"/>
            <a:r>
              <a:rPr lang="en-US" sz="2000" spc="0" dirty="0"/>
              <a:t>Easy Local Dev/Test</a:t>
            </a:r>
          </a:p>
          <a:p>
            <a:pPr lvl="1"/>
            <a:endParaRPr lang="en-US" sz="2399" spc="0" dirty="0"/>
          </a:p>
        </p:txBody>
      </p:sp>
      <p:sp>
        <p:nvSpPr>
          <p:cNvPr id="29" name="TextBox 28"/>
          <p:cNvSpPr txBox="1"/>
          <p:nvPr/>
        </p:nvSpPr>
        <p:spPr>
          <a:xfrm>
            <a:off x="4488241" y="2075629"/>
            <a:ext cx="1336197" cy="1722779"/>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r>
              <a:rPr lang="en-US" sz="1866" dirty="0"/>
              <a:t>SQL Data Access Traffic Through Public Endpoint</a:t>
            </a:r>
          </a:p>
        </p:txBody>
      </p:sp>
      <p:sp>
        <p:nvSpPr>
          <p:cNvPr id="30" name="Content Placeholder 2"/>
          <p:cNvSpPr txBox="1">
            <a:spLocks/>
          </p:cNvSpPr>
          <p:nvPr/>
        </p:nvSpPr>
        <p:spPr>
          <a:xfrm>
            <a:off x="269170" y="4063960"/>
            <a:ext cx="5159444" cy="2183407"/>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4000" dirty="0">
                <a:solidFill>
                  <a:schemeClr val="tx2">
                    <a:alpha val="99000"/>
                  </a:schemeClr>
                </a:solidFill>
                <a:latin typeface="+mj-lt"/>
              </a:rPr>
              <a:t>Weaknesses</a:t>
            </a:r>
          </a:p>
          <a:p>
            <a:pPr marL="572501" lvl="1" indent="-236468" defTabSz="914064">
              <a:buFont typeface="Arial" pitchFamily="34" charset="0"/>
              <a:buChar char="•"/>
            </a:pPr>
            <a:r>
              <a:rPr lang="en-US" sz="2000" dirty="0">
                <a:gradFill>
                  <a:gsLst>
                    <a:gs pos="1250">
                      <a:schemeClr val="tx1"/>
                    </a:gs>
                    <a:gs pos="100000">
                      <a:schemeClr val="tx1"/>
                    </a:gs>
                  </a:gsLst>
                  <a:lin ang="5400000" scaled="0"/>
                </a:gradFill>
              </a:rPr>
              <a:t>Higher Latency</a:t>
            </a:r>
          </a:p>
          <a:p>
            <a:pPr marL="572501" lvl="1" indent="-236468" defTabSz="914064">
              <a:buFont typeface="Arial" pitchFamily="34" charset="0"/>
              <a:buChar char="•"/>
            </a:pPr>
            <a:r>
              <a:rPr lang="en-US" sz="2000" dirty="0">
                <a:gradFill>
                  <a:gsLst>
                    <a:gs pos="1250">
                      <a:schemeClr val="tx1"/>
                    </a:gs>
                    <a:gs pos="100000">
                      <a:schemeClr val="tx1"/>
                    </a:gs>
                  </a:gsLst>
                  <a:lin ang="5400000" scaled="0"/>
                </a:gradFill>
              </a:rPr>
              <a:t>Less Secure</a:t>
            </a:r>
            <a:br>
              <a:rPr lang="en-US" sz="2000" dirty="0">
                <a:gradFill>
                  <a:gsLst>
                    <a:gs pos="1250">
                      <a:schemeClr val="tx1"/>
                    </a:gs>
                    <a:gs pos="100000">
                      <a:schemeClr val="tx1"/>
                    </a:gs>
                  </a:gsLst>
                  <a:lin ang="5400000" scaled="0"/>
                </a:gradFill>
              </a:rPr>
            </a:br>
            <a:r>
              <a:rPr lang="en-US" sz="2000" dirty="0">
                <a:gradFill>
                  <a:gsLst>
                    <a:gs pos="1250">
                      <a:schemeClr val="tx1"/>
                    </a:gs>
                    <a:gs pos="100000">
                      <a:schemeClr val="tx1"/>
                    </a:gs>
                  </a:gsLst>
                  <a:lin ang="5400000" scaled="0"/>
                </a:gradFill>
              </a:rPr>
              <a:t>Management/Deployment Overhead</a:t>
            </a:r>
          </a:p>
        </p:txBody>
      </p:sp>
      <p:grpSp>
        <p:nvGrpSpPr>
          <p:cNvPr id="42" name="Group 41"/>
          <p:cNvGrpSpPr/>
          <p:nvPr/>
        </p:nvGrpSpPr>
        <p:grpSpPr>
          <a:xfrm>
            <a:off x="7759734" y="4193367"/>
            <a:ext cx="3908394" cy="2262084"/>
            <a:chOff x="214313" y="2174875"/>
            <a:chExt cx="990600" cy="598488"/>
          </a:xfrm>
          <a:solidFill>
            <a:schemeClr val="accent2"/>
          </a:solidFill>
        </p:grpSpPr>
        <p:sp>
          <p:nvSpPr>
            <p:cNvPr id="43"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121888" tIns="60944" rIns="121888" bIns="60944" numCol="1" anchor="t" anchorCtr="0" compatLnSpc="1">
              <a:prstTxWarp prst="textNoShape">
                <a:avLst/>
              </a:prstTxWarp>
            </a:bodyPr>
            <a:lstStyle/>
            <a:p>
              <a:endParaRPr lang="en-US" sz="2533" dirty="0"/>
            </a:p>
          </p:txBody>
        </p:sp>
        <p:sp>
          <p:nvSpPr>
            <p:cNvPr id="44"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121888" tIns="60944" rIns="121888" bIns="60944" numCol="1" anchor="t" anchorCtr="0" compatLnSpc="1">
              <a:prstTxWarp prst="textNoShape">
                <a:avLst/>
              </a:prstTxWarp>
            </a:bodyPr>
            <a:lstStyle/>
            <a:p>
              <a:endParaRPr lang="en-US" sz="2533" dirty="0"/>
            </a:p>
          </p:txBody>
        </p:sp>
      </p:grpSp>
      <p:grpSp>
        <p:nvGrpSpPr>
          <p:cNvPr id="45" name="Group 44"/>
          <p:cNvGrpSpPr/>
          <p:nvPr/>
        </p:nvGrpSpPr>
        <p:grpSpPr>
          <a:xfrm>
            <a:off x="7759731" y="1402653"/>
            <a:ext cx="3908394" cy="2262084"/>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121888" tIns="60944" rIns="121888" bIns="60944" numCol="1" anchor="t" anchorCtr="0" compatLnSpc="1">
              <a:prstTxWarp prst="textNoShape">
                <a:avLst/>
              </a:prstTxWarp>
            </a:bodyPr>
            <a:lstStyle/>
            <a:p>
              <a:endParaRPr lang="en-US" sz="2533" dirty="0"/>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121888" tIns="60944" rIns="121888" bIns="60944" numCol="1" anchor="t" anchorCtr="0" compatLnSpc="1">
              <a:prstTxWarp prst="textNoShape">
                <a:avLst/>
              </a:prstTxWarp>
            </a:bodyPr>
            <a:lstStyle/>
            <a:p>
              <a:endParaRPr lang="en-US" sz="2533" dirty="0"/>
            </a:p>
          </p:txBody>
        </p:sp>
      </p:grpSp>
      <p:pic>
        <p:nvPicPr>
          <p:cNvPr id="171" name="Picture 170"/>
          <p:cNvPicPr>
            <a:picLocks noChangeAspect="1"/>
          </p:cNvPicPr>
          <p:nvPr/>
        </p:nvPicPr>
        <p:blipFill>
          <a:blip r:embed="rId4"/>
          <a:stretch>
            <a:fillRect/>
          </a:stretch>
        </p:blipFill>
        <p:spPr>
          <a:xfrm>
            <a:off x="9228827" y="5341148"/>
            <a:ext cx="581187" cy="531085"/>
          </a:xfrm>
          <a:prstGeom prst="rect">
            <a:avLst/>
          </a:prstGeom>
        </p:spPr>
      </p:pic>
      <p:sp>
        <p:nvSpPr>
          <p:cNvPr id="50" name="TextBox 49"/>
          <p:cNvSpPr txBox="1"/>
          <p:nvPr/>
        </p:nvSpPr>
        <p:spPr>
          <a:xfrm>
            <a:off x="8153495" y="3362838"/>
            <a:ext cx="2336917" cy="225575"/>
          </a:xfrm>
          <a:prstGeom prst="rect">
            <a:avLst/>
          </a:prstGeom>
          <a:noFill/>
        </p:spPr>
        <p:txBody>
          <a:bodyPr wrap="square" lIns="0" tIns="0" rIns="0" bIns="0" rtlCol="0">
            <a:spAutoFit/>
          </a:bodyPr>
          <a:lstStyle/>
          <a:p>
            <a:pPr algn="ctr"/>
            <a:r>
              <a:rPr lang="en-US" sz="1466" dirty="0">
                <a:solidFill>
                  <a:schemeClr val="bg1">
                    <a:alpha val="99000"/>
                  </a:schemeClr>
                </a:solidFill>
              </a:rPr>
              <a:t>Cloud Service or Web Site</a:t>
            </a:r>
          </a:p>
        </p:txBody>
      </p:sp>
      <p:sp>
        <p:nvSpPr>
          <p:cNvPr id="54" name="TextBox 53"/>
          <p:cNvSpPr txBox="1"/>
          <p:nvPr/>
        </p:nvSpPr>
        <p:spPr>
          <a:xfrm>
            <a:off x="10266117" y="4478372"/>
            <a:ext cx="1226582" cy="492443"/>
          </a:xfrm>
          <a:prstGeom prst="rect">
            <a:avLst/>
          </a:prstGeom>
          <a:noFill/>
        </p:spPr>
        <p:txBody>
          <a:bodyPr wrap="square" lIns="0" tIns="0" rIns="0" bIns="0" rtlCol="0">
            <a:spAutoFit/>
          </a:bodyPr>
          <a:lstStyle/>
          <a:p>
            <a:pPr algn="r"/>
            <a:r>
              <a:rPr lang="en-US" sz="1600" dirty="0">
                <a:solidFill>
                  <a:schemeClr val="bg1">
                    <a:alpha val="99000"/>
                  </a:schemeClr>
                </a:solidFill>
              </a:rPr>
              <a:t>Cloud </a:t>
            </a:r>
          </a:p>
          <a:p>
            <a:pPr algn="r"/>
            <a:r>
              <a:rPr lang="en-US" sz="1600" dirty="0">
                <a:solidFill>
                  <a:schemeClr val="bg1">
                    <a:alpha val="99000"/>
                  </a:schemeClr>
                </a:solidFill>
              </a:rPr>
              <a:t>Service </a:t>
            </a:r>
          </a:p>
        </p:txBody>
      </p:sp>
      <p:sp>
        <p:nvSpPr>
          <p:cNvPr id="56" name="TextBox 55"/>
          <p:cNvSpPr txBox="1"/>
          <p:nvPr/>
        </p:nvSpPr>
        <p:spPr>
          <a:xfrm>
            <a:off x="9669554" y="5529385"/>
            <a:ext cx="880467" cy="574260"/>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sz="1866" dirty="0"/>
              <a:t>SQL Server</a:t>
            </a:r>
          </a:p>
        </p:txBody>
      </p:sp>
      <p:sp>
        <p:nvSpPr>
          <p:cNvPr id="62" name="Freeform 34"/>
          <p:cNvSpPr>
            <a:spLocks noEditPoints="1"/>
          </p:cNvSpPr>
          <p:nvPr/>
        </p:nvSpPr>
        <p:spPr bwMode="auto">
          <a:xfrm>
            <a:off x="9360335" y="5873483"/>
            <a:ext cx="372745"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109707" tIns="54854" rIns="109707" bIns="54854" numCol="1" rtlCol="0" anchor="ctr" anchorCtr="0" compatLnSpc="1">
            <a:prstTxWarp prst="textNoShape">
              <a:avLst/>
            </a:prstTxWarp>
          </a:bodyPr>
          <a:lstStyle/>
          <a:p>
            <a:pPr defTabSz="740470"/>
            <a:endParaRPr lang="en-US" sz="2533" spc="-123" dirty="0">
              <a:solidFill>
                <a:schemeClr val="tx1">
                  <a:lumMod val="50000"/>
                </a:schemeClr>
              </a:solidFill>
              <a:latin typeface="Segoe Light" pitchFamily="34" charset="0"/>
            </a:endParaRPr>
          </a:p>
        </p:txBody>
      </p:sp>
      <p:sp>
        <p:nvSpPr>
          <p:cNvPr id="64" name="TextBox 63"/>
          <p:cNvSpPr txBox="1"/>
          <p:nvPr/>
        </p:nvSpPr>
        <p:spPr>
          <a:xfrm>
            <a:off x="6225308" y="1829288"/>
            <a:ext cx="1336197" cy="451149"/>
          </a:xfrm>
          <a:prstGeom prst="rect">
            <a:avLst/>
          </a:prstGeom>
          <a:noFill/>
        </p:spPr>
        <p:txBody>
          <a:bodyPr wrap="square" lIns="0" tIns="0" rIns="0" bIns="0" rtlCol="0">
            <a:spAutoFit/>
          </a:bodyPr>
          <a:lstStyle/>
          <a:p>
            <a:pPr algn="ctr"/>
            <a:r>
              <a:rPr lang="en-US" sz="1466" dirty="0">
                <a:gradFill>
                  <a:gsLst>
                    <a:gs pos="0">
                      <a:srgbClr val="595959"/>
                    </a:gs>
                    <a:gs pos="86000">
                      <a:srgbClr val="595959"/>
                    </a:gs>
                  </a:gsLst>
                  <a:lin ang="5400000" scaled="0"/>
                </a:gradFill>
              </a:rPr>
              <a:t>Load </a:t>
            </a:r>
            <a:br>
              <a:rPr lang="en-US" sz="1466" dirty="0">
                <a:gradFill>
                  <a:gsLst>
                    <a:gs pos="0">
                      <a:srgbClr val="595959"/>
                    </a:gs>
                    <a:gs pos="86000">
                      <a:srgbClr val="595959"/>
                    </a:gs>
                  </a:gsLst>
                  <a:lin ang="5400000" scaled="0"/>
                </a:gradFill>
              </a:rPr>
            </a:br>
            <a:r>
              <a:rPr lang="en-US" sz="1466" dirty="0">
                <a:gradFill>
                  <a:gsLst>
                    <a:gs pos="0">
                      <a:srgbClr val="595959"/>
                    </a:gs>
                    <a:gs pos="86000">
                      <a:srgbClr val="595959"/>
                    </a:gs>
                  </a:gsLst>
                  <a:lin ang="5400000" scaled="0"/>
                </a:gradFill>
              </a:rPr>
              <a:t>Balancer</a:t>
            </a:r>
          </a:p>
        </p:txBody>
      </p:sp>
      <p:sp>
        <p:nvSpPr>
          <p:cNvPr id="65" name="Right Arrow 64"/>
          <p:cNvSpPr/>
          <p:nvPr/>
        </p:nvSpPr>
        <p:spPr bwMode="auto">
          <a:xfrm>
            <a:off x="7297131" y="2361588"/>
            <a:ext cx="1604261" cy="83073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rtlCol="0" anchor="ctr" anchorCtr="0" compatLnSpc="1">
            <a:prstTxWarp prst="textNoShape">
              <a:avLst/>
            </a:prstTxWarp>
          </a:bodyPr>
          <a:lstStyle/>
          <a:p>
            <a:pPr algn="ctr" defTabSz="913765" fontAlgn="base">
              <a:spcBef>
                <a:spcPct val="0"/>
              </a:spcBef>
              <a:spcAft>
                <a:spcPct val="0"/>
              </a:spcAft>
            </a:pPr>
            <a:r>
              <a:rPr lang="en-US" sz="2799" dirty="0">
                <a:gradFill>
                  <a:gsLst>
                    <a:gs pos="0">
                      <a:srgbClr val="FFFFFF"/>
                    </a:gs>
                    <a:gs pos="100000">
                      <a:srgbClr val="FFFFFF"/>
                    </a:gs>
                  </a:gsLst>
                  <a:lin ang="5400000" scaled="0"/>
                </a:gradFill>
              </a:rPr>
              <a:t>80</a:t>
            </a:r>
          </a:p>
        </p:txBody>
      </p:sp>
      <p:sp>
        <p:nvSpPr>
          <p:cNvPr id="66" name="Oval 65"/>
          <p:cNvSpPr/>
          <p:nvPr/>
        </p:nvSpPr>
        <p:spPr bwMode="auto">
          <a:xfrm>
            <a:off x="7001714" y="2539689"/>
            <a:ext cx="626478" cy="53791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rtlCol="0" anchor="ctr" anchorCtr="0" compatLnSpc="1">
            <a:prstTxWarp prst="textNoShape">
              <a:avLst/>
            </a:prstTxWarp>
          </a:bodyPr>
          <a:lstStyle/>
          <a:p>
            <a:pPr algn="ctr" defTabSz="913765"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115" name="Right Arrow 114"/>
          <p:cNvSpPr/>
          <p:nvPr/>
        </p:nvSpPr>
        <p:spPr bwMode="auto">
          <a:xfrm>
            <a:off x="7596420" y="5406730"/>
            <a:ext cx="1604261" cy="83073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rtlCol="0" anchor="ctr" anchorCtr="0" compatLnSpc="1">
            <a:prstTxWarp prst="textNoShape">
              <a:avLst/>
            </a:prstTxWarp>
          </a:bodyPr>
          <a:lstStyle/>
          <a:p>
            <a:pPr algn="ctr" defTabSz="913765" fontAlgn="base">
              <a:spcBef>
                <a:spcPct val="0"/>
              </a:spcBef>
              <a:spcAft>
                <a:spcPct val="0"/>
              </a:spcAft>
            </a:pPr>
            <a:r>
              <a:rPr lang="en-US" sz="2000" dirty="0">
                <a:gradFill>
                  <a:gsLst>
                    <a:gs pos="0">
                      <a:srgbClr val="FFFFFF"/>
                    </a:gs>
                    <a:gs pos="100000">
                      <a:srgbClr val="FFFFFF"/>
                    </a:gs>
                  </a:gsLst>
                  <a:lin ang="5400000" scaled="0"/>
                </a:gradFill>
              </a:rPr>
              <a:t>2001-1433</a:t>
            </a:r>
          </a:p>
        </p:txBody>
      </p:sp>
      <p:grpSp>
        <p:nvGrpSpPr>
          <p:cNvPr id="67" name="Group 66"/>
          <p:cNvGrpSpPr/>
          <p:nvPr/>
        </p:nvGrpSpPr>
        <p:grpSpPr bwMode="black">
          <a:xfrm>
            <a:off x="6166313" y="2283715"/>
            <a:ext cx="1475368" cy="1138614"/>
            <a:chOff x="7010400" y="2133600"/>
            <a:chExt cx="1379538" cy="1065213"/>
          </a:xfrm>
          <a:solidFill>
            <a:schemeClr val="tx2"/>
          </a:solidFill>
        </p:grpSpPr>
        <p:sp>
          <p:nvSpPr>
            <p:cNvPr id="6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6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0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0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0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0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0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0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0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0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0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0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1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1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1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1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1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grpSp>
      <p:sp>
        <p:nvSpPr>
          <p:cNvPr id="41" name="TextBox 40"/>
          <p:cNvSpPr txBox="1"/>
          <p:nvPr/>
        </p:nvSpPr>
        <p:spPr>
          <a:xfrm>
            <a:off x="7282595" y="4193366"/>
            <a:ext cx="3995852" cy="861390"/>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pPr algn="l"/>
            <a:r>
              <a:rPr lang="en-US" sz="1866" dirty="0"/>
              <a:t>Secure Endpoints </a:t>
            </a:r>
            <a:br>
              <a:rPr lang="en-US" sz="1866" dirty="0"/>
            </a:br>
            <a:r>
              <a:rPr lang="en-US" sz="1866" dirty="0"/>
              <a:t>with Windows </a:t>
            </a:r>
            <a:br>
              <a:rPr lang="en-US" sz="1866" dirty="0"/>
            </a:br>
            <a:r>
              <a:rPr lang="en-US" sz="1866" dirty="0"/>
              <a:t>Server Firewall</a:t>
            </a:r>
          </a:p>
        </p:txBody>
      </p:sp>
      <p:sp>
        <p:nvSpPr>
          <p:cNvPr id="119" name="Freeform 92"/>
          <p:cNvSpPr>
            <a:spLocks noEditPoints="1"/>
          </p:cNvSpPr>
          <p:nvPr/>
        </p:nvSpPr>
        <p:spPr bwMode="black">
          <a:xfrm>
            <a:off x="8849116" y="4544249"/>
            <a:ext cx="177716" cy="242074"/>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chemeClr val="tx2"/>
          </a:solidFill>
          <a:ln>
            <a:noFill/>
          </a:ln>
          <a:extLst/>
        </p:spPr>
        <p:txBody>
          <a:bodyPr vert="horz" wrap="square" lIns="121867" tIns="60933" rIns="121867" bIns="60933" numCol="1" anchor="t" anchorCtr="0" compatLnSpc="1">
            <a:prstTxWarp prst="textNoShape">
              <a:avLst/>
            </a:prstTxWarp>
          </a:bodyPr>
          <a:lstStyle/>
          <a:p>
            <a:endParaRPr lang="en-US" sz="2533" dirty="0"/>
          </a:p>
        </p:txBody>
      </p:sp>
      <p:sp>
        <p:nvSpPr>
          <p:cNvPr id="168" name="TextBox 167"/>
          <p:cNvSpPr txBox="1"/>
          <p:nvPr/>
        </p:nvSpPr>
        <p:spPr>
          <a:xfrm>
            <a:off x="6314439" y="6372697"/>
            <a:ext cx="1336197" cy="451149"/>
          </a:xfrm>
          <a:prstGeom prst="rect">
            <a:avLst/>
          </a:prstGeom>
          <a:noFill/>
        </p:spPr>
        <p:txBody>
          <a:bodyPr wrap="square" lIns="0" tIns="0" rIns="0" bIns="0" rtlCol="0">
            <a:spAutoFit/>
          </a:bodyPr>
          <a:lstStyle/>
          <a:p>
            <a:pPr algn="ctr"/>
            <a:r>
              <a:rPr lang="en-US" sz="1466" dirty="0">
                <a:gradFill>
                  <a:gsLst>
                    <a:gs pos="0">
                      <a:srgbClr val="595959"/>
                    </a:gs>
                    <a:gs pos="86000">
                      <a:srgbClr val="595959"/>
                    </a:gs>
                  </a:gsLst>
                  <a:lin ang="5400000" scaled="0"/>
                </a:gradFill>
              </a:rPr>
              <a:t>Load </a:t>
            </a:r>
            <a:br>
              <a:rPr lang="en-US" sz="1466" dirty="0">
                <a:gradFill>
                  <a:gsLst>
                    <a:gs pos="0">
                      <a:srgbClr val="595959"/>
                    </a:gs>
                    <a:gs pos="86000">
                      <a:srgbClr val="595959"/>
                    </a:gs>
                  </a:gsLst>
                  <a:lin ang="5400000" scaled="0"/>
                </a:gradFill>
              </a:rPr>
            </a:br>
            <a:r>
              <a:rPr lang="en-US" sz="1466" dirty="0">
                <a:gradFill>
                  <a:gsLst>
                    <a:gs pos="0">
                      <a:srgbClr val="595959"/>
                    </a:gs>
                    <a:gs pos="86000">
                      <a:srgbClr val="595959"/>
                    </a:gs>
                  </a:gsLst>
                  <a:lin ang="5400000" scaled="0"/>
                </a:gradFill>
              </a:rPr>
              <a:t>Balancer</a:t>
            </a:r>
          </a:p>
        </p:txBody>
      </p:sp>
      <p:sp>
        <p:nvSpPr>
          <p:cNvPr id="169" name="Oval 168"/>
          <p:cNvSpPr/>
          <p:nvPr/>
        </p:nvSpPr>
        <p:spPr bwMode="auto">
          <a:xfrm>
            <a:off x="7049155" y="5545336"/>
            <a:ext cx="626478" cy="53791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rtlCol="0" anchor="ctr" anchorCtr="0" compatLnSpc="1">
            <a:prstTxWarp prst="textNoShape">
              <a:avLst/>
            </a:prstTxWarp>
          </a:bodyPr>
          <a:lstStyle/>
          <a:p>
            <a:pPr algn="ctr" defTabSz="913765"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170" name="Rounded Rectangle 169"/>
          <p:cNvSpPr/>
          <p:nvPr/>
        </p:nvSpPr>
        <p:spPr bwMode="auto">
          <a:xfrm rot="3637710">
            <a:off x="6432999" y="5539948"/>
            <a:ext cx="575875" cy="546163"/>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rtlCol="0" anchor="ctr" anchorCtr="0" compatLnSpc="1">
            <a:prstTxWarp prst="textNoShape">
              <a:avLst/>
            </a:prstTxWarp>
          </a:bodyPr>
          <a:lstStyle/>
          <a:p>
            <a:pPr algn="ctr" defTabSz="913765" fontAlgn="base">
              <a:spcBef>
                <a:spcPct val="0"/>
              </a:spcBef>
              <a:spcAft>
                <a:spcPct val="0"/>
              </a:spcAft>
            </a:pPr>
            <a:endParaRPr lang="en-US" sz="2266" dirty="0">
              <a:gradFill>
                <a:gsLst>
                  <a:gs pos="0">
                    <a:srgbClr val="FFFFFF"/>
                  </a:gs>
                  <a:gs pos="100000">
                    <a:srgbClr val="FFFFFF"/>
                  </a:gs>
                </a:gsLst>
                <a:lin ang="5400000" scaled="0"/>
              </a:gradFill>
            </a:endParaRPr>
          </a:p>
        </p:txBody>
      </p:sp>
      <p:grpSp>
        <p:nvGrpSpPr>
          <p:cNvPr id="116" name="Group 115"/>
          <p:cNvGrpSpPr/>
          <p:nvPr/>
        </p:nvGrpSpPr>
        <p:grpSpPr bwMode="black">
          <a:xfrm>
            <a:off x="6212996" y="5294463"/>
            <a:ext cx="1475368" cy="1138614"/>
            <a:chOff x="7010400" y="2133600"/>
            <a:chExt cx="1379538" cy="1065213"/>
          </a:xfrm>
          <a:solidFill>
            <a:schemeClr val="tx2"/>
          </a:solidFill>
        </p:grpSpPr>
        <p:sp>
          <p:nvSpPr>
            <p:cNvPr id="120"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21"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22"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23"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24"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25"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27"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28"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29"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30"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31"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32"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33"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34"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35"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36"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37"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38"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39"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40"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41"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42"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43"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44"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45"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46"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47"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48"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49"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50"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51"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52"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53"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54"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55"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56"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57"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58"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59"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60"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61"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62"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63"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64"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65"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66"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67"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grpSp>
      <p:pic>
        <p:nvPicPr>
          <p:cNvPr id="3" name="Picture 2"/>
          <p:cNvPicPr>
            <a:picLocks noChangeAspect="1"/>
          </p:cNvPicPr>
          <p:nvPr/>
        </p:nvPicPr>
        <p:blipFill>
          <a:blip r:embed="rId5"/>
          <a:stretch>
            <a:fillRect/>
          </a:stretch>
        </p:blipFill>
        <p:spPr>
          <a:xfrm>
            <a:off x="9017782" y="2643678"/>
            <a:ext cx="776250" cy="641250"/>
          </a:xfrm>
          <a:prstGeom prst="rect">
            <a:avLst/>
          </a:prstGeom>
        </p:spPr>
      </p:pic>
      <p:pic>
        <p:nvPicPr>
          <p:cNvPr id="4" name="Picture 3"/>
          <p:cNvPicPr>
            <a:picLocks noChangeAspect="1"/>
          </p:cNvPicPr>
          <p:nvPr/>
        </p:nvPicPr>
        <p:blipFill>
          <a:blip r:embed="rId6"/>
          <a:stretch>
            <a:fillRect/>
          </a:stretch>
        </p:blipFill>
        <p:spPr>
          <a:xfrm>
            <a:off x="9705771" y="2259330"/>
            <a:ext cx="630000" cy="630000"/>
          </a:xfrm>
          <a:prstGeom prst="rect">
            <a:avLst/>
          </a:prstGeom>
        </p:spPr>
      </p:pic>
    </p:spTree>
    <p:extLst>
      <p:ext uri="{BB962C8B-B14F-4D97-AF65-F5344CB8AC3E}">
        <p14:creationId xmlns:p14="http://schemas.microsoft.com/office/powerpoint/2010/main" val="4268719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right)">
                                      <p:cBhvr>
                                        <p:cTn id="7" dur="5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8">
                                            <p:txEl>
                                              <p:pRg st="0" end="0"/>
                                            </p:txEl>
                                          </p:spTgt>
                                        </p:tgtEl>
                                        <p:attrNameLst>
                                          <p:attrName>style.visibility</p:attrName>
                                        </p:attrNameLst>
                                      </p:cBhvr>
                                      <p:to>
                                        <p:strVal val="visible"/>
                                      </p:to>
                                    </p:set>
                                    <p:animEffect transition="in" filter="fade">
                                      <p:cBhvr>
                                        <p:cTn id="10" dur="500"/>
                                        <p:tgtEl>
                                          <p:spTgt spid="28">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8">
                                            <p:txEl>
                                              <p:pRg st="1" end="1"/>
                                            </p:txEl>
                                          </p:spTgt>
                                        </p:tgtEl>
                                        <p:attrNameLst>
                                          <p:attrName>style.visibility</p:attrName>
                                        </p:attrNameLst>
                                      </p:cBhvr>
                                      <p:to>
                                        <p:strVal val="visible"/>
                                      </p:to>
                                    </p:set>
                                    <p:animEffect transition="in" filter="fade">
                                      <p:cBhvr>
                                        <p:cTn id="13" dur="500"/>
                                        <p:tgtEl>
                                          <p:spTgt spid="28">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8">
                                            <p:txEl>
                                              <p:pRg st="2" end="2"/>
                                            </p:txEl>
                                          </p:spTgt>
                                        </p:tgtEl>
                                        <p:attrNameLst>
                                          <p:attrName>style.visibility</p:attrName>
                                        </p:attrNameLst>
                                      </p:cBhvr>
                                      <p:to>
                                        <p:strVal val="visible"/>
                                      </p:to>
                                    </p:set>
                                    <p:animEffect transition="in" filter="fade">
                                      <p:cBhvr>
                                        <p:cTn id="16" dur="500"/>
                                        <p:tgtEl>
                                          <p:spTgt spid="28">
                                            <p:txEl>
                                              <p:pRg st="2" end="2"/>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8">
                                            <p:txEl>
                                              <p:pRg st="3" end="3"/>
                                            </p:txEl>
                                          </p:spTgt>
                                        </p:tgtEl>
                                        <p:attrNameLst>
                                          <p:attrName>style.visibility</p:attrName>
                                        </p:attrNameLst>
                                      </p:cBhvr>
                                      <p:to>
                                        <p:strVal val="visible"/>
                                      </p:to>
                                    </p:set>
                                    <p:animEffect transition="in" filter="fade">
                                      <p:cBhvr>
                                        <p:cTn id="19" dur="500"/>
                                        <p:tgtEl>
                                          <p:spTgt spid="28">
                                            <p:txEl>
                                              <p:pRg st="3" end="3"/>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8">
                                            <p:txEl>
                                              <p:pRg st="4" end="4"/>
                                            </p:txEl>
                                          </p:spTgt>
                                        </p:tgtEl>
                                        <p:attrNameLst>
                                          <p:attrName>style.visibility</p:attrName>
                                        </p:attrNameLst>
                                      </p:cBhvr>
                                      <p:to>
                                        <p:strVal val="visible"/>
                                      </p:to>
                                    </p:set>
                                    <p:animEffect transition="in" filter="fade">
                                      <p:cBhvr>
                                        <p:cTn id="22" dur="500"/>
                                        <p:tgtEl>
                                          <p:spTgt spid="28">
                                            <p:txEl>
                                              <p:pRg st="4" end="4"/>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9"/>
                                        </p:tgtEl>
                                        <p:attrNameLst>
                                          <p:attrName>style.visibility</p:attrName>
                                        </p:attrNameLst>
                                      </p:cBhvr>
                                      <p:to>
                                        <p:strVal val="visible"/>
                                      </p:to>
                                    </p:set>
                                    <p:animEffect transition="in" filter="fade">
                                      <p:cBhvr>
                                        <p:cTn id="25" dur="500"/>
                                        <p:tgtEl>
                                          <p:spTgt spid="29"/>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30"/>
                                        </p:tgtEl>
                                        <p:attrNameLst>
                                          <p:attrName>style.visibility</p:attrName>
                                        </p:attrNameLst>
                                      </p:cBhvr>
                                      <p:to>
                                        <p:strVal val="visible"/>
                                      </p:to>
                                    </p:set>
                                    <p:animEffect transition="in" filter="fade">
                                      <p:cBhvr>
                                        <p:cTn id="30"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build="p"/>
      <p:bldP spid="29" grpId="0"/>
      <p:bldP spid="30"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Connecting Cloud Services with VNET</a:t>
            </a:r>
          </a:p>
        </p:txBody>
      </p:sp>
      <p:sp>
        <p:nvSpPr>
          <p:cNvPr id="34" name="Content Placeholder 2"/>
          <p:cNvSpPr>
            <a:spLocks noGrp="1"/>
          </p:cNvSpPr>
          <p:nvPr>
            <p:ph type="body" sz="quarter" idx="4294967295"/>
          </p:nvPr>
        </p:nvSpPr>
        <p:spPr>
          <a:xfrm>
            <a:off x="265176" y="1426464"/>
            <a:ext cx="11149013" cy="2092858"/>
          </a:xfrm>
        </p:spPr>
        <p:txBody>
          <a:bodyPr/>
          <a:lstStyle/>
          <a:p>
            <a:pPr marL="0" indent="0">
              <a:buNone/>
            </a:pPr>
            <a:r>
              <a:rPr lang="en-US" sz="4000" dirty="0">
                <a:solidFill>
                  <a:schemeClr val="tx2">
                    <a:alpha val="99000"/>
                  </a:schemeClr>
                </a:solidFill>
              </a:rPr>
              <a:t>Strengths</a:t>
            </a:r>
          </a:p>
          <a:p>
            <a:pPr lvl="1"/>
            <a:r>
              <a:rPr lang="en-US" sz="2000" dirty="0"/>
              <a:t>Protect VMs from the open Internet</a:t>
            </a:r>
          </a:p>
          <a:p>
            <a:pPr lvl="1"/>
            <a:r>
              <a:rPr lang="en-US" sz="2000" dirty="0"/>
              <a:t>Lower Latency</a:t>
            </a:r>
          </a:p>
          <a:p>
            <a:pPr lvl="1"/>
            <a:r>
              <a:rPr lang="en-US" sz="2000" dirty="0"/>
              <a:t>VIP Swap (web / worker roles)</a:t>
            </a:r>
          </a:p>
          <a:p>
            <a:pPr lvl="1"/>
            <a:r>
              <a:rPr lang="en-US" sz="2000" dirty="0"/>
              <a:t>Advanced Connectivity Requirements</a:t>
            </a:r>
          </a:p>
        </p:txBody>
      </p:sp>
      <p:sp>
        <p:nvSpPr>
          <p:cNvPr id="40" name="Content Placeholder 2"/>
          <p:cNvSpPr txBox="1">
            <a:spLocks/>
          </p:cNvSpPr>
          <p:nvPr/>
        </p:nvSpPr>
        <p:spPr>
          <a:xfrm>
            <a:off x="265176" y="3803904"/>
            <a:ext cx="5087747" cy="2788216"/>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4000" dirty="0">
                <a:solidFill>
                  <a:schemeClr val="tx2">
                    <a:alpha val="99000"/>
                  </a:schemeClr>
                </a:solidFill>
                <a:latin typeface="+mj-lt"/>
              </a:rPr>
              <a:t>Weaknesses</a:t>
            </a:r>
          </a:p>
          <a:p>
            <a:pPr marL="572501" lvl="1" indent="-236468" defTabSz="914064">
              <a:buFont typeface="Arial" pitchFamily="34" charset="0"/>
              <a:buChar char="•"/>
            </a:pPr>
            <a:r>
              <a:rPr lang="en-US" sz="2000" dirty="0">
                <a:gradFill>
                  <a:gsLst>
                    <a:gs pos="1250">
                      <a:schemeClr val="tx1"/>
                    </a:gs>
                    <a:gs pos="100000">
                      <a:schemeClr val="tx1"/>
                    </a:gs>
                  </a:gsLst>
                  <a:lin ang="5400000" scaled="0"/>
                </a:gradFill>
              </a:rPr>
              <a:t>VNET Complexity</a:t>
            </a:r>
          </a:p>
          <a:p>
            <a:pPr marL="572501" lvl="1" indent="-236468" defTabSz="914064">
              <a:buFont typeface="Arial" pitchFamily="34" charset="0"/>
              <a:buChar char="•"/>
            </a:pPr>
            <a:r>
              <a:rPr lang="en-US" sz="2000" b="1" dirty="0" smtClean="0">
                <a:gradFill>
                  <a:gsLst>
                    <a:gs pos="1250">
                      <a:schemeClr val="tx1"/>
                    </a:gs>
                    <a:gs pos="100000">
                      <a:schemeClr val="tx1"/>
                    </a:gs>
                  </a:gsLst>
                  <a:lin ang="5400000" scaled="0"/>
                </a:gradFill>
              </a:rPr>
              <a:t>Windows </a:t>
            </a:r>
            <a:r>
              <a:rPr lang="en-US" sz="2000" b="1" dirty="0">
                <a:gradFill>
                  <a:gsLst>
                    <a:gs pos="1250">
                      <a:schemeClr val="tx1"/>
                    </a:gs>
                    <a:gs pos="100000">
                      <a:schemeClr val="tx1"/>
                    </a:gs>
                  </a:gsLst>
                  <a:lin ang="5400000" scaled="0"/>
                </a:gradFill>
              </a:rPr>
              <a:t>Azure Provided DNS does  not span  cloud services</a:t>
            </a:r>
          </a:p>
        </p:txBody>
      </p:sp>
      <p:sp>
        <p:nvSpPr>
          <p:cNvPr id="46" name="Freeform 6"/>
          <p:cNvSpPr>
            <a:spLocks/>
          </p:cNvSpPr>
          <p:nvPr/>
        </p:nvSpPr>
        <p:spPr bwMode="auto">
          <a:xfrm>
            <a:off x="8869368" y="4193367"/>
            <a:ext cx="2793500" cy="1434054"/>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accent2"/>
          </a:solidFill>
          <a:ln>
            <a:noFill/>
          </a:ln>
        </p:spPr>
        <p:txBody>
          <a:bodyPr vert="horz" wrap="square" lIns="121888" tIns="60944" rIns="121888" bIns="60944" numCol="1" anchor="t" anchorCtr="0" compatLnSpc="1">
            <a:prstTxWarp prst="textNoShape">
              <a:avLst/>
            </a:prstTxWarp>
          </a:bodyPr>
          <a:lstStyle/>
          <a:p>
            <a:endParaRPr lang="en-US" sz="2533" dirty="0"/>
          </a:p>
        </p:txBody>
      </p:sp>
      <p:sp>
        <p:nvSpPr>
          <p:cNvPr id="47" name="Freeform 7"/>
          <p:cNvSpPr>
            <a:spLocks/>
          </p:cNvSpPr>
          <p:nvPr/>
        </p:nvSpPr>
        <p:spPr bwMode="auto">
          <a:xfrm>
            <a:off x="7754474" y="4835392"/>
            <a:ext cx="3169307" cy="1620059"/>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accent2"/>
          </a:solidFill>
          <a:ln>
            <a:noFill/>
          </a:ln>
        </p:spPr>
        <p:txBody>
          <a:bodyPr vert="horz" wrap="square" lIns="121888" tIns="60944" rIns="121888" bIns="60944" numCol="1" anchor="t" anchorCtr="0" compatLnSpc="1">
            <a:prstTxWarp prst="textNoShape">
              <a:avLst/>
            </a:prstTxWarp>
          </a:bodyPr>
          <a:lstStyle/>
          <a:p>
            <a:endParaRPr lang="en-US" sz="2533" dirty="0"/>
          </a:p>
        </p:txBody>
      </p:sp>
      <p:grpSp>
        <p:nvGrpSpPr>
          <p:cNvPr id="48" name="Group 47"/>
          <p:cNvGrpSpPr/>
          <p:nvPr/>
        </p:nvGrpSpPr>
        <p:grpSpPr>
          <a:xfrm>
            <a:off x="7759731" y="1402653"/>
            <a:ext cx="3908394" cy="2262084"/>
            <a:chOff x="214313" y="2174875"/>
            <a:chExt cx="990600" cy="598488"/>
          </a:xfrm>
          <a:solidFill>
            <a:schemeClr val="accent2"/>
          </a:solidFill>
        </p:grpSpPr>
        <p:sp>
          <p:nvSpPr>
            <p:cNvPr id="49"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121888" tIns="60944" rIns="121888" bIns="60944" numCol="1" anchor="t" anchorCtr="0" compatLnSpc="1">
              <a:prstTxWarp prst="textNoShape">
                <a:avLst/>
              </a:prstTxWarp>
            </a:bodyPr>
            <a:lstStyle/>
            <a:p>
              <a:endParaRPr lang="en-US" sz="2533" dirty="0"/>
            </a:p>
          </p:txBody>
        </p:sp>
        <p:sp>
          <p:nvSpPr>
            <p:cNvPr id="50"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121888" tIns="60944" rIns="121888" bIns="60944" numCol="1" anchor="t" anchorCtr="0" compatLnSpc="1">
              <a:prstTxWarp prst="textNoShape">
                <a:avLst/>
              </a:prstTxWarp>
            </a:bodyPr>
            <a:lstStyle/>
            <a:p>
              <a:endParaRPr lang="en-US" sz="2533" dirty="0"/>
            </a:p>
          </p:txBody>
        </p:sp>
      </p:grpSp>
      <p:sp>
        <p:nvSpPr>
          <p:cNvPr id="51" name="TextBox 50"/>
          <p:cNvSpPr txBox="1"/>
          <p:nvPr/>
        </p:nvSpPr>
        <p:spPr>
          <a:xfrm>
            <a:off x="8724742" y="3866037"/>
            <a:ext cx="1163349" cy="451149"/>
          </a:xfrm>
          <a:prstGeom prst="rect">
            <a:avLst/>
          </a:prstGeom>
          <a:noFill/>
        </p:spPr>
        <p:txBody>
          <a:bodyPr wrap="square" lIns="0" tIns="0" rIns="0" bIns="0" rtlCol="0">
            <a:spAutoFit/>
          </a:bodyPr>
          <a:lstStyle/>
          <a:p>
            <a:pPr algn="ctr"/>
            <a:r>
              <a:rPr lang="en-US" sz="1466" dirty="0">
                <a:solidFill>
                  <a:schemeClr val="tx2">
                    <a:alpha val="99000"/>
                  </a:schemeClr>
                </a:solidFill>
              </a:rPr>
              <a:t>Direct Access </a:t>
            </a:r>
            <a:br>
              <a:rPr lang="en-US" sz="1466" dirty="0">
                <a:solidFill>
                  <a:schemeClr val="tx2">
                    <a:alpha val="99000"/>
                  </a:schemeClr>
                </a:solidFill>
              </a:rPr>
            </a:br>
            <a:r>
              <a:rPr lang="en-US" sz="1466" dirty="0">
                <a:solidFill>
                  <a:schemeClr val="tx2">
                    <a:alpha val="99000"/>
                  </a:schemeClr>
                </a:solidFill>
              </a:rPr>
              <a:t>via VNET</a:t>
            </a:r>
          </a:p>
        </p:txBody>
      </p:sp>
      <p:sp>
        <p:nvSpPr>
          <p:cNvPr id="52" name="TextBox 51"/>
          <p:cNvSpPr txBox="1"/>
          <p:nvPr/>
        </p:nvSpPr>
        <p:spPr>
          <a:xfrm>
            <a:off x="9422866" y="2316385"/>
            <a:ext cx="1382084" cy="410241"/>
          </a:xfrm>
          <a:prstGeom prst="rect">
            <a:avLst/>
          </a:prstGeom>
          <a:noFill/>
        </p:spPr>
        <p:txBody>
          <a:bodyPr wrap="square" lIns="0" tIns="0" rIns="0" bIns="0" rtlCol="0">
            <a:spAutoFit/>
          </a:bodyPr>
          <a:lstStyle/>
          <a:p>
            <a:pPr algn="ctr"/>
            <a:r>
              <a:rPr lang="en-US" sz="1333" b="1" dirty="0">
                <a:solidFill>
                  <a:schemeClr val="bg1">
                    <a:alpha val="99000"/>
                  </a:schemeClr>
                </a:solidFill>
              </a:rPr>
              <a:t>AppSubnet </a:t>
            </a:r>
          </a:p>
          <a:p>
            <a:pPr algn="ctr"/>
            <a:r>
              <a:rPr lang="en-US" sz="1333" b="1" dirty="0">
                <a:solidFill>
                  <a:schemeClr val="bg1">
                    <a:alpha val="99000"/>
                  </a:schemeClr>
                </a:solidFill>
              </a:rPr>
              <a:t>(10.0.0.0/16)</a:t>
            </a:r>
          </a:p>
        </p:txBody>
      </p:sp>
      <p:sp>
        <p:nvSpPr>
          <p:cNvPr id="53" name="TextBox 52"/>
          <p:cNvSpPr txBox="1"/>
          <p:nvPr/>
        </p:nvSpPr>
        <p:spPr>
          <a:xfrm>
            <a:off x="9458520" y="4997182"/>
            <a:ext cx="1275590" cy="410241"/>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sz="1333" dirty="0">
                <a:solidFill>
                  <a:schemeClr val="bg1">
                    <a:alpha val="99000"/>
                  </a:schemeClr>
                </a:solidFill>
              </a:rPr>
              <a:t>SQLSubnet </a:t>
            </a:r>
          </a:p>
          <a:p>
            <a:r>
              <a:rPr lang="en-US" sz="1333" dirty="0">
                <a:solidFill>
                  <a:schemeClr val="bg1">
                    <a:alpha val="99000"/>
                  </a:schemeClr>
                </a:solidFill>
              </a:rPr>
              <a:t>(10.1.0.0/16)</a:t>
            </a:r>
          </a:p>
        </p:txBody>
      </p:sp>
      <p:sp>
        <p:nvSpPr>
          <p:cNvPr id="54" name="TextBox 53"/>
          <p:cNvSpPr txBox="1"/>
          <p:nvPr/>
        </p:nvSpPr>
        <p:spPr>
          <a:xfrm>
            <a:off x="6225308" y="3480862"/>
            <a:ext cx="1336197" cy="451149"/>
          </a:xfrm>
          <a:prstGeom prst="rect">
            <a:avLst/>
          </a:prstGeom>
          <a:noFill/>
        </p:spPr>
        <p:txBody>
          <a:bodyPr wrap="square" lIns="0" tIns="0" rIns="0" bIns="0" rtlCol="0">
            <a:spAutoFit/>
          </a:bodyPr>
          <a:lstStyle/>
          <a:p>
            <a:pPr algn="ctr"/>
            <a:r>
              <a:rPr lang="en-US" sz="1466" dirty="0">
                <a:gradFill>
                  <a:gsLst>
                    <a:gs pos="0">
                      <a:srgbClr val="595959"/>
                    </a:gs>
                    <a:gs pos="86000">
                      <a:srgbClr val="595959"/>
                    </a:gs>
                  </a:gsLst>
                  <a:lin ang="5400000" scaled="0"/>
                </a:gradFill>
              </a:rPr>
              <a:t>Load </a:t>
            </a:r>
            <a:br>
              <a:rPr lang="en-US" sz="1466" dirty="0">
                <a:gradFill>
                  <a:gsLst>
                    <a:gs pos="0">
                      <a:srgbClr val="595959"/>
                    </a:gs>
                    <a:gs pos="86000">
                      <a:srgbClr val="595959"/>
                    </a:gs>
                  </a:gsLst>
                  <a:lin ang="5400000" scaled="0"/>
                </a:gradFill>
              </a:rPr>
            </a:br>
            <a:r>
              <a:rPr lang="en-US" sz="1466" dirty="0">
                <a:gradFill>
                  <a:gsLst>
                    <a:gs pos="0">
                      <a:srgbClr val="595959"/>
                    </a:gs>
                    <a:gs pos="86000">
                      <a:srgbClr val="595959"/>
                    </a:gs>
                  </a:gsLst>
                  <a:lin ang="5400000" scaled="0"/>
                </a:gradFill>
              </a:rPr>
              <a:t>Balancer</a:t>
            </a:r>
          </a:p>
        </p:txBody>
      </p:sp>
      <p:sp>
        <p:nvSpPr>
          <p:cNvPr id="55" name="Right Arrow 54"/>
          <p:cNvSpPr/>
          <p:nvPr/>
        </p:nvSpPr>
        <p:spPr bwMode="auto">
          <a:xfrm>
            <a:off x="7297131" y="2361588"/>
            <a:ext cx="1604261" cy="83073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rtlCol="0" anchor="ctr" anchorCtr="0" compatLnSpc="1">
            <a:prstTxWarp prst="textNoShape">
              <a:avLst/>
            </a:prstTxWarp>
          </a:bodyPr>
          <a:lstStyle/>
          <a:p>
            <a:pPr algn="ctr" defTabSz="913765" fontAlgn="base">
              <a:spcBef>
                <a:spcPct val="0"/>
              </a:spcBef>
              <a:spcAft>
                <a:spcPct val="0"/>
              </a:spcAft>
            </a:pPr>
            <a:r>
              <a:rPr lang="en-US" sz="2799" dirty="0">
                <a:gradFill>
                  <a:gsLst>
                    <a:gs pos="0">
                      <a:srgbClr val="FFFFFF"/>
                    </a:gs>
                    <a:gs pos="100000">
                      <a:srgbClr val="FFFFFF"/>
                    </a:gs>
                  </a:gsLst>
                  <a:lin ang="5400000" scaled="0"/>
                </a:gradFill>
              </a:rPr>
              <a:t>80</a:t>
            </a:r>
          </a:p>
        </p:txBody>
      </p:sp>
      <p:sp>
        <p:nvSpPr>
          <p:cNvPr id="56" name="Oval 55"/>
          <p:cNvSpPr/>
          <p:nvPr/>
        </p:nvSpPr>
        <p:spPr bwMode="auto">
          <a:xfrm>
            <a:off x="7001714" y="2539689"/>
            <a:ext cx="626478" cy="53791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rtlCol="0" anchor="ctr" anchorCtr="0" compatLnSpc="1">
            <a:prstTxWarp prst="textNoShape">
              <a:avLst/>
            </a:prstTxWarp>
          </a:bodyPr>
          <a:lstStyle/>
          <a:p>
            <a:pPr algn="ctr" defTabSz="913765" fontAlgn="base">
              <a:spcBef>
                <a:spcPct val="0"/>
              </a:spcBef>
              <a:spcAft>
                <a:spcPct val="0"/>
              </a:spcAft>
            </a:pPr>
            <a:endParaRPr lang="en-US" sz="2266" dirty="0">
              <a:gradFill>
                <a:gsLst>
                  <a:gs pos="0">
                    <a:srgbClr val="FFFFFF"/>
                  </a:gs>
                  <a:gs pos="100000">
                    <a:srgbClr val="FFFFFF"/>
                  </a:gs>
                </a:gsLst>
                <a:lin ang="5400000" scaled="0"/>
              </a:gradFill>
            </a:endParaRPr>
          </a:p>
        </p:txBody>
      </p:sp>
      <p:grpSp>
        <p:nvGrpSpPr>
          <p:cNvPr id="57" name="Group 56"/>
          <p:cNvGrpSpPr/>
          <p:nvPr/>
        </p:nvGrpSpPr>
        <p:grpSpPr bwMode="black">
          <a:xfrm>
            <a:off x="6155712" y="2280065"/>
            <a:ext cx="1475368" cy="1138614"/>
            <a:chOff x="7010400" y="2133600"/>
            <a:chExt cx="1379538" cy="1065213"/>
          </a:xfrm>
          <a:solidFill>
            <a:schemeClr val="tx2"/>
          </a:solidFill>
        </p:grpSpPr>
        <p:sp>
          <p:nvSpPr>
            <p:cNvPr id="5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5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6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6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6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6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6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6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6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6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6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6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0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0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0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0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0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grpSp>
      <p:sp>
        <p:nvSpPr>
          <p:cNvPr id="107" name="TextBox 106"/>
          <p:cNvSpPr txBox="1"/>
          <p:nvPr/>
        </p:nvSpPr>
        <p:spPr>
          <a:xfrm>
            <a:off x="8608029" y="3389041"/>
            <a:ext cx="1847036" cy="225574"/>
          </a:xfrm>
          <a:prstGeom prst="rect">
            <a:avLst/>
          </a:prstGeom>
          <a:noFill/>
        </p:spPr>
        <p:txBody>
          <a:bodyPr wrap="square" lIns="0" tIns="0" rIns="0" bIns="0" rtlCol="0">
            <a:spAutoFit/>
          </a:bodyPr>
          <a:lstStyle/>
          <a:p>
            <a:pPr algn="ctr"/>
            <a:r>
              <a:rPr lang="en-US" sz="1466" dirty="0">
                <a:solidFill>
                  <a:schemeClr val="bg1">
                    <a:alpha val="99000"/>
                  </a:schemeClr>
                </a:solidFill>
              </a:rPr>
              <a:t>Web or Worker</a:t>
            </a:r>
          </a:p>
        </p:txBody>
      </p:sp>
      <p:sp>
        <p:nvSpPr>
          <p:cNvPr id="110" name="TextBox 109"/>
          <p:cNvSpPr txBox="1"/>
          <p:nvPr/>
        </p:nvSpPr>
        <p:spPr>
          <a:xfrm>
            <a:off x="10504185" y="1669872"/>
            <a:ext cx="1025866" cy="492443"/>
          </a:xfrm>
          <a:prstGeom prst="rect">
            <a:avLst/>
          </a:prstGeom>
          <a:noFill/>
        </p:spPr>
        <p:txBody>
          <a:bodyPr wrap="square" lIns="0" tIns="0" rIns="0" bIns="0" rtlCol="0">
            <a:spAutoFit/>
          </a:bodyPr>
          <a:lstStyle/>
          <a:p>
            <a:pPr algn="r"/>
            <a:r>
              <a:rPr lang="en-US" sz="1600" dirty="0">
                <a:solidFill>
                  <a:schemeClr val="bg1">
                    <a:alpha val="99000"/>
                  </a:schemeClr>
                </a:solidFill>
              </a:rPr>
              <a:t>Cloud </a:t>
            </a:r>
          </a:p>
          <a:p>
            <a:pPr algn="r"/>
            <a:r>
              <a:rPr lang="en-US" sz="1600" dirty="0">
                <a:solidFill>
                  <a:schemeClr val="bg1">
                    <a:alpha val="99000"/>
                  </a:schemeClr>
                </a:solidFill>
              </a:rPr>
              <a:t>Service1</a:t>
            </a:r>
          </a:p>
        </p:txBody>
      </p:sp>
      <p:sp>
        <p:nvSpPr>
          <p:cNvPr id="111" name="TextBox 110"/>
          <p:cNvSpPr txBox="1"/>
          <p:nvPr/>
        </p:nvSpPr>
        <p:spPr>
          <a:xfrm>
            <a:off x="10266117" y="4478372"/>
            <a:ext cx="1189312" cy="492443"/>
          </a:xfrm>
          <a:prstGeom prst="rect">
            <a:avLst/>
          </a:prstGeom>
          <a:noFill/>
        </p:spPr>
        <p:txBody>
          <a:bodyPr wrap="square" lIns="0" tIns="0" rIns="0" bIns="0" rtlCol="0">
            <a:spAutoFit/>
          </a:bodyPr>
          <a:lstStyle/>
          <a:p>
            <a:pPr algn="r"/>
            <a:r>
              <a:rPr lang="en-US" sz="1600" dirty="0">
                <a:solidFill>
                  <a:schemeClr val="bg1">
                    <a:alpha val="99000"/>
                  </a:schemeClr>
                </a:solidFill>
              </a:rPr>
              <a:t>Cloud </a:t>
            </a:r>
          </a:p>
          <a:p>
            <a:pPr algn="r"/>
            <a:r>
              <a:rPr lang="en-US" sz="1600" dirty="0">
                <a:solidFill>
                  <a:schemeClr val="bg1">
                    <a:alpha val="99000"/>
                  </a:schemeClr>
                </a:solidFill>
              </a:rPr>
              <a:t>Service 2</a:t>
            </a:r>
          </a:p>
        </p:txBody>
      </p:sp>
      <p:sp>
        <p:nvSpPr>
          <p:cNvPr id="113" name="TextBox 112"/>
          <p:cNvSpPr txBox="1"/>
          <p:nvPr/>
        </p:nvSpPr>
        <p:spPr>
          <a:xfrm>
            <a:off x="8826174" y="5315262"/>
            <a:ext cx="472582" cy="287130"/>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sz="1866" dirty="0"/>
              <a:t>AD</a:t>
            </a:r>
          </a:p>
        </p:txBody>
      </p:sp>
      <p:cxnSp>
        <p:nvCxnSpPr>
          <p:cNvPr id="140" name="Straight Arrow Connector 139"/>
          <p:cNvCxnSpPr/>
          <p:nvPr/>
        </p:nvCxnSpPr>
        <p:spPr>
          <a:xfrm>
            <a:off x="9860923" y="3650750"/>
            <a:ext cx="0" cy="851783"/>
          </a:xfrm>
          <a:prstGeom prst="straightConnector1">
            <a:avLst/>
          </a:prstGeom>
          <a:ln w="31750">
            <a:solidFill>
              <a:schemeClr val="accent1"/>
            </a:solidFill>
            <a:headEnd type="arrow"/>
            <a:tailEnd type="arrow"/>
          </a:ln>
          <a:effectLst/>
        </p:spPr>
        <p:style>
          <a:lnRef idx="1">
            <a:schemeClr val="accent1"/>
          </a:lnRef>
          <a:fillRef idx="0">
            <a:schemeClr val="accent1"/>
          </a:fillRef>
          <a:effectRef idx="0">
            <a:schemeClr val="accent1"/>
          </a:effectRef>
          <a:fontRef idx="minor">
            <a:schemeClr val="tx1"/>
          </a:fontRef>
        </p:style>
      </p:cxnSp>
      <p:sp>
        <p:nvSpPr>
          <p:cNvPr id="142" name="TextBox 141"/>
          <p:cNvSpPr txBox="1"/>
          <p:nvPr/>
        </p:nvSpPr>
        <p:spPr>
          <a:xfrm>
            <a:off x="9566677" y="6018313"/>
            <a:ext cx="1265286" cy="225575"/>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sz="1466" dirty="0"/>
              <a:t>SQL Mirror</a:t>
            </a:r>
          </a:p>
        </p:txBody>
      </p:sp>
      <p:sp>
        <p:nvSpPr>
          <p:cNvPr id="150" name="TextBox 149"/>
          <p:cNvSpPr txBox="1"/>
          <p:nvPr/>
        </p:nvSpPr>
        <p:spPr>
          <a:xfrm>
            <a:off x="7629276" y="5673846"/>
            <a:ext cx="1258786" cy="409343"/>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sz="1330" dirty="0">
                <a:solidFill>
                  <a:schemeClr val="bg1">
                    <a:alpha val="99000"/>
                  </a:schemeClr>
                </a:solidFill>
              </a:rPr>
              <a:t>AD Subnet</a:t>
            </a:r>
          </a:p>
          <a:p>
            <a:r>
              <a:rPr lang="en-US" sz="1330" dirty="0">
                <a:solidFill>
                  <a:schemeClr val="bg1">
                    <a:alpha val="99000"/>
                  </a:schemeClr>
                </a:solidFill>
              </a:rPr>
              <a:t>(10.2.0.0/16)</a:t>
            </a:r>
          </a:p>
        </p:txBody>
      </p:sp>
      <p:sp>
        <p:nvSpPr>
          <p:cNvPr id="152" name="Rectangle 151"/>
          <p:cNvSpPr/>
          <p:nvPr/>
        </p:nvSpPr>
        <p:spPr>
          <a:xfrm>
            <a:off x="7786972" y="1454656"/>
            <a:ext cx="2026444" cy="338520"/>
          </a:xfrm>
          <a:prstGeom prst="rect">
            <a:avLst/>
          </a:prstGeom>
        </p:spPr>
        <p:txBody>
          <a:bodyPr wrap="none" lIns="91404" tIns="45703" rIns="91404" bIns="45703">
            <a:spAutoFit/>
          </a:bodyPr>
          <a:lstStyle/>
          <a:p>
            <a:r>
              <a:rPr lang="en-US" sz="1600" b="1" spc="-100" dirty="0">
                <a:ln w="3175">
                  <a:noFill/>
                </a:ln>
                <a:solidFill>
                  <a:schemeClr val="accent4">
                    <a:alpha val="99000"/>
                  </a:schemeClr>
                </a:solidFill>
                <a:latin typeface="Segoe UI Light" pitchFamily="34" charset="0"/>
                <a:cs typeface="Arial" charset="0"/>
              </a:rPr>
              <a:t>ContosoVNet (10.0.0.0/8)</a:t>
            </a:r>
          </a:p>
        </p:txBody>
      </p:sp>
      <p:sp>
        <p:nvSpPr>
          <p:cNvPr id="3" name="Rectangle 2"/>
          <p:cNvSpPr/>
          <p:nvPr/>
        </p:nvSpPr>
        <p:spPr bwMode="auto">
          <a:xfrm>
            <a:off x="7631082" y="1282291"/>
            <a:ext cx="4245210" cy="5333913"/>
          </a:xfrm>
          <a:prstGeom prst="rect">
            <a:avLst/>
          </a:prstGeom>
          <a:noFill/>
          <a:ln w="2222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8190" fontAlgn="base">
              <a:spcBef>
                <a:spcPct val="0"/>
              </a:spcBef>
              <a:spcAft>
                <a:spcPct val="0"/>
              </a:spcAft>
            </a:pPr>
            <a:endParaRPr lang="en-US" sz="2933" dirty="0">
              <a:gradFill>
                <a:gsLst>
                  <a:gs pos="0">
                    <a:srgbClr val="FFFFFF"/>
                  </a:gs>
                  <a:gs pos="100000">
                    <a:srgbClr val="FFFFFF"/>
                  </a:gs>
                </a:gsLst>
                <a:lin ang="5400000" scaled="0"/>
              </a:gradFill>
            </a:endParaRPr>
          </a:p>
        </p:txBody>
      </p:sp>
      <p:pic>
        <p:nvPicPr>
          <p:cNvPr id="4" name="Picture 3"/>
          <p:cNvPicPr>
            <a:picLocks noChangeAspect="1"/>
          </p:cNvPicPr>
          <p:nvPr/>
        </p:nvPicPr>
        <p:blipFill>
          <a:blip r:embed="rId4"/>
          <a:stretch>
            <a:fillRect/>
          </a:stretch>
        </p:blipFill>
        <p:spPr>
          <a:xfrm>
            <a:off x="8871816" y="2771879"/>
            <a:ext cx="630000" cy="630000"/>
          </a:xfrm>
          <a:prstGeom prst="rect">
            <a:avLst/>
          </a:prstGeom>
        </p:spPr>
      </p:pic>
      <p:pic>
        <p:nvPicPr>
          <p:cNvPr id="5" name="Picture 4"/>
          <p:cNvPicPr>
            <a:picLocks noChangeAspect="1"/>
          </p:cNvPicPr>
          <p:nvPr/>
        </p:nvPicPr>
        <p:blipFill>
          <a:blip r:embed="rId5"/>
          <a:stretch>
            <a:fillRect/>
          </a:stretch>
        </p:blipFill>
        <p:spPr>
          <a:xfrm>
            <a:off x="9577291" y="2799895"/>
            <a:ext cx="652500" cy="596250"/>
          </a:xfrm>
          <a:prstGeom prst="rect">
            <a:avLst/>
          </a:prstGeom>
        </p:spPr>
      </p:pic>
      <p:pic>
        <p:nvPicPr>
          <p:cNvPr id="151" name="Picture 150"/>
          <p:cNvPicPr>
            <a:picLocks noChangeAspect="1"/>
          </p:cNvPicPr>
          <p:nvPr/>
        </p:nvPicPr>
        <p:blipFill>
          <a:blip r:embed="rId5"/>
          <a:stretch>
            <a:fillRect/>
          </a:stretch>
        </p:blipFill>
        <p:spPr>
          <a:xfrm>
            <a:off x="8752672" y="5621898"/>
            <a:ext cx="652500" cy="596250"/>
          </a:xfrm>
          <a:prstGeom prst="rect">
            <a:avLst/>
          </a:prstGeom>
        </p:spPr>
      </p:pic>
      <p:grpSp>
        <p:nvGrpSpPr>
          <p:cNvPr id="116" name="Group 115"/>
          <p:cNvGrpSpPr/>
          <p:nvPr/>
        </p:nvGrpSpPr>
        <p:grpSpPr>
          <a:xfrm>
            <a:off x="8976362" y="5966580"/>
            <a:ext cx="619477" cy="443522"/>
            <a:chOff x="1840649" y="4818296"/>
            <a:chExt cx="966161" cy="691914"/>
          </a:xfrm>
        </p:grpSpPr>
        <p:sp>
          <p:nvSpPr>
            <p:cNvPr id="117" name="Freeform 116"/>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399" kern="0" dirty="0">
                <a:ln>
                  <a:solidFill>
                    <a:schemeClr val="bg1">
                      <a:alpha val="0"/>
                    </a:schemeClr>
                  </a:solidFill>
                </a:ln>
              </a:endParaRPr>
            </a:p>
          </p:txBody>
        </p:sp>
        <p:sp>
          <p:nvSpPr>
            <p:cNvPr id="118" name="Freeform 117"/>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399" kern="0" dirty="0">
                <a:ln>
                  <a:solidFill>
                    <a:schemeClr val="bg1">
                      <a:alpha val="0"/>
                    </a:schemeClr>
                  </a:solidFill>
                </a:ln>
              </a:endParaRPr>
            </a:p>
          </p:txBody>
        </p:sp>
        <p:sp>
          <p:nvSpPr>
            <p:cNvPr id="119" name="Oval 118"/>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399" kern="0" dirty="0">
                <a:ln>
                  <a:solidFill>
                    <a:schemeClr val="bg1">
                      <a:alpha val="0"/>
                    </a:schemeClr>
                  </a:solidFill>
                </a:ln>
              </a:endParaRPr>
            </a:p>
          </p:txBody>
        </p:sp>
        <p:sp>
          <p:nvSpPr>
            <p:cNvPr id="120" name="Oval 119"/>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399" kern="0" dirty="0">
                <a:ln>
                  <a:solidFill>
                    <a:schemeClr val="bg1">
                      <a:alpha val="0"/>
                    </a:schemeClr>
                  </a:solidFill>
                </a:ln>
              </a:endParaRPr>
            </a:p>
          </p:txBody>
        </p:sp>
        <p:sp>
          <p:nvSpPr>
            <p:cNvPr id="121" name="Oval 120"/>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399" kern="0" dirty="0">
                <a:ln>
                  <a:solidFill>
                    <a:schemeClr val="bg1">
                      <a:alpha val="0"/>
                    </a:schemeClr>
                  </a:solidFill>
                </a:ln>
              </a:endParaRPr>
            </a:p>
          </p:txBody>
        </p:sp>
        <p:sp>
          <p:nvSpPr>
            <p:cNvPr id="122" name="Oval 121"/>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399" kern="0" dirty="0">
                <a:ln>
                  <a:solidFill>
                    <a:schemeClr val="bg1">
                      <a:alpha val="0"/>
                    </a:schemeClr>
                  </a:solidFill>
                </a:ln>
              </a:endParaRPr>
            </a:p>
          </p:txBody>
        </p:sp>
        <p:sp>
          <p:nvSpPr>
            <p:cNvPr id="123" name="Oval 122"/>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399" kern="0" dirty="0">
                <a:ln>
                  <a:solidFill>
                    <a:schemeClr val="bg1">
                      <a:alpha val="0"/>
                    </a:schemeClr>
                  </a:solidFill>
                </a:ln>
              </a:endParaRPr>
            </a:p>
          </p:txBody>
        </p:sp>
        <p:sp>
          <p:nvSpPr>
            <p:cNvPr id="124" name="Oval 123"/>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399" kern="0" dirty="0">
                <a:ln>
                  <a:solidFill>
                    <a:schemeClr val="bg1">
                      <a:alpha val="0"/>
                    </a:schemeClr>
                  </a:solidFill>
                </a:ln>
              </a:endParaRPr>
            </a:p>
          </p:txBody>
        </p:sp>
        <p:sp>
          <p:nvSpPr>
            <p:cNvPr id="125" name="Oval 124"/>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399" kern="0" dirty="0">
                <a:ln>
                  <a:solidFill>
                    <a:schemeClr val="bg1">
                      <a:alpha val="0"/>
                    </a:schemeClr>
                  </a:solidFill>
                </a:ln>
              </a:endParaRPr>
            </a:p>
          </p:txBody>
        </p:sp>
        <p:sp>
          <p:nvSpPr>
            <p:cNvPr id="126" name="Oval 125"/>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399" kern="0" dirty="0">
                <a:ln>
                  <a:solidFill>
                    <a:schemeClr val="bg1">
                      <a:alpha val="0"/>
                    </a:schemeClr>
                  </a:solidFill>
                </a:ln>
              </a:endParaRPr>
            </a:p>
          </p:txBody>
        </p:sp>
        <p:sp>
          <p:nvSpPr>
            <p:cNvPr id="127" name="Arc 126"/>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2399" dirty="0">
                <a:ln>
                  <a:solidFill>
                    <a:schemeClr val="bg1">
                      <a:alpha val="0"/>
                    </a:schemeClr>
                  </a:solidFill>
                </a:ln>
              </a:endParaRPr>
            </a:p>
          </p:txBody>
        </p:sp>
        <p:sp>
          <p:nvSpPr>
            <p:cNvPr id="128" name="Arc 127"/>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2399" dirty="0">
                <a:ln>
                  <a:solidFill>
                    <a:schemeClr val="bg1">
                      <a:alpha val="0"/>
                    </a:schemeClr>
                  </a:solidFill>
                </a:ln>
              </a:endParaRPr>
            </a:p>
          </p:txBody>
        </p:sp>
        <p:sp>
          <p:nvSpPr>
            <p:cNvPr id="129" name="Arc 128"/>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2399" dirty="0">
                <a:ln>
                  <a:solidFill>
                    <a:schemeClr val="bg1">
                      <a:alpha val="0"/>
                    </a:schemeClr>
                  </a:solidFill>
                </a:ln>
              </a:endParaRPr>
            </a:p>
          </p:txBody>
        </p:sp>
        <p:cxnSp>
          <p:nvCxnSpPr>
            <p:cNvPr id="130" name="Straight Connector 129"/>
            <p:cNvCxnSpPr>
              <a:stCxn id="119" idx="4"/>
              <a:endCxn id="121"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1" name="Oval 130"/>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399" kern="0" dirty="0">
                <a:ln>
                  <a:solidFill>
                    <a:schemeClr val="bg1">
                      <a:alpha val="0"/>
                    </a:schemeClr>
                  </a:solidFill>
                </a:ln>
              </a:endParaRPr>
            </a:p>
          </p:txBody>
        </p:sp>
        <p:cxnSp>
          <p:nvCxnSpPr>
            <p:cNvPr id="132" name="Straight Connector 131"/>
            <p:cNvCxnSpPr>
              <a:stCxn id="120" idx="4"/>
              <a:endCxn id="122"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3" name="Oval 132"/>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399" kern="0" dirty="0">
                <a:ln>
                  <a:solidFill>
                    <a:schemeClr val="bg1">
                      <a:alpha val="0"/>
                    </a:schemeClr>
                  </a:solidFill>
                </a:ln>
              </a:endParaRPr>
            </a:p>
          </p:txBody>
        </p:sp>
        <p:cxnSp>
          <p:nvCxnSpPr>
            <p:cNvPr id="134" name="Straight Connector 133"/>
            <p:cNvCxnSpPr>
              <a:stCxn id="120" idx="3"/>
              <a:endCxn id="125"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5" name="Oval 134"/>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399" kern="0" dirty="0">
                <a:ln>
                  <a:solidFill>
                    <a:schemeClr val="bg1">
                      <a:alpha val="0"/>
                    </a:schemeClr>
                  </a:solidFill>
                </a:ln>
              </a:endParaRPr>
            </a:p>
          </p:txBody>
        </p:sp>
        <p:cxnSp>
          <p:nvCxnSpPr>
            <p:cNvPr id="136" name="Straight Connector 135"/>
            <p:cNvCxnSpPr>
              <a:stCxn id="119" idx="3"/>
              <a:endCxn id="126"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7" name="Oval 136"/>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399" kern="0" dirty="0">
                <a:ln>
                  <a:solidFill>
                    <a:schemeClr val="bg1">
                      <a:alpha val="0"/>
                    </a:schemeClr>
                  </a:solidFill>
                </a:ln>
              </a:endParaRPr>
            </a:p>
          </p:txBody>
        </p:sp>
        <p:cxnSp>
          <p:nvCxnSpPr>
            <p:cNvPr id="138" name="Straight Connector 137"/>
            <p:cNvCxnSpPr>
              <a:stCxn id="131" idx="3"/>
              <a:endCxn id="124"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a:stCxn id="133" idx="3"/>
              <a:endCxn id="123"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53" name="Picture 152"/>
          <p:cNvPicPr>
            <a:picLocks noChangeAspect="1"/>
          </p:cNvPicPr>
          <p:nvPr/>
        </p:nvPicPr>
        <p:blipFill>
          <a:blip r:embed="rId5"/>
          <a:stretch>
            <a:fillRect/>
          </a:stretch>
        </p:blipFill>
        <p:spPr>
          <a:xfrm>
            <a:off x="10148582" y="5440396"/>
            <a:ext cx="652500" cy="596250"/>
          </a:xfrm>
          <a:prstGeom prst="rect">
            <a:avLst/>
          </a:prstGeom>
        </p:spPr>
      </p:pic>
      <p:pic>
        <p:nvPicPr>
          <p:cNvPr id="154" name="Picture 153"/>
          <p:cNvPicPr>
            <a:picLocks noChangeAspect="1"/>
          </p:cNvPicPr>
          <p:nvPr/>
        </p:nvPicPr>
        <p:blipFill>
          <a:blip r:embed="rId5"/>
          <a:stretch>
            <a:fillRect/>
          </a:stretch>
        </p:blipFill>
        <p:spPr>
          <a:xfrm>
            <a:off x="9445641" y="5444715"/>
            <a:ext cx="652500" cy="596250"/>
          </a:xfrm>
          <a:prstGeom prst="rect">
            <a:avLst/>
          </a:prstGeom>
        </p:spPr>
      </p:pic>
    </p:spTree>
    <p:extLst>
      <p:ext uri="{BB962C8B-B14F-4D97-AF65-F5344CB8AC3E}">
        <p14:creationId xmlns:p14="http://schemas.microsoft.com/office/powerpoint/2010/main" val="32056985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4">
                                            <p:txEl>
                                              <p:pRg st="0" end="0"/>
                                            </p:txEl>
                                          </p:spTgt>
                                        </p:tgtEl>
                                        <p:attrNameLst>
                                          <p:attrName>style.visibility</p:attrName>
                                        </p:attrNameLst>
                                      </p:cBhvr>
                                      <p:to>
                                        <p:strVal val="visible"/>
                                      </p:to>
                                    </p:set>
                                    <p:animEffect transition="in" filter="fade">
                                      <p:cBhvr>
                                        <p:cTn id="7" dur="500"/>
                                        <p:tgtEl>
                                          <p:spTgt spid="3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4">
                                            <p:txEl>
                                              <p:pRg st="1" end="1"/>
                                            </p:txEl>
                                          </p:spTgt>
                                        </p:tgtEl>
                                        <p:attrNameLst>
                                          <p:attrName>style.visibility</p:attrName>
                                        </p:attrNameLst>
                                      </p:cBhvr>
                                      <p:to>
                                        <p:strVal val="visible"/>
                                      </p:to>
                                    </p:set>
                                    <p:animEffect transition="in" filter="fade">
                                      <p:cBhvr>
                                        <p:cTn id="10" dur="500"/>
                                        <p:tgtEl>
                                          <p:spTgt spid="34">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4">
                                            <p:txEl>
                                              <p:pRg st="2" end="2"/>
                                            </p:txEl>
                                          </p:spTgt>
                                        </p:tgtEl>
                                        <p:attrNameLst>
                                          <p:attrName>style.visibility</p:attrName>
                                        </p:attrNameLst>
                                      </p:cBhvr>
                                      <p:to>
                                        <p:strVal val="visible"/>
                                      </p:to>
                                    </p:set>
                                    <p:animEffect transition="in" filter="fade">
                                      <p:cBhvr>
                                        <p:cTn id="13" dur="500"/>
                                        <p:tgtEl>
                                          <p:spTgt spid="34">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4">
                                            <p:txEl>
                                              <p:pRg st="3" end="3"/>
                                            </p:txEl>
                                          </p:spTgt>
                                        </p:tgtEl>
                                        <p:attrNameLst>
                                          <p:attrName>style.visibility</p:attrName>
                                        </p:attrNameLst>
                                      </p:cBhvr>
                                      <p:to>
                                        <p:strVal val="visible"/>
                                      </p:to>
                                    </p:set>
                                    <p:animEffect transition="in" filter="fade">
                                      <p:cBhvr>
                                        <p:cTn id="16" dur="500"/>
                                        <p:tgtEl>
                                          <p:spTgt spid="34">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4">
                                            <p:txEl>
                                              <p:pRg st="4" end="4"/>
                                            </p:txEl>
                                          </p:spTgt>
                                        </p:tgtEl>
                                        <p:attrNameLst>
                                          <p:attrName>style.visibility</p:attrName>
                                        </p:attrNameLst>
                                      </p:cBhvr>
                                      <p:to>
                                        <p:strVal val="visible"/>
                                      </p:to>
                                    </p:set>
                                    <p:animEffect transition="in" filter="fade">
                                      <p:cBhvr>
                                        <p:cTn id="19" dur="500"/>
                                        <p:tgtEl>
                                          <p:spTgt spid="34">
                                            <p:txEl>
                                              <p:pRg st="4" end="4"/>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40"/>
                                        </p:tgtEl>
                                        <p:attrNameLst>
                                          <p:attrName>style.visibility</p:attrName>
                                        </p:attrNameLst>
                                      </p:cBhvr>
                                      <p:to>
                                        <p:strVal val="visible"/>
                                      </p:to>
                                    </p:set>
                                    <p:animEffect transition="in" filter="fade">
                                      <p:cBhvr>
                                        <p:cTn id="24"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build="p"/>
      <p:bldP spid="40"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endParaRPr lang="en-US" dirty="0"/>
          </a:p>
        </p:txBody>
      </p:sp>
      <p:sp>
        <p:nvSpPr>
          <p:cNvPr id="6" name="Text Placeholder 5"/>
          <p:cNvSpPr>
            <a:spLocks noGrp="1"/>
          </p:cNvSpPr>
          <p:nvPr>
            <p:ph type="body" sz="quarter" idx="12"/>
          </p:nvPr>
        </p:nvSpPr>
        <p:spPr/>
        <p:txBody>
          <a:bodyPr/>
          <a:lstStyle/>
          <a:p>
            <a:r>
              <a:rPr lang="en-US" dirty="0" smtClean="0"/>
              <a:t>Connecting Cloud Services</a:t>
            </a:r>
            <a:endParaRPr lang="en-US" dirty="0"/>
          </a:p>
        </p:txBody>
      </p:sp>
    </p:spTree>
    <p:extLst>
      <p:ext uri="{BB962C8B-B14F-4D97-AF65-F5344CB8AC3E}">
        <p14:creationId xmlns:p14="http://schemas.microsoft.com/office/powerpoint/2010/main" val="34100444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A simple </a:t>
            </a:r>
            <a:br>
              <a:rPr lang="en-US" dirty="0" smtClean="0"/>
            </a:br>
            <a:r>
              <a:rPr lang="en-US" dirty="0" smtClean="0"/>
              <a:t>scenario</a:t>
            </a:r>
            <a:endParaRPr lang="en-US" dirty="0"/>
          </a:p>
        </p:txBody>
      </p:sp>
    </p:spTree>
    <p:extLst>
      <p:ext uri="{BB962C8B-B14F-4D97-AF65-F5344CB8AC3E}">
        <p14:creationId xmlns:p14="http://schemas.microsoft.com/office/powerpoint/2010/main" val="1105576756"/>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dirty="0" smtClean="0"/>
          </a:p>
        </p:txBody>
      </p:sp>
      <p:sp>
        <p:nvSpPr>
          <p:cNvPr id="3" name="Title 2"/>
          <p:cNvSpPr>
            <a:spLocks noGrp="1"/>
          </p:cNvSpPr>
          <p:nvPr>
            <p:ph type="title"/>
          </p:nvPr>
        </p:nvSpPr>
        <p:spPr/>
        <p:txBody>
          <a:bodyPr/>
          <a:lstStyle/>
          <a:p>
            <a:pPr lvl="0"/>
            <a:r>
              <a:rPr lang="en-US" dirty="0" smtClean="0"/>
              <a:t>Open Standards</a:t>
            </a:r>
            <a:endParaRPr lang="en-US" dirty="0"/>
          </a:p>
        </p:txBody>
      </p:sp>
    </p:spTree>
    <p:extLst>
      <p:ext uri="{BB962C8B-B14F-4D97-AF65-F5344CB8AC3E}">
        <p14:creationId xmlns:p14="http://schemas.microsoft.com/office/powerpoint/2010/main" val="995260345"/>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p:cNvGrpSpPr/>
          <p:nvPr/>
        </p:nvGrpSpPr>
        <p:grpSpPr>
          <a:xfrm>
            <a:off x="4724400" y="2901696"/>
            <a:ext cx="2468880" cy="3694176"/>
            <a:chOff x="4724400" y="2901696"/>
            <a:chExt cx="2468880" cy="3694176"/>
          </a:xfrm>
        </p:grpSpPr>
        <p:grpSp>
          <p:nvGrpSpPr>
            <p:cNvPr id="28" name="Group 27"/>
            <p:cNvGrpSpPr/>
            <p:nvPr/>
          </p:nvGrpSpPr>
          <p:grpSpPr>
            <a:xfrm>
              <a:off x="5153230" y="3291840"/>
              <a:ext cx="1680386" cy="2438400"/>
              <a:chOff x="4680790" y="3291840"/>
              <a:chExt cx="1680386" cy="2438400"/>
            </a:xfrm>
          </p:grpSpPr>
          <p:sp>
            <p:nvSpPr>
              <p:cNvPr id="5" name="Rectangle 4"/>
              <p:cNvSpPr/>
              <p:nvPr/>
            </p:nvSpPr>
            <p:spPr bwMode="auto">
              <a:xfrm>
                <a:off x="4680790" y="3291840"/>
                <a:ext cx="1680386" cy="11216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Web</a:t>
                </a:r>
              </a:p>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Server</a:t>
                </a:r>
              </a:p>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4 core VM)</a:t>
                </a:r>
              </a:p>
            </p:txBody>
          </p:sp>
          <p:sp>
            <p:nvSpPr>
              <p:cNvPr id="6" name="Rectangle 5"/>
              <p:cNvSpPr/>
              <p:nvPr/>
            </p:nvSpPr>
            <p:spPr bwMode="auto">
              <a:xfrm>
                <a:off x="4680790" y="4578096"/>
                <a:ext cx="1680386" cy="115214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SQL</a:t>
                </a:r>
              </a:p>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Server</a:t>
                </a:r>
              </a:p>
              <a:p>
                <a:pPr algn="ctr" defTabSz="932472" fontAlgn="base">
                  <a:lnSpc>
                    <a:spcPct val="90000"/>
                  </a:lnSpc>
                  <a:spcBef>
                    <a:spcPct val="0"/>
                  </a:spcBef>
                  <a:spcAft>
                    <a:spcPct val="0"/>
                  </a:spcAft>
                </a:pPr>
                <a:r>
                  <a:rPr lang="en-US" sz="1800" dirty="0">
                    <a:gradFill>
                      <a:gsLst>
                        <a:gs pos="0">
                          <a:srgbClr val="FFFFFF"/>
                        </a:gs>
                        <a:gs pos="100000">
                          <a:srgbClr val="FFFFFF"/>
                        </a:gs>
                      </a:gsLst>
                      <a:lin ang="5400000" scaled="0"/>
                    </a:gradFill>
                    <a:ea typeface="Segoe UI" pitchFamily="34" charset="0"/>
                    <a:cs typeface="Segoe UI" pitchFamily="34" charset="0"/>
                  </a:rPr>
                  <a:t>(</a:t>
                </a:r>
                <a:r>
                  <a:rPr lang="en-US" sz="1800" dirty="0" smtClean="0">
                    <a:gradFill>
                      <a:gsLst>
                        <a:gs pos="0">
                          <a:srgbClr val="FFFFFF"/>
                        </a:gs>
                        <a:gs pos="100000">
                          <a:srgbClr val="FFFFFF"/>
                        </a:gs>
                      </a:gsLst>
                      <a:lin ang="5400000" scaled="0"/>
                    </a:gradFill>
                    <a:ea typeface="Segoe UI" pitchFamily="34" charset="0"/>
                    <a:cs typeface="Segoe UI" pitchFamily="34" charset="0"/>
                  </a:rPr>
                  <a:t>4 cores VM)</a:t>
                </a:r>
                <a:endParaRPr lang="en-US" sz="18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30" name="Rectangle 29"/>
            <p:cNvSpPr/>
            <p:nvPr/>
          </p:nvSpPr>
          <p:spPr bwMode="auto">
            <a:xfrm>
              <a:off x="4724400" y="2901696"/>
              <a:ext cx="2468880" cy="3694176"/>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solidFill>
                    <a:schemeClr val="accent6"/>
                  </a:solidFill>
                  <a:ea typeface="Segoe UI" pitchFamily="34" charset="0"/>
                  <a:cs typeface="Segoe UI" pitchFamily="34" charset="0"/>
                </a:rPr>
                <a:t>On-premises datacenter</a:t>
              </a:r>
            </a:p>
          </p:txBody>
        </p:sp>
      </p:grpSp>
      <p:sp>
        <p:nvSpPr>
          <p:cNvPr id="33" name="Line Callout 1 32"/>
          <p:cNvSpPr/>
          <p:nvPr/>
        </p:nvSpPr>
        <p:spPr bwMode="auto">
          <a:xfrm>
            <a:off x="9975166" y="3350221"/>
            <a:ext cx="1633728" cy="1354719"/>
          </a:xfrm>
          <a:prstGeom prst="borderCallout1">
            <a:avLst>
              <a:gd name="adj1" fmla="val 25781"/>
              <a:gd name="adj2" fmla="val 4493"/>
              <a:gd name="adj3" fmla="val 26355"/>
              <a:gd name="adj4" fmla="val -196197"/>
            </a:avLst>
          </a:prstGeom>
          <a:solidFill>
            <a:srgbClr val="C00000"/>
          </a:solidFill>
          <a:ln>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Single Point of failure</a:t>
            </a:r>
          </a:p>
        </p:txBody>
      </p:sp>
      <p:sp>
        <p:nvSpPr>
          <p:cNvPr id="34" name="Line Callout 1 33"/>
          <p:cNvSpPr/>
          <p:nvPr/>
        </p:nvSpPr>
        <p:spPr bwMode="auto">
          <a:xfrm>
            <a:off x="9975166" y="4805992"/>
            <a:ext cx="1633728" cy="1354719"/>
          </a:xfrm>
          <a:prstGeom prst="borderCallout1">
            <a:avLst>
              <a:gd name="adj1" fmla="val 25781"/>
              <a:gd name="adj2" fmla="val 10324"/>
              <a:gd name="adj3" fmla="val 26355"/>
              <a:gd name="adj4" fmla="val -196197"/>
            </a:avLst>
          </a:prstGeom>
          <a:solidFill>
            <a:srgbClr val="C00000"/>
          </a:solidFill>
          <a:ln>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Backup and </a:t>
            </a:r>
            <a:r>
              <a:rPr lang="en-US" sz="2000" dirty="0" err="1" smtClean="0">
                <a:gradFill>
                  <a:gsLst>
                    <a:gs pos="0">
                      <a:srgbClr val="FFFFFF"/>
                    </a:gs>
                    <a:gs pos="100000">
                      <a:srgbClr val="FFFFFF"/>
                    </a:gs>
                  </a:gsLst>
                  <a:lin ang="5400000" scaled="0"/>
                </a:gradFill>
                <a:ea typeface="Segoe UI" pitchFamily="34" charset="0"/>
                <a:cs typeface="Segoe UI" pitchFamily="34" charset="0"/>
              </a:rPr>
              <a:t>Mgmnt</a:t>
            </a: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5" name="Line Callout 1 34"/>
          <p:cNvSpPr/>
          <p:nvPr/>
        </p:nvSpPr>
        <p:spPr bwMode="auto">
          <a:xfrm>
            <a:off x="9975166" y="914400"/>
            <a:ext cx="1633728" cy="1354719"/>
          </a:xfrm>
          <a:prstGeom prst="borderCallout1">
            <a:avLst>
              <a:gd name="adj1" fmla="val 45468"/>
              <a:gd name="adj2" fmla="val 5660"/>
              <a:gd name="adj3" fmla="val 131819"/>
              <a:gd name="adj4" fmla="val -178617"/>
            </a:avLst>
          </a:prstGeom>
          <a:solidFill>
            <a:srgbClr val="C00000"/>
          </a:solidFill>
          <a:ln>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Single Network Point</a:t>
            </a:r>
          </a:p>
        </p:txBody>
      </p:sp>
      <p:sp>
        <p:nvSpPr>
          <p:cNvPr id="36" name="Line Callout 1 35"/>
          <p:cNvSpPr/>
          <p:nvPr/>
        </p:nvSpPr>
        <p:spPr bwMode="auto">
          <a:xfrm>
            <a:off x="371856" y="955196"/>
            <a:ext cx="1633728" cy="1354719"/>
          </a:xfrm>
          <a:prstGeom prst="borderCallout1">
            <a:avLst>
              <a:gd name="adj1" fmla="val 57150"/>
              <a:gd name="adj2" fmla="val 92574"/>
              <a:gd name="adj3" fmla="val 24464"/>
              <a:gd name="adj4" fmla="val 136545"/>
            </a:avLst>
          </a:prstGeom>
          <a:solidFill>
            <a:srgbClr val="C00000"/>
          </a:solidFill>
          <a:ln>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Can’t Scale with Load</a:t>
            </a:r>
          </a:p>
        </p:txBody>
      </p:sp>
      <p:grpSp>
        <p:nvGrpSpPr>
          <p:cNvPr id="38" name="Customers"/>
          <p:cNvGrpSpPr/>
          <p:nvPr/>
        </p:nvGrpSpPr>
        <p:grpSpPr>
          <a:xfrm>
            <a:off x="425196" y="2767584"/>
            <a:ext cx="4165854" cy="3828287"/>
            <a:chOff x="425196" y="2767584"/>
            <a:chExt cx="4165854" cy="3828287"/>
          </a:xfrm>
        </p:grpSpPr>
        <p:sp>
          <p:nvSpPr>
            <p:cNvPr id="8" name="Rectangle 7"/>
            <p:cNvSpPr/>
            <p:nvPr/>
          </p:nvSpPr>
          <p:spPr bwMode="auto">
            <a:xfrm>
              <a:off x="749808" y="3822192"/>
              <a:ext cx="1414272" cy="755904"/>
            </a:xfrm>
            <a:prstGeom prst="rect">
              <a:avLst/>
            </a:prstGeom>
            <a:solidFill>
              <a:srgbClr val="30303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Customer SQL</a:t>
              </a:r>
              <a:endParaRPr lang="en-US" sz="1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18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749808" y="4727448"/>
              <a:ext cx="1414272" cy="755904"/>
            </a:xfrm>
            <a:prstGeom prst="rect">
              <a:avLst/>
            </a:prstGeom>
            <a:solidFill>
              <a:srgbClr val="30303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Customer SQL</a:t>
              </a:r>
              <a:endParaRPr lang="en-US" sz="1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18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749808" y="5632704"/>
              <a:ext cx="1414272" cy="755904"/>
            </a:xfrm>
            <a:prstGeom prst="rect">
              <a:avLst/>
            </a:prstGeom>
            <a:solidFill>
              <a:srgbClr val="30303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Customer SQL</a:t>
              </a:r>
              <a:endParaRPr lang="en-US" sz="1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18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31"/>
            <p:cNvSpPr/>
            <p:nvPr/>
          </p:nvSpPr>
          <p:spPr bwMode="auto">
            <a:xfrm>
              <a:off x="425196" y="2767584"/>
              <a:ext cx="1946148" cy="3828287"/>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solidFill>
                    <a:schemeClr val="accent6"/>
                  </a:solidFill>
                  <a:ea typeface="Segoe UI" pitchFamily="34" charset="0"/>
                  <a:cs typeface="Segoe UI" pitchFamily="34" charset="0"/>
                </a:rPr>
                <a:t>Each customer’s datacenter</a:t>
              </a:r>
            </a:p>
          </p:txBody>
        </p:sp>
        <p:sp>
          <p:nvSpPr>
            <p:cNvPr id="29" name="Down Arrow 28"/>
            <p:cNvSpPr/>
            <p:nvPr/>
          </p:nvSpPr>
          <p:spPr bwMode="auto">
            <a:xfrm rot="16200000">
              <a:off x="3195447" y="3664076"/>
              <a:ext cx="755904" cy="2035302"/>
            </a:xfrm>
            <a:prstGeom prst="down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4" name="Clients"/>
          <p:cNvGrpSpPr/>
          <p:nvPr/>
        </p:nvGrpSpPr>
        <p:grpSpPr>
          <a:xfrm>
            <a:off x="2389632" y="67056"/>
            <a:ext cx="6038088" cy="2700525"/>
            <a:chOff x="2389632" y="67056"/>
            <a:chExt cx="6038088" cy="2700525"/>
          </a:xfrm>
        </p:grpSpPr>
        <p:sp>
          <p:nvSpPr>
            <p:cNvPr id="41" name="Freeform 40"/>
            <p:cNvSpPr/>
            <p:nvPr/>
          </p:nvSpPr>
          <p:spPr>
            <a:xfrm>
              <a:off x="3873860" y="191247"/>
              <a:ext cx="4480855" cy="880030"/>
            </a:xfrm>
            <a:custGeom>
              <a:avLst/>
              <a:gdLst>
                <a:gd name="connsiteX0" fmla="*/ 1152413 w 8734227"/>
                <a:gd name="connsiteY0" fmla="*/ 1636663 h 1715383"/>
                <a:gd name="connsiteX1" fmla="*/ 1152413 w 8734227"/>
                <a:gd name="connsiteY1" fmla="*/ 1663491 h 1715383"/>
                <a:gd name="connsiteX2" fmla="*/ 1188645 w 8734227"/>
                <a:gd name="connsiteY2" fmla="*/ 1668494 h 1715383"/>
                <a:gd name="connsiteX3" fmla="*/ 1188591 w 8734227"/>
                <a:gd name="connsiteY3" fmla="*/ 1636663 h 1715383"/>
                <a:gd name="connsiteX4" fmla="*/ 1121597 w 8734227"/>
                <a:gd name="connsiteY4" fmla="*/ 1636663 h 1715383"/>
                <a:gd name="connsiteX5" fmla="*/ 1121599 w 8734227"/>
                <a:gd name="connsiteY5" fmla="*/ 1659239 h 1715383"/>
                <a:gd name="connsiteX6" fmla="*/ 1149027 w 8734227"/>
                <a:gd name="connsiteY6" fmla="*/ 1663024 h 1715383"/>
                <a:gd name="connsiteX7" fmla="*/ 1149027 w 8734227"/>
                <a:gd name="connsiteY7" fmla="*/ 1636663 h 1715383"/>
                <a:gd name="connsiteX8" fmla="*/ 5975882 w 8734227"/>
                <a:gd name="connsiteY8" fmla="*/ 1616729 h 1715383"/>
                <a:gd name="connsiteX9" fmla="*/ 5975882 w 8734227"/>
                <a:gd name="connsiteY9" fmla="*/ 1629353 h 1715383"/>
                <a:gd name="connsiteX10" fmla="*/ 6053370 w 8734227"/>
                <a:gd name="connsiteY10" fmla="*/ 1629353 h 1715383"/>
                <a:gd name="connsiteX11" fmla="*/ 6053370 w 8734227"/>
                <a:gd name="connsiteY11" fmla="*/ 1616729 h 1715383"/>
                <a:gd name="connsiteX12" fmla="*/ 8268937 w 8734227"/>
                <a:gd name="connsiteY12" fmla="*/ 1608864 h 1715383"/>
                <a:gd name="connsiteX13" fmla="*/ 8268937 w 8734227"/>
                <a:gd name="connsiteY13" fmla="*/ 1614441 h 1715383"/>
                <a:gd name="connsiteX14" fmla="*/ 8303165 w 8734227"/>
                <a:gd name="connsiteY14" fmla="*/ 1614441 h 1715383"/>
                <a:gd name="connsiteX15" fmla="*/ 8303165 w 8734227"/>
                <a:gd name="connsiteY15" fmla="*/ 1608864 h 1715383"/>
                <a:gd name="connsiteX16" fmla="*/ 1149027 w 8734227"/>
                <a:gd name="connsiteY16" fmla="*/ 1606864 h 1715383"/>
                <a:gd name="connsiteX17" fmla="*/ 1121599 w 8734227"/>
                <a:gd name="connsiteY17" fmla="*/ 1610703 h 1715383"/>
                <a:gd name="connsiteX18" fmla="*/ 1121602 w 8734227"/>
                <a:gd name="connsiteY18" fmla="*/ 1633277 h 1715383"/>
                <a:gd name="connsiteX19" fmla="*/ 1149027 w 8734227"/>
                <a:gd name="connsiteY19" fmla="*/ 1633277 h 1715383"/>
                <a:gd name="connsiteX20" fmla="*/ 4027721 w 8734227"/>
                <a:gd name="connsiteY20" fmla="*/ 1601447 h 1715383"/>
                <a:gd name="connsiteX21" fmla="*/ 3987043 w 8734227"/>
                <a:gd name="connsiteY21" fmla="*/ 1642124 h 1715383"/>
                <a:gd name="connsiteX22" fmla="*/ 4027721 w 8734227"/>
                <a:gd name="connsiteY22" fmla="*/ 1682801 h 1715383"/>
                <a:gd name="connsiteX23" fmla="*/ 4068398 w 8734227"/>
                <a:gd name="connsiteY23" fmla="*/ 1642124 h 1715383"/>
                <a:gd name="connsiteX24" fmla="*/ 4027721 w 8734227"/>
                <a:gd name="connsiteY24" fmla="*/ 1601447 h 1715383"/>
                <a:gd name="connsiteX25" fmla="*/ 1188532 w 8734227"/>
                <a:gd name="connsiteY25" fmla="*/ 1601335 h 1715383"/>
                <a:gd name="connsiteX26" fmla="*/ 1152413 w 8734227"/>
                <a:gd name="connsiteY26" fmla="*/ 1606390 h 1715383"/>
                <a:gd name="connsiteX27" fmla="*/ 1152413 w 8734227"/>
                <a:gd name="connsiteY27" fmla="*/ 1633277 h 1715383"/>
                <a:gd name="connsiteX28" fmla="*/ 1188586 w 8734227"/>
                <a:gd name="connsiteY28" fmla="*/ 1633277 h 1715383"/>
                <a:gd name="connsiteX29" fmla="*/ 8268937 w 8734227"/>
                <a:gd name="connsiteY29" fmla="*/ 1596942 h 1715383"/>
                <a:gd name="connsiteX30" fmla="*/ 8268937 w 8734227"/>
                <a:gd name="connsiteY30" fmla="*/ 1602519 h 1715383"/>
                <a:gd name="connsiteX31" fmla="*/ 8303165 w 8734227"/>
                <a:gd name="connsiteY31" fmla="*/ 1602519 h 1715383"/>
                <a:gd name="connsiteX32" fmla="*/ 8303165 w 8734227"/>
                <a:gd name="connsiteY32" fmla="*/ 1596942 h 1715383"/>
                <a:gd name="connsiteX33" fmla="*/ 2818847 w 8734227"/>
                <a:gd name="connsiteY33" fmla="*/ 1594679 h 1715383"/>
                <a:gd name="connsiteX34" fmla="*/ 2818847 w 8734227"/>
                <a:gd name="connsiteY34" fmla="*/ 1625793 h 1715383"/>
                <a:gd name="connsiteX35" fmla="*/ 2860864 w 8734227"/>
                <a:gd name="connsiteY35" fmla="*/ 1631591 h 1715383"/>
                <a:gd name="connsiteX36" fmla="*/ 2860802 w 8734227"/>
                <a:gd name="connsiteY36" fmla="*/ 1594679 h 1715383"/>
                <a:gd name="connsiteX37" fmla="*/ 2783108 w 8734227"/>
                <a:gd name="connsiteY37" fmla="*/ 1594679 h 1715383"/>
                <a:gd name="connsiteX38" fmla="*/ 2783110 w 8734227"/>
                <a:gd name="connsiteY38" fmla="*/ 1620860 h 1715383"/>
                <a:gd name="connsiteX39" fmla="*/ 2814919 w 8734227"/>
                <a:gd name="connsiteY39" fmla="*/ 1625251 h 1715383"/>
                <a:gd name="connsiteX40" fmla="*/ 2814919 w 8734227"/>
                <a:gd name="connsiteY40" fmla="*/ 1594679 h 1715383"/>
                <a:gd name="connsiteX41" fmla="*/ 8460169 w 8734227"/>
                <a:gd name="connsiteY41" fmla="*/ 1594535 h 1715383"/>
                <a:gd name="connsiteX42" fmla="*/ 8460169 w 8734227"/>
                <a:gd name="connsiteY42" fmla="*/ 1609826 h 1715383"/>
                <a:gd name="connsiteX43" fmla="*/ 8439786 w 8734227"/>
                <a:gd name="connsiteY43" fmla="*/ 1609826 h 1715383"/>
                <a:gd name="connsiteX44" fmla="*/ 8439786 w 8734227"/>
                <a:gd name="connsiteY44" fmla="*/ 1595380 h 1715383"/>
                <a:gd name="connsiteX45" fmla="*/ 8435075 w 8734227"/>
                <a:gd name="connsiteY45" fmla="*/ 1600091 h 1715383"/>
                <a:gd name="connsiteX46" fmla="*/ 8435075 w 8734227"/>
                <a:gd name="connsiteY46" fmla="*/ 1614633 h 1715383"/>
                <a:gd name="connsiteX47" fmla="*/ 8464880 w 8734227"/>
                <a:gd name="connsiteY47" fmla="*/ 1614633 h 1715383"/>
                <a:gd name="connsiteX48" fmla="*/ 8464880 w 8734227"/>
                <a:gd name="connsiteY48" fmla="*/ 1599246 h 1715383"/>
                <a:gd name="connsiteX49" fmla="*/ 6240640 w 8734227"/>
                <a:gd name="connsiteY49" fmla="*/ 1591376 h 1715383"/>
                <a:gd name="connsiteX50" fmla="*/ 6240640 w 8734227"/>
                <a:gd name="connsiteY50" fmla="*/ 1624080 h 1715383"/>
                <a:gd name="connsiteX51" fmla="*/ 6197045 w 8734227"/>
                <a:gd name="connsiteY51" fmla="*/ 1624080 h 1715383"/>
                <a:gd name="connsiteX52" fmla="*/ 6197045 w 8734227"/>
                <a:gd name="connsiteY52" fmla="*/ 1593184 h 1715383"/>
                <a:gd name="connsiteX53" fmla="*/ 6186968 w 8734227"/>
                <a:gd name="connsiteY53" fmla="*/ 1603261 h 1715383"/>
                <a:gd name="connsiteX54" fmla="*/ 6186968 w 8734227"/>
                <a:gd name="connsiteY54" fmla="*/ 1634363 h 1715383"/>
                <a:gd name="connsiteX55" fmla="*/ 6250715 w 8734227"/>
                <a:gd name="connsiteY55" fmla="*/ 1634363 h 1715383"/>
                <a:gd name="connsiteX56" fmla="*/ 6250715 w 8734227"/>
                <a:gd name="connsiteY56" fmla="*/ 1601453 h 1715383"/>
                <a:gd name="connsiteX57" fmla="*/ 5975882 w 8734227"/>
                <a:gd name="connsiteY57" fmla="*/ 1589739 h 1715383"/>
                <a:gd name="connsiteX58" fmla="*/ 5975882 w 8734227"/>
                <a:gd name="connsiteY58" fmla="*/ 1602364 h 1715383"/>
                <a:gd name="connsiteX59" fmla="*/ 6053370 w 8734227"/>
                <a:gd name="connsiteY59" fmla="*/ 1602364 h 1715383"/>
                <a:gd name="connsiteX60" fmla="*/ 6053370 w 8734227"/>
                <a:gd name="connsiteY60" fmla="*/ 1589739 h 1715383"/>
                <a:gd name="connsiteX61" fmla="*/ 8268937 w 8734227"/>
                <a:gd name="connsiteY61" fmla="*/ 1585020 h 1715383"/>
                <a:gd name="connsiteX62" fmla="*/ 8268937 w 8734227"/>
                <a:gd name="connsiteY62" fmla="*/ 1590597 h 1715383"/>
                <a:gd name="connsiteX63" fmla="*/ 8303165 w 8734227"/>
                <a:gd name="connsiteY63" fmla="*/ 1590597 h 1715383"/>
                <a:gd name="connsiteX64" fmla="*/ 8303165 w 8734227"/>
                <a:gd name="connsiteY64" fmla="*/ 1585020 h 1715383"/>
                <a:gd name="connsiteX65" fmla="*/ 8612398 w 8734227"/>
                <a:gd name="connsiteY65" fmla="*/ 1579252 h 1715383"/>
                <a:gd name="connsiteX66" fmla="*/ 8621916 w 8734227"/>
                <a:gd name="connsiteY66" fmla="*/ 1588770 h 1715383"/>
                <a:gd name="connsiteX67" fmla="*/ 8612398 w 8734227"/>
                <a:gd name="connsiteY67" fmla="*/ 1598288 h 1715383"/>
                <a:gd name="connsiteX68" fmla="*/ 8602880 w 8734227"/>
                <a:gd name="connsiteY68" fmla="*/ 1588770 h 1715383"/>
                <a:gd name="connsiteX69" fmla="*/ 8612398 w 8734227"/>
                <a:gd name="connsiteY69" fmla="*/ 1579252 h 1715383"/>
                <a:gd name="connsiteX70" fmla="*/ 8612398 w 8734227"/>
                <a:gd name="connsiteY70" fmla="*/ 1573932 h 1715383"/>
                <a:gd name="connsiteX71" fmla="*/ 8597559 w 8734227"/>
                <a:gd name="connsiteY71" fmla="*/ 1588770 h 1715383"/>
                <a:gd name="connsiteX72" fmla="*/ 8612398 w 8734227"/>
                <a:gd name="connsiteY72" fmla="*/ 1603608 h 1715383"/>
                <a:gd name="connsiteX73" fmla="*/ 8620988 w 8734227"/>
                <a:gd name="connsiteY73" fmla="*/ 1600545 h 1715383"/>
                <a:gd name="connsiteX74" fmla="*/ 8633111 w 8734227"/>
                <a:gd name="connsiteY74" fmla="*/ 1612668 h 1715383"/>
                <a:gd name="connsiteX75" fmla="*/ 8636873 w 8734227"/>
                <a:gd name="connsiteY75" fmla="*/ 1608907 h 1715383"/>
                <a:gd name="connsiteX76" fmla="*/ 8624637 w 8734227"/>
                <a:gd name="connsiteY76" fmla="*/ 1596671 h 1715383"/>
                <a:gd name="connsiteX77" fmla="*/ 8627236 w 8734227"/>
                <a:gd name="connsiteY77" fmla="*/ 1588770 h 1715383"/>
                <a:gd name="connsiteX78" fmla="*/ 8612398 w 8734227"/>
                <a:gd name="connsiteY78" fmla="*/ 1573932 h 1715383"/>
                <a:gd name="connsiteX79" fmla="*/ 8104689 w 8734227"/>
                <a:gd name="connsiteY79" fmla="*/ 1573371 h 1715383"/>
                <a:gd name="connsiteX80" fmla="*/ 8094578 w 8734227"/>
                <a:gd name="connsiteY80" fmla="*/ 1583482 h 1715383"/>
                <a:gd name="connsiteX81" fmla="*/ 8104865 w 8734227"/>
                <a:gd name="connsiteY81" fmla="*/ 1593770 h 1715383"/>
                <a:gd name="connsiteX82" fmla="*/ 8112479 w 8734227"/>
                <a:gd name="connsiteY82" fmla="*/ 1593770 h 1715383"/>
                <a:gd name="connsiteX83" fmla="*/ 8104788 w 8734227"/>
                <a:gd name="connsiteY83" fmla="*/ 1586078 h 1715383"/>
                <a:gd name="connsiteX84" fmla="*/ 8117510 w 8734227"/>
                <a:gd name="connsiteY84" fmla="*/ 1586078 h 1715383"/>
                <a:gd name="connsiteX85" fmla="*/ 8129144 w 8734227"/>
                <a:gd name="connsiteY85" fmla="*/ 1597712 h 1715383"/>
                <a:gd name="connsiteX86" fmla="*/ 8117510 w 8734227"/>
                <a:gd name="connsiteY86" fmla="*/ 1609345 h 1715383"/>
                <a:gd name="connsiteX87" fmla="*/ 8101646 w 8734227"/>
                <a:gd name="connsiteY87" fmla="*/ 1609345 h 1715383"/>
                <a:gd name="connsiteX88" fmla="*/ 8101646 w 8734227"/>
                <a:gd name="connsiteY88" fmla="*/ 1614633 h 1715383"/>
                <a:gd name="connsiteX89" fmla="*/ 8118183 w 8734227"/>
                <a:gd name="connsiteY89" fmla="*/ 1614633 h 1715383"/>
                <a:gd name="connsiteX90" fmla="*/ 8135104 w 8734227"/>
                <a:gd name="connsiteY90" fmla="*/ 1597711 h 1715383"/>
                <a:gd name="connsiteX91" fmla="*/ 8118183 w 8734227"/>
                <a:gd name="connsiteY91" fmla="*/ 1580790 h 1715383"/>
                <a:gd name="connsiteX92" fmla="*/ 8104884 w 8734227"/>
                <a:gd name="connsiteY92" fmla="*/ 1580790 h 1715383"/>
                <a:gd name="connsiteX93" fmla="*/ 8112303 w 8734227"/>
                <a:gd name="connsiteY93" fmla="*/ 1573371 h 1715383"/>
                <a:gd name="connsiteX94" fmla="*/ 8255477 w 8734227"/>
                <a:gd name="connsiteY94" fmla="*/ 1573098 h 1715383"/>
                <a:gd name="connsiteX95" fmla="*/ 8255477 w 8734227"/>
                <a:gd name="connsiteY95" fmla="*/ 1578675 h 1715383"/>
                <a:gd name="connsiteX96" fmla="*/ 8303165 w 8734227"/>
                <a:gd name="connsiteY96" fmla="*/ 1578675 h 1715383"/>
                <a:gd name="connsiteX97" fmla="*/ 8303165 w 8734227"/>
                <a:gd name="connsiteY97" fmla="*/ 1573098 h 1715383"/>
                <a:gd name="connsiteX98" fmla="*/ 8450362 w 8734227"/>
                <a:gd name="connsiteY98" fmla="*/ 1572906 h 1715383"/>
                <a:gd name="connsiteX99" fmla="*/ 8439786 w 8734227"/>
                <a:gd name="connsiteY99" fmla="*/ 1583482 h 1715383"/>
                <a:gd name="connsiteX100" fmla="*/ 8439786 w 8734227"/>
                <a:gd name="connsiteY100" fmla="*/ 1583447 h 1715383"/>
                <a:gd name="connsiteX101" fmla="*/ 8435075 w 8734227"/>
                <a:gd name="connsiteY101" fmla="*/ 1588158 h 1715383"/>
                <a:gd name="connsiteX102" fmla="*/ 8435075 w 8734227"/>
                <a:gd name="connsiteY102" fmla="*/ 1588193 h 1715383"/>
                <a:gd name="connsiteX103" fmla="*/ 8425148 w 8734227"/>
                <a:gd name="connsiteY103" fmla="*/ 1598120 h 1715383"/>
                <a:gd name="connsiteX104" fmla="*/ 8429121 w 8734227"/>
                <a:gd name="connsiteY104" fmla="*/ 1602092 h 1715383"/>
                <a:gd name="connsiteX105" fmla="*/ 8450362 w 8734227"/>
                <a:gd name="connsiteY105" fmla="*/ 1580852 h 1715383"/>
                <a:gd name="connsiteX106" fmla="*/ 8450418 w 8734227"/>
                <a:gd name="connsiteY106" fmla="*/ 1580908 h 1715383"/>
                <a:gd name="connsiteX107" fmla="*/ 8450438 w 8734227"/>
                <a:gd name="connsiteY107" fmla="*/ 1580888 h 1715383"/>
                <a:gd name="connsiteX108" fmla="*/ 8471671 w 8734227"/>
                <a:gd name="connsiteY108" fmla="*/ 1602122 h 1715383"/>
                <a:gd name="connsiteX109" fmla="*/ 8475624 w 8734227"/>
                <a:gd name="connsiteY109" fmla="*/ 1598168 h 1715383"/>
                <a:gd name="connsiteX110" fmla="*/ 8464880 w 8734227"/>
                <a:gd name="connsiteY110" fmla="*/ 1587424 h 1715383"/>
                <a:gd name="connsiteX111" fmla="*/ 8464880 w 8734227"/>
                <a:gd name="connsiteY111" fmla="*/ 1574444 h 1715383"/>
                <a:gd name="connsiteX112" fmla="*/ 8460169 w 8734227"/>
                <a:gd name="connsiteY112" fmla="*/ 1574444 h 1715383"/>
                <a:gd name="connsiteX113" fmla="*/ 8460169 w 8734227"/>
                <a:gd name="connsiteY113" fmla="*/ 1582713 h 1715383"/>
                <a:gd name="connsiteX114" fmla="*/ 3085285 w 8734227"/>
                <a:gd name="connsiteY114" fmla="*/ 1568490 h 1715383"/>
                <a:gd name="connsiteX115" fmla="*/ 3102553 w 8734227"/>
                <a:gd name="connsiteY115" fmla="*/ 1585759 h 1715383"/>
                <a:gd name="connsiteX116" fmla="*/ 3085285 w 8734227"/>
                <a:gd name="connsiteY116" fmla="*/ 1603029 h 1715383"/>
                <a:gd name="connsiteX117" fmla="*/ 3068014 w 8734227"/>
                <a:gd name="connsiteY117" fmla="*/ 1585759 h 1715383"/>
                <a:gd name="connsiteX118" fmla="*/ 3085285 w 8734227"/>
                <a:gd name="connsiteY118" fmla="*/ 1568490 h 1715383"/>
                <a:gd name="connsiteX119" fmla="*/ 5975882 w 8734227"/>
                <a:gd name="connsiteY119" fmla="*/ 1562748 h 1715383"/>
                <a:gd name="connsiteX120" fmla="*/ 5975882 w 8734227"/>
                <a:gd name="connsiteY120" fmla="*/ 1575374 h 1715383"/>
                <a:gd name="connsiteX121" fmla="*/ 6053370 w 8734227"/>
                <a:gd name="connsiteY121" fmla="*/ 1575374 h 1715383"/>
                <a:gd name="connsiteX122" fmla="*/ 6053370 w 8734227"/>
                <a:gd name="connsiteY122" fmla="*/ 1562748 h 1715383"/>
                <a:gd name="connsiteX123" fmla="*/ 2566537 w 8734227"/>
                <a:gd name="connsiteY123" fmla="*/ 1561821 h 1715383"/>
                <a:gd name="connsiteX124" fmla="*/ 2541313 w 8734227"/>
                <a:gd name="connsiteY124" fmla="*/ 1590869 h 1715383"/>
                <a:gd name="connsiteX125" fmla="*/ 2566537 w 8734227"/>
                <a:gd name="connsiteY125" fmla="*/ 1621153 h 1715383"/>
                <a:gd name="connsiteX126" fmla="*/ 2582362 w 8734227"/>
                <a:gd name="connsiteY126" fmla="*/ 1621153 h 1715383"/>
                <a:gd name="connsiteX127" fmla="*/ 2563569 w 8734227"/>
                <a:gd name="connsiteY127" fmla="*/ 1598903 h 1715383"/>
                <a:gd name="connsiteX128" fmla="*/ 2606103 w 8734227"/>
                <a:gd name="connsiteY128" fmla="*/ 1598903 h 1715383"/>
                <a:gd name="connsiteX129" fmla="*/ 2606103 w 8734227"/>
                <a:gd name="connsiteY129" fmla="*/ 1583453 h 1715383"/>
                <a:gd name="connsiteX130" fmla="*/ 2563569 w 8734227"/>
                <a:gd name="connsiteY130" fmla="*/ 1583453 h 1715383"/>
                <a:gd name="connsiteX131" fmla="*/ 2582362 w 8734227"/>
                <a:gd name="connsiteY131" fmla="*/ 1561821 h 1715383"/>
                <a:gd name="connsiteX132" fmla="*/ 2814919 w 8734227"/>
                <a:gd name="connsiteY132" fmla="*/ 1560122 h 1715383"/>
                <a:gd name="connsiteX133" fmla="*/ 2783110 w 8734227"/>
                <a:gd name="connsiteY133" fmla="*/ 1564573 h 1715383"/>
                <a:gd name="connsiteX134" fmla="*/ 2783116 w 8734227"/>
                <a:gd name="connsiteY134" fmla="*/ 1590755 h 1715383"/>
                <a:gd name="connsiteX135" fmla="*/ 2814919 w 8734227"/>
                <a:gd name="connsiteY135" fmla="*/ 1590755 h 1715383"/>
                <a:gd name="connsiteX136" fmla="*/ 3085194 w 8734227"/>
                <a:gd name="connsiteY136" fmla="*/ 1559855 h 1715383"/>
                <a:gd name="connsiteX137" fmla="*/ 3059291 w 8734227"/>
                <a:gd name="connsiteY137" fmla="*/ 1585759 h 1715383"/>
                <a:gd name="connsiteX138" fmla="*/ 3062416 w 8734227"/>
                <a:gd name="connsiteY138" fmla="*/ 1597850 h 1715383"/>
                <a:gd name="connsiteX139" fmla="*/ 3038712 w 8734227"/>
                <a:gd name="connsiteY139" fmla="*/ 1621553 h 1715383"/>
                <a:gd name="connsiteX140" fmla="*/ 3038712 w 8734227"/>
                <a:gd name="connsiteY140" fmla="*/ 1625623 h 1715383"/>
                <a:gd name="connsiteX141" fmla="*/ 3046852 w 8734227"/>
                <a:gd name="connsiteY141" fmla="*/ 1633764 h 1715383"/>
                <a:gd name="connsiteX142" fmla="*/ 3050925 w 8734227"/>
                <a:gd name="connsiteY142" fmla="*/ 1633764 h 1715383"/>
                <a:gd name="connsiteX143" fmla="*/ 3075079 w 8734227"/>
                <a:gd name="connsiteY143" fmla="*/ 1609610 h 1715383"/>
                <a:gd name="connsiteX144" fmla="*/ 3085194 w 8734227"/>
                <a:gd name="connsiteY144" fmla="*/ 1611663 h 1715383"/>
                <a:gd name="connsiteX145" fmla="*/ 3111099 w 8734227"/>
                <a:gd name="connsiteY145" fmla="*/ 1585759 h 1715383"/>
                <a:gd name="connsiteX146" fmla="*/ 3085194 w 8734227"/>
                <a:gd name="connsiteY146" fmla="*/ 1559855 h 1715383"/>
                <a:gd name="connsiteX147" fmla="*/ 2860734 w 8734227"/>
                <a:gd name="connsiteY147" fmla="*/ 1553710 h 1715383"/>
                <a:gd name="connsiteX148" fmla="*/ 2818847 w 8734227"/>
                <a:gd name="connsiteY148" fmla="*/ 1559572 h 1715383"/>
                <a:gd name="connsiteX149" fmla="*/ 2818847 w 8734227"/>
                <a:gd name="connsiteY149" fmla="*/ 1590755 h 1715383"/>
                <a:gd name="connsiteX150" fmla="*/ 2860797 w 8734227"/>
                <a:gd name="connsiteY150" fmla="*/ 1590755 h 1715383"/>
                <a:gd name="connsiteX151" fmla="*/ 6408449 w 8734227"/>
                <a:gd name="connsiteY151" fmla="*/ 1550368 h 1715383"/>
                <a:gd name="connsiteX152" fmla="*/ 6434588 w 8734227"/>
                <a:gd name="connsiteY152" fmla="*/ 1576506 h 1715383"/>
                <a:gd name="connsiteX153" fmla="*/ 6408449 w 8734227"/>
                <a:gd name="connsiteY153" fmla="*/ 1602645 h 1715383"/>
                <a:gd name="connsiteX154" fmla="*/ 6382311 w 8734227"/>
                <a:gd name="connsiteY154" fmla="*/ 1576506 h 1715383"/>
                <a:gd name="connsiteX155" fmla="*/ 6408449 w 8734227"/>
                <a:gd name="connsiteY155" fmla="*/ 1550368 h 1715383"/>
                <a:gd name="connsiteX156" fmla="*/ 6219663 w 8734227"/>
                <a:gd name="connsiteY156" fmla="*/ 1545115 h 1715383"/>
                <a:gd name="connsiteX157" fmla="*/ 6197045 w 8734227"/>
                <a:gd name="connsiteY157" fmla="*/ 1567734 h 1715383"/>
                <a:gd name="connsiteX158" fmla="*/ 6197045 w 8734227"/>
                <a:gd name="connsiteY158" fmla="*/ 1567661 h 1715383"/>
                <a:gd name="connsiteX159" fmla="*/ 6186968 w 8734227"/>
                <a:gd name="connsiteY159" fmla="*/ 1577738 h 1715383"/>
                <a:gd name="connsiteX160" fmla="*/ 6186968 w 8734227"/>
                <a:gd name="connsiteY160" fmla="*/ 1577811 h 1715383"/>
                <a:gd name="connsiteX161" fmla="*/ 6165737 w 8734227"/>
                <a:gd name="connsiteY161" fmla="*/ 1599043 h 1715383"/>
                <a:gd name="connsiteX162" fmla="*/ 6174233 w 8734227"/>
                <a:gd name="connsiteY162" fmla="*/ 1607540 h 1715383"/>
                <a:gd name="connsiteX163" fmla="*/ 6219663 w 8734227"/>
                <a:gd name="connsiteY163" fmla="*/ 1562110 h 1715383"/>
                <a:gd name="connsiteX164" fmla="*/ 6219784 w 8734227"/>
                <a:gd name="connsiteY164" fmla="*/ 1562231 h 1715383"/>
                <a:gd name="connsiteX165" fmla="*/ 6219828 w 8734227"/>
                <a:gd name="connsiteY165" fmla="*/ 1562188 h 1715383"/>
                <a:gd name="connsiteX166" fmla="*/ 6265241 w 8734227"/>
                <a:gd name="connsiteY166" fmla="*/ 1607603 h 1715383"/>
                <a:gd name="connsiteX167" fmla="*/ 6273696 w 8734227"/>
                <a:gd name="connsiteY167" fmla="*/ 1599147 h 1715383"/>
                <a:gd name="connsiteX168" fmla="*/ 6250715 w 8734227"/>
                <a:gd name="connsiteY168" fmla="*/ 1576167 h 1715383"/>
                <a:gd name="connsiteX169" fmla="*/ 6250715 w 8734227"/>
                <a:gd name="connsiteY169" fmla="*/ 1548405 h 1715383"/>
                <a:gd name="connsiteX170" fmla="*/ 6240640 w 8734227"/>
                <a:gd name="connsiteY170" fmla="*/ 1548405 h 1715383"/>
                <a:gd name="connsiteX171" fmla="*/ 6240640 w 8734227"/>
                <a:gd name="connsiteY171" fmla="*/ 1566092 h 1715383"/>
                <a:gd name="connsiteX172" fmla="*/ 6408449 w 8734227"/>
                <a:gd name="connsiteY172" fmla="*/ 1535759 h 1715383"/>
                <a:gd name="connsiteX173" fmla="*/ 6367702 w 8734227"/>
                <a:gd name="connsiteY173" fmla="*/ 1576506 h 1715383"/>
                <a:gd name="connsiteX174" fmla="*/ 6408449 w 8734227"/>
                <a:gd name="connsiteY174" fmla="*/ 1617255 h 1715383"/>
                <a:gd name="connsiteX175" fmla="*/ 6432040 w 8734227"/>
                <a:gd name="connsiteY175" fmla="*/ 1608842 h 1715383"/>
                <a:gd name="connsiteX176" fmla="*/ 6465332 w 8734227"/>
                <a:gd name="connsiteY176" fmla="*/ 1642134 h 1715383"/>
                <a:gd name="connsiteX177" fmla="*/ 6475661 w 8734227"/>
                <a:gd name="connsiteY177" fmla="*/ 1631804 h 1715383"/>
                <a:gd name="connsiteX178" fmla="*/ 6442062 w 8734227"/>
                <a:gd name="connsiteY178" fmla="*/ 1598203 h 1715383"/>
                <a:gd name="connsiteX179" fmla="*/ 6449198 w 8734227"/>
                <a:gd name="connsiteY179" fmla="*/ 1576506 h 1715383"/>
                <a:gd name="connsiteX180" fmla="*/ 6408449 w 8734227"/>
                <a:gd name="connsiteY180" fmla="*/ 1535759 h 1715383"/>
                <a:gd name="connsiteX181" fmla="*/ 5945410 w 8734227"/>
                <a:gd name="connsiteY181" fmla="*/ 1535759 h 1715383"/>
                <a:gd name="connsiteX182" fmla="*/ 5945410 w 8734227"/>
                <a:gd name="connsiteY182" fmla="*/ 1548383 h 1715383"/>
                <a:gd name="connsiteX183" fmla="*/ 6053370 w 8734227"/>
                <a:gd name="connsiteY183" fmla="*/ 1548383 h 1715383"/>
                <a:gd name="connsiteX184" fmla="*/ 6053370 w 8734227"/>
                <a:gd name="connsiteY184" fmla="*/ 1535759 h 1715383"/>
                <a:gd name="connsiteX185" fmla="*/ 5791471 w 8734227"/>
                <a:gd name="connsiteY185" fmla="*/ 1535759 h 1715383"/>
                <a:gd name="connsiteX186" fmla="*/ 5765016 w 8734227"/>
                <a:gd name="connsiteY186" fmla="*/ 1562214 h 1715383"/>
                <a:gd name="connsiteX187" fmla="*/ 5791932 w 8734227"/>
                <a:gd name="connsiteY187" fmla="*/ 1589132 h 1715383"/>
                <a:gd name="connsiteX188" fmla="*/ 5811855 w 8734227"/>
                <a:gd name="connsiteY188" fmla="*/ 1589132 h 1715383"/>
                <a:gd name="connsiteX189" fmla="*/ 5791731 w 8734227"/>
                <a:gd name="connsiteY189" fmla="*/ 1569006 h 1715383"/>
                <a:gd name="connsiteX190" fmla="*/ 5825016 w 8734227"/>
                <a:gd name="connsiteY190" fmla="*/ 1569006 h 1715383"/>
                <a:gd name="connsiteX191" fmla="*/ 5855455 w 8734227"/>
                <a:gd name="connsiteY191" fmla="*/ 1599445 h 1715383"/>
                <a:gd name="connsiteX192" fmla="*/ 5825016 w 8734227"/>
                <a:gd name="connsiteY192" fmla="*/ 1629884 h 1715383"/>
                <a:gd name="connsiteX193" fmla="*/ 5783509 w 8734227"/>
                <a:gd name="connsiteY193" fmla="*/ 1629884 h 1715383"/>
                <a:gd name="connsiteX194" fmla="*/ 5783509 w 8734227"/>
                <a:gd name="connsiteY194" fmla="*/ 1643718 h 1715383"/>
                <a:gd name="connsiteX195" fmla="*/ 5826777 w 8734227"/>
                <a:gd name="connsiteY195" fmla="*/ 1643718 h 1715383"/>
                <a:gd name="connsiteX196" fmla="*/ 5871050 w 8734227"/>
                <a:gd name="connsiteY196" fmla="*/ 1599445 h 1715383"/>
                <a:gd name="connsiteX197" fmla="*/ 5826777 w 8734227"/>
                <a:gd name="connsiteY197" fmla="*/ 1555170 h 1715383"/>
                <a:gd name="connsiteX198" fmla="*/ 5791982 w 8734227"/>
                <a:gd name="connsiteY198" fmla="*/ 1555170 h 1715383"/>
                <a:gd name="connsiteX199" fmla="*/ 5811394 w 8734227"/>
                <a:gd name="connsiteY199" fmla="*/ 1535759 h 1715383"/>
                <a:gd name="connsiteX200" fmla="*/ 5136541 w 8734227"/>
                <a:gd name="connsiteY200" fmla="*/ 1520601 h 1715383"/>
                <a:gd name="connsiteX201" fmla="*/ 5066061 w 8734227"/>
                <a:gd name="connsiteY201" fmla="*/ 1591081 h 1715383"/>
                <a:gd name="connsiteX202" fmla="*/ 5136541 w 8734227"/>
                <a:gd name="connsiteY202" fmla="*/ 1661562 h 1715383"/>
                <a:gd name="connsiteX203" fmla="*/ 5207022 w 8734227"/>
                <a:gd name="connsiteY203" fmla="*/ 1591081 h 1715383"/>
                <a:gd name="connsiteX204" fmla="*/ 5136541 w 8734227"/>
                <a:gd name="connsiteY204" fmla="*/ 1520601 h 1715383"/>
                <a:gd name="connsiteX205" fmla="*/ 2804155 w 8734227"/>
                <a:gd name="connsiteY205" fmla="*/ 1019973 h 1715383"/>
                <a:gd name="connsiteX206" fmla="*/ 3072374 w 8734227"/>
                <a:gd name="connsiteY206" fmla="*/ 1019973 h 1715383"/>
                <a:gd name="connsiteX207" fmla="*/ 3072771 w 8734227"/>
                <a:gd name="connsiteY207" fmla="*/ 1255954 h 1715383"/>
                <a:gd name="connsiteX208" fmla="*/ 2804155 w 8734227"/>
                <a:gd name="connsiteY208" fmla="*/ 1218873 h 1715383"/>
                <a:gd name="connsiteX209" fmla="*/ 2575684 w 8734227"/>
                <a:gd name="connsiteY209" fmla="*/ 1019973 h 1715383"/>
                <a:gd name="connsiteX210" fmla="*/ 2779051 w 8734227"/>
                <a:gd name="connsiteY210" fmla="*/ 1019973 h 1715383"/>
                <a:gd name="connsiteX211" fmla="*/ 2779051 w 8734227"/>
                <a:gd name="connsiteY211" fmla="*/ 1215407 h 1715383"/>
                <a:gd name="connsiteX212" fmla="*/ 2575706 w 8734227"/>
                <a:gd name="connsiteY212" fmla="*/ 1187336 h 1715383"/>
                <a:gd name="connsiteX213" fmla="*/ 2575684 w 8734227"/>
                <a:gd name="connsiteY213" fmla="*/ 1019973 h 1715383"/>
                <a:gd name="connsiteX214" fmla="*/ 1127626 w 8734227"/>
                <a:gd name="connsiteY214" fmla="*/ 1017379 h 1715383"/>
                <a:gd name="connsiteX215" fmla="*/ 1496190 w 8734227"/>
                <a:gd name="connsiteY215" fmla="*/ 1017379 h 1715383"/>
                <a:gd name="connsiteX216" fmla="*/ 1496735 w 8734227"/>
                <a:gd name="connsiteY216" fmla="*/ 1341644 h 1715383"/>
                <a:gd name="connsiteX217" fmla="*/ 1127626 w 8734227"/>
                <a:gd name="connsiteY217" fmla="*/ 1290690 h 1715383"/>
                <a:gd name="connsiteX218" fmla="*/ 813680 w 8734227"/>
                <a:gd name="connsiteY218" fmla="*/ 1017379 h 1715383"/>
                <a:gd name="connsiteX219" fmla="*/ 1093130 w 8734227"/>
                <a:gd name="connsiteY219" fmla="*/ 1017379 h 1715383"/>
                <a:gd name="connsiteX220" fmla="*/ 1093130 w 8734227"/>
                <a:gd name="connsiteY220" fmla="*/ 1285928 h 1715383"/>
                <a:gd name="connsiteX221" fmla="*/ 813711 w 8734227"/>
                <a:gd name="connsiteY221" fmla="*/ 1247355 h 1715383"/>
                <a:gd name="connsiteX222" fmla="*/ 813680 w 8734227"/>
                <a:gd name="connsiteY222" fmla="*/ 1017379 h 1715383"/>
                <a:gd name="connsiteX223" fmla="*/ 8200722 w 8734227"/>
                <a:gd name="connsiteY223" fmla="*/ 882974 h 1715383"/>
                <a:gd name="connsiteX224" fmla="*/ 8221059 w 8734227"/>
                <a:gd name="connsiteY224" fmla="*/ 882974 h 1715383"/>
                <a:gd name="connsiteX225" fmla="*/ 8511008 w 8734227"/>
                <a:gd name="connsiteY225" fmla="*/ 882974 h 1715383"/>
                <a:gd name="connsiteX226" fmla="*/ 8531346 w 8734227"/>
                <a:gd name="connsiteY226" fmla="*/ 882974 h 1715383"/>
                <a:gd name="connsiteX227" fmla="*/ 8531346 w 8734227"/>
                <a:gd name="connsiteY227" fmla="*/ 1018677 h 1715383"/>
                <a:gd name="connsiteX228" fmla="*/ 8530729 w 8734227"/>
                <a:gd name="connsiteY228" fmla="*/ 1018677 h 1715383"/>
                <a:gd name="connsiteX229" fmla="*/ 8530729 w 8734227"/>
                <a:gd name="connsiteY229" fmla="*/ 1161453 h 1715383"/>
                <a:gd name="connsiteX230" fmla="*/ 8529496 w 8734227"/>
                <a:gd name="connsiteY230" fmla="*/ 1167628 h 1715383"/>
                <a:gd name="connsiteX231" fmla="*/ 8527031 w 8734227"/>
                <a:gd name="connsiteY231" fmla="*/ 1173185 h 1715383"/>
                <a:gd name="connsiteX232" fmla="*/ 8522717 w 8734227"/>
                <a:gd name="connsiteY232" fmla="*/ 1177508 h 1715383"/>
                <a:gd name="connsiteX233" fmla="*/ 8517171 w 8734227"/>
                <a:gd name="connsiteY233" fmla="*/ 1180286 h 1715383"/>
                <a:gd name="connsiteX234" fmla="*/ 8511008 w 8734227"/>
                <a:gd name="connsiteY234" fmla="*/ 1181521 h 1715383"/>
                <a:gd name="connsiteX235" fmla="*/ 8468428 w 8734227"/>
                <a:gd name="connsiteY235" fmla="*/ 1181521 h 1715383"/>
                <a:gd name="connsiteX236" fmla="*/ 8468428 w 8734227"/>
                <a:gd name="connsiteY236" fmla="*/ 1268851 h 1715383"/>
                <a:gd name="connsiteX237" fmla="*/ 8467189 w 8734227"/>
                <a:gd name="connsiteY237" fmla="*/ 1277782 h 1715383"/>
                <a:gd name="connsiteX238" fmla="*/ 8463782 w 8734227"/>
                <a:gd name="connsiteY238" fmla="*/ 1286098 h 1715383"/>
                <a:gd name="connsiteX239" fmla="*/ 8458516 w 8734227"/>
                <a:gd name="connsiteY239" fmla="*/ 1293182 h 1715383"/>
                <a:gd name="connsiteX240" fmla="*/ 8451391 w 8734227"/>
                <a:gd name="connsiteY240" fmla="*/ 1299034 h 1715383"/>
                <a:gd name="connsiteX241" fmla="*/ 8443027 w 8734227"/>
                <a:gd name="connsiteY241" fmla="*/ 1302422 h 1715383"/>
                <a:gd name="connsiteX242" fmla="*/ 8433424 w 8734227"/>
                <a:gd name="connsiteY242" fmla="*/ 1303654 h 1715383"/>
                <a:gd name="connsiteX243" fmla="*/ 8424131 w 8734227"/>
                <a:gd name="connsiteY243" fmla="*/ 1302422 h 1715383"/>
                <a:gd name="connsiteX244" fmla="*/ 8415767 w 8734227"/>
                <a:gd name="connsiteY244" fmla="*/ 1299034 h 1715383"/>
                <a:gd name="connsiteX245" fmla="*/ 8408642 w 8734227"/>
                <a:gd name="connsiteY245" fmla="*/ 1293182 h 1715383"/>
                <a:gd name="connsiteX246" fmla="*/ 8403066 w 8734227"/>
                <a:gd name="connsiteY246" fmla="*/ 1286098 h 1715383"/>
                <a:gd name="connsiteX247" fmla="*/ 8399349 w 8734227"/>
                <a:gd name="connsiteY247" fmla="*/ 1277782 h 1715383"/>
                <a:gd name="connsiteX248" fmla="*/ 8398109 w 8734227"/>
                <a:gd name="connsiteY248" fmla="*/ 1268851 h 1715383"/>
                <a:gd name="connsiteX249" fmla="*/ 8398109 w 8734227"/>
                <a:gd name="connsiteY249" fmla="*/ 1181521 h 1715383"/>
                <a:gd name="connsiteX250" fmla="*/ 8332725 w 8734227"/>
                <a:gd name="connsiteY250" fmla="*/ 1181521 h 1715383"/>
                <a:gd name="connsiteX251" fmla="*/ 8332725 w 8734227"/>
                <a:gd name="connsiteY251" fmla="*/ 1268851 h 1715383"/>
                <a:gd name="connsiteX252" fmla="*/ 8331196 w 8734227"/>
                <a:gd name="connsiteY252" fmla="*/ 1277782 h 1715383"/>
                <a:gd name="connsiteX253" fmla="*/ 8328139 w 8734227"/>
                <a:gd name="connsiteY253" fmla="*/ 1286098 h 1715383"/>
                <a:gd name="connsiteX254" fmla="*/ 8322636 w 8734227"/>
                <a:gd name="connsiteY254" fmla="*/ 1293182 h 1715383"/>
                <a:gd name="connsiteX255" fmla="*/ 8315605 w 8734227"/>
                <a:gd name="connsiteY255" fmla="*/ 1299034 h 1715383"/>
                <a:gd name="connsiteX256" fmla="*/ 8307351 w 8734227"/>
                <a:gd name="connsiteY256" fmla="*/ 1302422 h 1715383"/>
                <a:gd name="connsiteX257" fmla="*/ 8297874 w 8734227"/>
                <a:gd name="connsiteY257" fmla="*/ 1303654 h 1715383"/>
                <a:gd name="connsiteX258" fmla="*/ 8288702 w 8734227"/>
                <a:gd name="connsiteY258" fmla="*/ 1302422 h 1715383"/>
                <a:gd name="connsiteX259" fmla="*/ 8280448 w 8734227"/>
                <a:gd name="connsiteY259" fmla="*/ 1299034 h 1715383"/>
                <a:gd name="connsiteX260" fmla="*/ 8273417 w 8734227"/>
                <a:gd name="connsiteY260" fmla="*/ 1293182 h 1715383"/>
                <a:gd name="connsiteX261" fmla="*/ 8267914 w 8734227"/>
                <a:gd name="connsiteY261" fmla="*/ 1286098 h 1715383"/>
                <a:gd name="connsiteX262" fmla="*/ 8264245 w 8734227"/>
                <a:gd name="connsiteY262" fmla="*/ 1277782 h 1715383"/>
                <a:gd name="connsiteX263" fmla="*/ 8263023 w 8734227"/>
                <a:gd name="connsiteY263" fmla="*/ 1268851 h 1715383"/>
                <a:gd name="connsiteX264" fmla="*/ 8263023 w 8734227"/>
                <a:gd name="connsiteY264" fmla="*/ 1181521 h 1715383"/>
                <a:gd name="connsiteX265" fmla="*/ 8221059 w 8734227"/>
                <a:gd name="connsiteY265" fmla="*/ 1181521 h 1715383"/>
                <a:gd name="connsiteX266" fmla="*/ 8214589 w 8734227"/>
                <a:gd name="connsiteY266" fmla="*/ 1180286 h 1715383"/>
                <a:gd name="connsiteX267" fmla="*/ 8209350 w 8734227"/>
                <a:gd name="connsiteY267" fmla="*/ 1177508 h 1715383"/>
                <a:gd name="connsiteX268" fmla="*/ 8205037 w 8734227"/>
                <a:gd name="connsiteY268" fmla="*/ 1173185 h 1715383"/>
                <a:gd name="connsiteX269" fmla="*/ 8202263 w 8734227"/>
                <a:gd name="connsiteY269" fmla="*/ 1167628 h 1715383"/>
                <a:gd name="connsiteX270" fmla="*/ 8201339 w 8734227"/>
                <a:gd name="connsiteY270" fmla="*/ 1161453 h 1715383"/>
                <a:gd name="connsiteX271" fmla="*/ 8201339 w 8734227"/>
                <a:gd name="connsiteY271" fmla="*/ 1018677 h 1715383"/>
                <a:gd name="connsiteX272" fmla="*/ 8200722 w 8734227"/>
                <a:gd name="connsiteY272" fmla="*/ 1018677 h 1715383"/>
                <a:gd name="connsiteX273" fmla="*/ 5227484 w 8734227"/>
                <a:gd name="connsiteY273" fmla="*/ 878578 h 1715383"/>
                <a:gd name="connsiteX274" fmla="*/ 5323885 w 8734227"/>
                <a:gd name="connsiteY274" fmla="*/ 928253 h 1715383"/>
                <a:gd name="connsiteX275" fmla="*/ 5270531 w 8734227"/>
                <a:gd name="connsiteY275" fmla="*/ 1022696 h 1715383"/>
                <a:gd name="connsiteX276" fmla="*/ 5337223 w 8734227"/>
                <a:gd name="connsiteY276" fmla="*/ 1123886 h 1715383"/>
                <a:gd name="connsiteX277" fmla="*/ 5228091 w 8734227"/>
                <a:gd name="connsiteY277" fmla="*/ 1255739 h 1715383"/>
                <a:gd name="connsiteX278" fmla="*/ 5146848 w 8734227"/>
                <a:gd name="connsiteY278" fmla="*/ 1236114 h 1715383"/>
                <a:gd name="connsiteX279" fmla="*/ 5064998 w 8734227"/>
                <a:gd name="connsiteY279" fmla="*/ 1256965 h 1715383"/>
                <a:gd name="connsiteX280" fmla="*/ 4935858 w 8734227"/>
                <a:gd name="connsiteY280" fmla="*/ 1031282 h 1715383"/>
                <a:gd name="connsiteX281" fmla="*/ 5054085 w 8734227"/>
                <a:gd name="connsiteY281" fmla="*/ 879805 h 1715383"/>
                <a:gd name="connsiteX282" fmla="*/ 5140179 w 8734227"/>
                <a:gd name="connsiteY282" fmla="*/ 901882 h 1715383"/>
                <a:gd name="connsiteX283" fmla="*/ 5227484 w 8734227"/>
                <a:gd name="connsiteY283" fmla="*/ 878578 h 1715383"/>
                <a:gd name="connsiteX284" fmla="*/ 8583622 w 8734227"/>
                <a:gd name="connsiteY284" fmla="*/ 871871 h 1715383"/>
                <a:gd name="connsiteX285" fmla="*/ 8592915 w 8734227"/>
                <a:gd name="connsiteY285" fmla="*/ 873105 h 1715383"/>
                <a:gd name="connsiteX286" fmla="*/ 8601898 w 8734227"/>
                <a:gd name="connsiteY286" fmla="*/ 876806 h 1715383"/>
                <a:gd name="connsiteX287" fmla="*/ 8609023 w 8734227"/>
                <a:gd name="connsiteY287" fmla="*/ 882357 h 1715383"/>
                <a:gd name="connsiteX288" fmla="*/ 8614289 w 8734227"/>
                <a:gd name="connsiteY288" fmla="*/ 889451 h 1715383"/>
                <a:gd name="connsiteX289" fmla="*/ 8617697 w 8734227"/>
                <a:gd name="connsiteY289" fmla="*/ 897778 h 1715383"/>
                <a:gd name="connsiteX290" fmla="*/ 8618936 w 8734227"/>
                <a:gd name="connsiteY290" fmla="*/ 907339 h 1715383"/>
                <a:gd name="connsiteX291" fmla="*/ 8618936 w 8734227"/>
                <a:gd name="connsiteY291" fmla="*/ 1064631 h 1715383"/>
                <a:gd name="connsiteX292" fmla="*/ 8617697 w 8734227"/>
                <a:gd name="connsiteY292" fmla="*/ 1073884 h 1715383"/>
                <a:gd name="connsiteX293" fmla="*/ 8614289 w 8734227"/>
                <a:gd name="connsiteY293" fmla="*/ 1082520 h 1715383"/>
                <a:gd name="connsiteX294" fmla="*/ 8609023 w 8734227"/>
                <a:gd name="connsiteY294" fmla="*/ 1089613 h 1715383"/>
                <a:gd name="connsiteX295" fmla="*/ 8601898 w 8734227"/>
                <a:gd name="connsiteY295" fmla="*/ 1095165 h 1715383"/>
                <a:gd name="connsiteX296" fmla="*/ 8592915 w 8734227"/>
                <a:gd name="connsiteY296" fmla="*/ 1098249 h 1715383"/>
                <a:gd name="connsiteX297" fmla="*/ 8583622 w 8734227"/>
                <a:gd name="connsiteY297" fmla="*/ 1099482 h 1715383"/>
                <a:gd name="connsiteX298" fmla="*/ 8574638 w 8734227"/>
                <a:gd name="connsiteY298" fmla="*/ 1098249 h 1715383"/>
                <a:gd name="connsiteX299" fmla="*/ 8566274 w 8734227"/>
                <a:gd name="connsiteY299" fmla="*/ 1095165 h 1715383"/>
                <a:gd name="connsiteX300" fmla="*/ 8559149 w 8734227"/>
                <a:gd name="connsiteY300" fmla="*/ 1089613 h 1715383"/>
                <a:gd name="connsiteX301" fmla="*/ 8553264 w 8734227"/>
                <a:gd name="connsiteY301" fmla="*/ 1082520 h 1715383"/>
                <a:gd name="connsiteX302" fmla="*/ 8549856 w 8734227"/>
                <a:gd name="connsiteY302" fmla="*/ 1073884 h 1715383"/>
                <a:gd name="connsiteX303" fmla="*/ 8548617 w 8734227"/>
                <a:gd name="connsiteY303" fmla="*/ 1064631 h 1715383"/>
                <a:gd name="connsiteX304" fmla="*/ 8548617 w 8734227"/>
                <a:gd name="connsiteY304" fmla="*/ 907339 h 1715383"/>
                <a:gd name="connsiteX305" fmla="*/ 8549856 w 8734227"/>
                <a:gd name="connsiteY305" fmla="*/ 897778 h 1715383"/>
                <a:gd name="connsiteX306" fmla="*/ 8553264 w 8734227"/>
                <a:gd name="connsiteY306" fmla="*/ 889451 h 1715383"/>
                <a:gd name="connsiteX307" fmla="*/ 8559149 w 8734227"/>
                <a:gd name="connsiteY307" fmla="*/ 882357 h 1715383"/>
                <a:gd name="connsiteX308" fmla="*/ 8566274 w 8734227"/>
                <a:gd name="connsiteY308" fmla="*/ 876806 h 1715383"/>
                <a:gd name="connsiteX309" fmla="*/ 8574638 w 8734227"/>
                <a:gd name="connsiteY309" fmla="*/ 873105 h 1715383"/>
                <a:gd name="connsiteX310" fmla="*/ 8147521 w 8734227"/>
                <a:gd name="connsiteY310" fmla="*/ 871871 h 1715383"/>
                <a:gd name="connsiteX311" fmla="*/ 8157040 w 8734227"/>
                <a:gd name="connsiteY311" fmla="*/ 873105 h 1715383"/>
                <a:gd name="connsiteX312" fmla="*/ 8165331 w 8734227"/>
                <a:gd name="connsiteY312" fmla="*/ 876806 h 1715383"/>
                <a:gd name="connsiteX313" fmla="*/ 8172394 w 8734227"/>
                <a:gd name="connsiteY313" fmla="*/ 882357 h 1715383"/>
                <a:gd name="connsiteX314" fmla="*/ 8177921 w 8734227"/>
                <a:gd name="connsiteY314" fmla="*/ 889451 h 1715383"/>
                <a:gd name="connsiteX315" fmla="*/ 8181606 w 8734227"/>
                <a:gd name="connsiteY315" fmla="*/ 897778 h 1715383"/>
                <a:gd name="connsiteX316" fmla="*/ 8182834 w 8734227"/>
                <a:gd name="connsiteY316" fmla="*/ 907339 h 1715383"/>
                <a:gd name="connsiteX317" fmla="*/ 8182834 w 8734227"/>
                <a:gd name="connsiteY317" fmla="*/ 1064631 h 1715383"/>
                <a:gd name="connsiteX318" fmla="*/ 8181606 w 8734227"/>
                <a:gd name="connsiteY318" fmla="*/ 1073884 h 1715383"/>
                <a:gd name="connsiteX319" fmla="*/ 8177921 w 8734227"/>
                <a:gd name="connsiteY319" fmla="*/ 1082520 h 1715383"/>
                <a:gd name="connsiteX320" fmla="*/ 8172394 w 8734227"/>
                <a:gd name="connsiteY320" fmla="*/ 1089613 h 1715383"/>
                <a:gd name="connsiteX321" fmla="*/ 8165331 w 8734227"/>
                <a:gd name="connsiteY321" fmla="*/ 1095165 h 1715383"/>
                <a:gd name="connsiteX322" fmla="*/ 8157040 w 8734227"/>
                <a:gd name="connsiteY322" fmla="*/ 1098249 h 1715383"/>
                <a:gd name="connsiteX323" fmla="*/ 8147521 w 8734227"/>
                <a:gd name="connsiteY323" fmla="*/ 1099482 h 1715383"/>
                <a:gd name="connsiteX324" fmla="*/ 8138309 w 8734227"/>
                <a:gd name="connsiteY324" fmla="*/ 1098249 h 1715383"/>
                <a:gd name="connsiteX325" fmla="*/ 8130018 w 8734227"/>
                <a:gd name="connsiteY325" fmla="*/ 1095165 h 1715383"/>
                <a:gd name="connsiteX326" fmla="*/ 8122956 w 8734227"/>
                <a:gd name="connsiteY326" fmla="*/ 1089613 h 1715383"/>
                <a:gd name="connsiteX327" fmla="*/ 8117428 w 8734227"/>
                <a:gd name="connsiteY327" fmla="*/ 1082520 h 1715383"/>
                <a:gd name="connsiteX328" fmla="*/ 8113743 w 8734227"/>
                <a:gd name="connsiteY328" fmla="*/ 1073884 h 1715383"/>
                <a:gd name="connsiteX329" fmla="*/ 8112515 w 8734227"/>
                <a:gd name="connsiteY329" fmla="*/ 1064631 h 1715383"/>
                <a:gd name="connsiteX330" fmla="*/ 8112515 w 8734227"/>
                <a:gd name="connsiteY330" fmla="*/ 907339 h 1715383"/>
                <a:gd name="connsiteX331" fmla="*/ 8113743 w 8734227"/>
                <a:gd name="connsiteY331" fmla="*/ 897778 h 1715383"/>
                <a:gd name="connsiteX332" fmla="*/ 8117428 w 8734227"/>
                <a:gd name="connsiteY332" fmla="*/ 889451 h 1715383"/>
                <a:gd name="connsiteX333" fmla="*/ 8122956 w 8734227"/>
                <a:gd name="connsiteY333" fmla="*/ 882357 h 1715383"/>
                <a:gd name="connsiteX334" fmla="*/ 8130018 w 8734227"/>
                <a:gd name="connsiteY334" fmla="*/ 876806 h 1715383"/>
                <a:gd name="connsiteX335" fmla="*/ 8138309 w 8734227"/>
                <a:gd name="connsiteY335" fmla="*/ 873105 h 1715383"/>
                <a:gd name="connsiteX336" fmla="*/ 2779051 w 8734227"/>
                <a:gd name="connsiteY336" fmla="*/ 799046 h 1715383"/>
                <a:gd name="connsiteX337" fmla="*/ 2779051 w 8734227"/>
                <a:gd name="connsiteY337" fmla="*/ 994869 h 1715383"/>
                <a:gd name="connsiteX338" fmla="*/ 2575728 w 8734227"/>
                <a:gd name="connsiteY338" fmla="*/ 994869 h 1715383"/>
                <a:gd name="connsiteX339" fmla="*/ 2575706 w 8734227"/>
                <a:gd name="connsiteY339" fmla="*/ 827507 h 1715383"/>
                <a:gd name="connsiteX340" fmla="*/ 6545761 w 8734227"/>
                <a:gd name="connsiteY340" fmla="*/ 779646 h 1715383"/>
                <a:gd name="connsiteX341" fmla="*/ 6571241 w 8734227"/>
                <a:gd name="connsiteY341" fmla="*/ 779646 h 1715383"/>
                <a:gd name="connsiteX342" fmla="*/ 6934512 w 8734227"/>
                <a:gd name="connsiteY342" fmla="*/ 779646 h 1715383"/>
                <a:gd name="connsiteX343" fmla="*/ 6959993 w 8734227"/>
                <a:gd name="connsiteY343" fmla="*/ 779646 h 1715383"/>
                <a:gd name="connsiteX344" fmla="*/ 6959993 w 8734227"/>
                <a:gd name="connsiteY344" fmla="*/ 949666 h 1715383"/>
                <a:gd name="connsiteX345" fmla="*/ 6959220 w 8734227"/>
                <a:gd name="connsiteY345" fmla="*/ 949666 h 1715383"/>
                <a:gd name="connsiteX346" fmla="*/ 6959220 w 8734227"/>
                <a:gd name="connsiteY346" fmla="*/ 1128547 h 1715383"/>
                <a:gd name="connsiteX347" fmla="*/ 6957675 w 8734227"/>
                <a:gd name="connsiteY347" fmla="*/ 1136283 h 1715383"/>
                <a:gd name="connsiteX348" fmla="*/ 6954587 w 8734227"/>
                <a:gd name="connsiteY348" fmla="*/ 1143246 h 1715383"/>
                <a:gd name="connsiteX349" fmla="*/ 6949182 w 8734227"/>
                <a:gd name="connsiteY349" fmla="*/ 1148661 h 1715383"/>
                <a:gd name="connsiteX350" fmla="*/ 6942234 w 8734227"/>
                <a:gd name="connsiteY350" fmla="*/ 1152143 h 1715383"/>
                <a:gd name="connsiteX351" fmla="*/ 6934512 w 8734227"/>
                <a:gd name="connsiteY351" fmla="*/ 1153690 h 1715383"/>
                <a:gd name="connsiteX352" fmla="*/ 6881165 w 8734227"/>
                <a:gd name="connsiteY352" fmla="*/ 1153690 h 1715383"/>
                <a:gd name="connsiteX353" fmla="*/ 6881165 w 8734227"/>
                <a:gd name="connsiteY353" fmla="*/ 1263103 h 1715383"/>
                <a:gd name="connsiteX354" fmla="*/ 6879613 w 8734227"/>
                <a:gd name="connsiteY354" fmla="*/ 1274294 h 1715383"/>
                <a:gd name="connsiteX355" fmla="*/ 6875343 w 8734227"/>
                <a:gd name="connsiteY355" fmla="*/ 1284713 h 1715383"/>
                <a:gd name="connsiteX356" fmla="*/ 6868745 w 8734227"/>
                <a:gd name="connsiteY356" fmla="*/ 1293588 h 1715383"/>
                <a:gd name="connsiteX357" fmla="*/ 6859819 w 8734227"/>
                <a:gd name="connsiteY357" fmla="*/ 1300920 h 1715383"/>
                <a:gd name="connsiteX358" fmla="*/ 6849340 w 8734227"/>
                <a:gd name="connsiteY358" fmla="*/ 1305165 h 1715383"/>
                <a:gd name="connsiteX359" fmla="*/ 6837308 w 8734227"/>
                <a:gd name="connsiteY359" fmla="*/ 1306708 h 1715383"/>
                <a:gd name="connsiteX360" fmla="*/ 6825665 w 8734227"/>
                <a:gd name="connsiteY360" fmla="*/ 1305165 h 1715383"/>
                <a:gd name="connsiteX361" fmla="*/ 6815186 w 8734227"/>
                <a:gd name="connsiteY361" fmla="*/ 1300920 h 1715383"/>
                <a:gd name="connsiteX362" fmla="*/ 6806259 w 8734227"/>
                <a:gd name="connsiteY362" fmla="*/ 1293588 h 1715383"/>
                <a:gd name="connsiteX363" fmla="*/ 6799273 w 8734227"/>
                <a:gd name="connsiteY363" fmla="*/ 1284713 h 1715383"/>
                <a:gd name="connsiteX364" fmla="*/ 6794616 w 8734227"/>
                <a:gd name="connsiteY364" fmla="*/ 1274294 h 1715383"/>
                <a:gd name="connsiteX365" fmla="*/ 6793064 w 8734227"/>
                <a:gd name="connsiteY365" fmla="*/ 1263103 h 1715383"/>
                <a:gd name="connsiteX366" fmla="*/ 6793064 w 8734227"/>
                <a:gd name="connsiteY366" fmla="*/ 1153690 h 1715383"/>
                <a:gd name="connsiteX367" fmla="*/ 6711145 w 8734227"/>
                <a:gd name="connsiteY367" fmla="*/ 1153690 h 1715383"/>
                <a:gd name="connsiteX368" fmla="*/ 6711145 w 8734227"/>
                <a:gd name="connsiteY368" fmla="*/ 1263103 h 1715383"/>
                <a:gd name="connsiteX369" fmla="*/ 6709230 w 8734227"/>
                <a:gd name="connsiteY369" fmla="*/ 1274294 h 1715383"/>
                <a:gd name="connsiteX370" fmla="*/ 6705399 w 8734227"/>
                <a:gd name="connsiteY370" fmla="*/ 1284713 h 1715383"/>
                <a:gd name="connsiteX371" fmla="*/ 6698505 w 8734227"/>
                <a:gd name="connsiteY371" fmla="*/ 1293588 h 1715383"/>
                <a:gd name="connsiteX372" fmla="*/ 6689696 w 8734227"/>
                <a:gd name="connsiteY372" fmla="*/ 1300920 h 1715383"/>
                <a:gd name="connsiteX373" fmla="*/ 6679354 w 8734227"/>
                <a:gd name="connsiteY373" fmla="*/ 1305165 h 1715383"/>
                <a:gd name="connsiteX374" fmla="*/ 6667480 w 8734227"/>
                <a:gd name="connsiteY374" fmla="*/ 1306708 h 1715383"/>
                <a:gd name="connsiteX375" fmla="*/ 6655990 w 8734227"/>
                <a:gd name="connsiteY375" fmla="*/ 1305165 h 1715383"/>
                <a:gd name="connsiteX376" fmla="*/ 6645648 w 8734227"/>
                <a:gd name="connsiteY376" fmla="*/ 1300920 h 1715383"/>
                <a:gd name="connsiteX377" fmla="*/ 6636839 w 8734227"/>
                <a:gd name="connsiteY377" fmla="*/ 1293588 h 1715383"/>
                <a:gd name="connsiteX378" fmla="*/ 6629944 w 8734227"/>
                <a:gd name="connsiteY378" fmla="*/ 1284713 h 1715383"/>
                <a:gd name="connsiteX379" fmla="*/ 6625348 w 8734227"/>
                <a:gd name="connsiteY379" fmla="*/ 1274294 h 1715383"/>
                <a:gd name="connsiteX380" fmla="*/ 6623816 w 8734227"/>
                <a:gd name="connsiteY380" fmla="*/ 1263103 h 1715383"/>
                <a:gd name="connsiteX381" fmla="*/ 6623816 w 8734227"/>
                <a:gd name="connsiteY381" fmla="*/ 1153690 h 1715383"/>
                <a:gd name="connsiteX382" fmla="*/ 6571241 w 8734227"/>
                <a:gd name="connsiteY382" fmla="*/ 1153690 h 1715383"/>
                <a:gd name="connsiteX383" fmla="*/ 6563134 w 8734227"/>
                <a:gd name="connsiteY383" fmla="*/ 1152143 h 1715383"/>
                <a:gd name="connsiteX384" fmla="*/ 6556571 w 8734227"/>
                <a:gd name="connsiteY384" fmla="*/ 1148661 h 1715383"/>
                <a:gd name="connsiteX385" fmla="*/ 6551167 w 8734227"/>
                <a:gd name="connsiteY385" fmla="*/ 1143246 h 1715383"/>
                <a:gd name="connsiteX386" fmla="*/ 6547692 w 8734227"/>
                <a:gd name="connsiteY386" fmla="*/ 1136283 h 1715383"/>
                <a:gd name="connsiteX387" fmla="*/ 6546534 w 8734227"/>
                <a:gd name="connsiteY387" fmla="*/ 1128547 h 1715383"/>
                <a:gd name="connsiteX388" fmla="*/ 6546534 w 8734227"/>
                <a:gd name="connsiteY388" fmla="*/ 949666 h 1715383"/>
                <a:gd name="connsiteX389" fmla="*/ 6545761 w 8734227"/>
                <a:gd name="connsiteY389" fmla="*/ 949666 h 1715383"/>
                <a:gd name="connsiteX390" fmla="*/ 8437587 w 8734227"/>
                <a:gd name="connsiteY390" fmla="*/ 772562 h 1715383"/>
                <a:gd name="connsiteX391" fmla="*/ 8431419 w 8734227"/>
                <a:gd name="connsiteY391" fmla="*/ 774092 h 1715383"/>
                <a:gd name="connsiteX392" fmla="*/ 8425867 w 8734227"/>
                <a:gd name="connsiteY392" fmla="*/ 776846 h 1715383"/>
                <a:gd name="connsiteX393" fmla="*/ 8421858 w 8734227"/>
                <a:gd name="connsiteY393" fmla="*/ 780824 h 1715383"/>
                <a:gd name="connsiteX394" fmla="*/ 8418774 w 8734227"/>
                <a:gd name="connsiteY394" fmla="*/ 786333 h 1715383"/>
                <a:gd name="connsiteX395" fmla="*/ 8417848 w 8734227"/>
                <a:gd name="connsiteY395" fmla="*/ 792453 h 1715383"/>
                <a:gd name="connsiteX396" fmla="*/ 8418774 w 8734227"/>
                <a:gd name="connsiteY396" fmla="*/ 798880 h 1715383"/>
                <a:gd name="connsiteX397" fmla="*/ 8421858 w 8734227"/>
                <a:gd name="connsiteY397" fmla="*/ 804083 h 1715383"/>
                <a:gd name="connsiteX398" fmla="*/ 8425867 w 8734227"/>
                <a:gd name="connsiteY398" fmla="*/ 808367 h 1715383"/>
                <a:gd name="connsiteX399" fmla="*/ 8431419 w 8734227"/>
                <a:gd name="connsiteY399" fmla="*/ 811121 h 1715383"/>
                <a:gd name="connsiteX400" fmla="*/ 8437587 w 8734227"/>
                <a:gd name="connsiteY400" fmla="*/ 812039 h 1715383"/>
                <a:gd name="connsiteX401" fmla="*/ 8443755 w 8734227"/>
                <a:gd name="connsiteY401" fmla="*/ 811121 h 1715383"/>
                <a:gd name="connsiteX402" fmla="*/ 8449307 w 8734227"/>
                <a:gd name="connsiteY402" fmla="*/ 808367 h 1715383"/>
                <a:gd name="connsiteX403" fmla="*/ 8453316 w 8734227"/>
                <a:gd name="connsiteY403" fmla="*/ 804083 h 1715383"/>
                <a:gd name="connsiteX404" fmla="*/ 8456401 w 8734227"/>
                <a:gd name="connsiteY404" fmla="*/ 798880 h 1715383"/>
                <a:gd name="connsiteX405" fmla="*/ 8457326 w 8734227"/>
                <a:gd name="connsiteY405" fmla="*/ 792453 h 1715383"/>
                <a:gd name="connsiteX406" fmla="*/ 8456401 w 8734227"/>
                <a:gd name="connsiteY406" fmla="*/ 786333 h 1715383"/>
                <a:gd name="connsiteX407" fmla="*/ 8453316 w 8734227"/>
                <a:gd name="connsiteY407" fmla="*/ 780824 h 1715383"/>
                <a:gd name="connsiteX408" fmla="*/ 8449307 w 8734227"/>
                <a:gd name="connsiteY408" fmla="*/ 776846 h 1715383"/>
                <a:gd name="connsiteX409" fmla="*/ 8443755 w 8734227"/>
                <a:gd name="connsiteY409" fmla="*/ 774092 h 1715383"/>
                <a:gd name="connsiteX410" fmla="*/ 8293556 w 8734227"/>
                <a:gd name="connsiteY410" fmla="*/ 772562 h 1715383"/>
                <a:gd name="connsiteX411" fmla="*/ 8287388 w 8734227"/>
                <a:gd name="connsiteY411" fmla="*/ 774092 h 1715383"/>
                <a:gd name="connsiteX412" fmla="*/ 8281836 w 8734227"/>
                <a:gd name="connsiteY412" fmla="*/ 776846 h 1715383"/>
                <a:gd name="connsiteX413" fmla="*/ 8277827 w 8734227"/>
                <a:gd name="connsiteY413" fmla="*/ 780824 h 1715383"/>
                <a:gd name="connsiteX414" fmla="*/ 8275360 w 8734227"/>
                <a:gd name="connsiteY414" fmla="*/ 786333 h 1715383"/>
                <a:gd name="connsiteX415" fmla="*/ 8274126 w 8734227"/>
                <a:gd name="connsiteY415" fmla="*/ 792453 h 1715383"/>
                <a:gd name="connsiteX416" fmla="*/ 8275360 w 8734227"/>
                <a:gd name="connsiteY416" fmla="*/ 798880 h 1715383"/>
                <a:gd name="connsiteX417" fmla="*/ 8277827 w 8734227"/>
                <a:gd name="connsiteY417" fmla="*/ 804083 h 1715383"/>
                <a:gd name="connsiteX418" fmla="*/ 8281836 w 8734227"/>
                <a:gd name="connsiteY418" fmla="*/ 808367 h 1715383"/>
                <a:gd name="connsiteX419" fmla="*/ 8287388 w 8734227"/>
                <a:gd name="connsiteY419" fmla="*/ 811121 h 1715383"/>
                <a:gd name="connsiteX420" fmla="*/ 8293556 w 8734227"/>
                <a:gd name="connsiteY420" fmla="*/ 812039 h 1715383"/>
                <a:gd name="connsiteX421" fmla="*/ 8300033 w 8734227"/>
                <a:gd name="connsiteY421" fmla="*/ 811121 h 1715383"/>
                <a:gd name="connsiteX422" fmla="*/ 8305276 w 8734227"/>
                <a:gd name="connsiteY422" fmla="*/ 808367 h 1715383"/>
                <a:gd name="connsiteX423" fmla="*/ 8309902 w 8734227"/>
                <a:gd name="connsiteY423" fmla="*/ 804083 h 1715383"/>
                <a:gd name="connsiteX424" fmla="*/ 8312370 w 8734227"/>
                <a:gd name="connsiteY424" fmla="*/ 798880 h 1715383"/>
                <a:gd name="connsiteX425" fmla="*/ 8313603 w 8734227"/>
                <a:gd name="connsiteY425" fmla="*/ 792453 h 1715383"/>
                <a:gd name="connsiteX426" fmla="*/ 8312370 w 8734227"/>
                <a:gd name="connsiteY426" fmla="*/ 786333 h 1715383"/>
                <a:gd name="connsiteX427" fmla="*/ 8309902 w 8734227"/>
                <a:gd name="connsiteY427" fmla="*/ 780824 h 1715383"/>
                <a:gd name="connsiteX428" fmla="*/ 8305276 w 8734227"/>
                <a:gd name="connsiteY428" fmla="*/ 776846 h 1715383"/>
                <a:gd name="connsiteX429" fmla="*/ 8300033 w 8734227"/>
                <a:gd name="connsiteY429" fmla="*/ 774092 h 1715383"/>
                <a:gd name="connsiteX430" fmla="*/ 7025488 w 8734227"/>
                <a:gd name="connsiteY430" fmla="*/ 765735 h 1715383"/>
                <a:gd name="connsiteX431" fmla="*/ 7037131 w 8734227"/>
                <a:gd name="connsiteY431" fmla="*/ 767281 h 1715383"/>
                <a:gd name="connsiteX432" fmla="*/ 7048387 w 8734227"/>
                <a:gd name="connsiteY432" fmla="*/ 771918 h 1715383"/>
                <a:gd name="connsiteX433" fmla="*/ 7057313 w 8734227"/>
                <a:gd name="connsiteY433" fmla="*/ 778873 h 1715383"/>
                <a:gd name="connsiteX434" fmla="*/ 7063911 w 8734227"/>
                <a:gd name="connsiteY434" fmla="*/ 787761 h 1715383"/>
                <a:gd name="connsiteX435" fmla="*/ 7068181 w 8734227"/>
                <a:gd name="connsiteY435" fmla="*/ 798193 h 1715383"/>
                <a:gd name="connsiteX436" fmla="*/ 7069733 w 8734227"/>
                <a:gd name="connsiteY436" fmla="*/ 810172 h 1715383"/>
                <a:gd name="connsiteX437" fmla="*/ 7069733 w 8734227"/>
                <a:gd name="connsiteY437" fmla="*/ 1007241 h 1715383"/>
                <a:gd name="connsiteX438" fmla="*/ 7068181 w 8734227"/>
                <a:gd name="connsiteY438" fmla="*/ 1018833 h 1715383"/>
                <a:gd name="connsiteX439" fmla="*/ 7063911 w 8734227"/>
                <a:gd name="connsiteY439" fmla="*/ 1029653 h 1715383"/>
                <a:gd name="connsiteX440" fmla="*/ 7057313 w 8734227"/>
                <a:gd name="connsiteY440" fmla="*/ 1038540 h 1715383"/>
                <a:gd name="connsiteX441" fmla="*/ 7048387 w 8734227"/>
                <a:gd name="connsiteY441" fmla="*/ 1045496 h 1715383"/>
                <a:gd name="connsiteX442" fmla="*/ 7037131 w 8734227"/>
                <a:gd name="connsiteY442" fmla="*/ 1049360 h 1715383"/>
                <a:gd name="connsiteX443" fmla="*/ 7025488 w 8734227"/>
                <a:gd name="connsiteY443" fmla="*/ 1050905 h 1715383"/>
                <a:gd name="connsiteX444" fmla="*/ 7014233 w 8734227"/>
                <a:gd name="connsiteY444" fmla="*/ 1049360 h 1715383"/>
                <a:gd name="connsiteX445" fmla="*/ 7003754 w 8734227"/>
                <a:gd name="connsiteY445" fmla="*/ 1045496 h 1715383"/>
                <a:gd name="connsiteX446" fmla="*/ 6994827 w 8734227"/>
                <a:gd name="connsiteY446" fmla="*/ 1038540 h 1715383"/>
                <a:gd name="connsiteX447" fmla="*/ 6987453 w 8734227"/>
                <a:gd name="connsiteY447" fmla="*/ 1029653 h 1715383"/>
                <a:gd name="connsiteX448" fmla="*/ 6983184 w 8734227"/>
                <a:gd name="connsiteY448" fmla="*/ 1018833 h 1715383"/>
                <a:gd name="connsiteX449" fmla="*/ 6981632 w 8734227"/>
                <a:gd name="connsiteY449" fmla="*/ 1007241 h 1715383"/>
                <a:gd name="connsiteX450" fmla="*/ 6981632 w 8734227"/>
                <a:gd name="connsiteY450" fmla="*/ 810172 h 1715383"/>
                <a:gd name="connsiteX451" fmla="*/ 6983184 w 8734227"/>
                <a:gd name="connsiteY451" fmla="*/ 798193 h 1715383"/>
                <a:gd name="connsiteX452" fmla="*/ 6987453 w 8734227"/>
                <a:gd name="connsiteY452" fmla="*/ 787761 h 1715383"/>
                <a:gd name="connsiteX453" fmla="*/ 6994827 w 8734227"/>
                <a:gd name="connsiteY453" fmla="*/ 778873 h 1715383"/>
                <a:gd name="connsiteX454" fmla="*/ 7003754 w 8734227"/>
                <a:gd name="connsiteY454" fmla="*/ 771918 h 1715383"/>
                <a:gd name="connsiteX455" fmla="*/ 7014233 w 8734227"/>
                <a:gd name="connsiteY455" fmla="*/ 767281 h 1715383"/>
                <a:gd name="connsiteX456" fmla="*/ 6479106 w 8734227"/>
                <a:gd name="connsiteY456" fmla="*/ 765735 h 1715383"/>
                <a:gd name="connsiteX457" fmla="*/ 6491033 w 8734227"/>
                <a:gd name="connsiteY457" fmla="*/ 767281 h 1715383"/>
                <a:gd name="connsiteX458" fmla="*/ 6501421 w 8734227"/>
                <a:gd name="connsiteY458" fmla="*/ 771918 h 1715383"/>
                <a:gd name="connsiteX459" fmla="*/ 6510269 w 8734227"/>
                <a:gd name="connsiteY459" fmla="*/ 778873 h 1715383"/>
                <a:gd name="connsiteX460" fmla="*/ 6517194 w 8734227"/>
                <a:gd name="connsiteY460" fmla="*/ 787761 h 1715383"/>
                <a:gd name="connsiteX461" fmla="*/ 6521811 w 8734227"/>
                <a:gd name="connsiteY461" fmla="*/ 798193 h 1715383"/>
                <a:gd name="connsiteX462" fmla="*/ 6523349 w 8734227"/>
                <a:gd name="connsiteY462" fmla="*/ 810172 h 1715383"/>
                <a:gd name="connsiteX463" fmla="*/ 6523349 w 8734227"/>
                <a:gd name="connsiteY463" fmla="*/ 1007241 h 1715383"/>
                <a:gd name="connsiteX464" fmla="*/ 6521811 w 8734227"/>
                <a:gd name="connsiteY464" fmla="*/ 1018833 h 1715383"/>
                <a:gd name="connsiteX465" fmla="*/ 6517194 w 8734227"/>
                <a:gd name="connsiteY465" fmla="*/ 1029653 h 1715383"/>
                <a:gd name="connsiteX466" fmla="*/ 6510269 w 8734227"/>
                <a:gd name="connsiteY466" fmla="*/ 1038540 h 1715383"/>
                <a:gd name="connsiteX467" fmla="*/ 6501421 w 8734227"/>
                <a:gd name="connsiteY467" fmla="*/ 1045496 h 1715383"/>
                <a:gd name="connsiteX468" fmla="*/ 6491033 w 8734227"/>
                <a:gd name="connsiteY468" fmla="*/ 1049360 h 1715383"/>
                <a:gd name="connsiteX469" fmla="*/ 6479106 w 8734227"/>
                <a:gd name="connsiteY469" fmla="*/ 1050905 h 1715383"/>
                <a:gd name="connsiteX470" fmla="*/ 6467565 w 8734227"/>
                <a:gd name="connsiteY470" fmla="*/ 1049360 h 1715383"/>
                <a:gd name="connsiteX471" fmla="*/ 6457177 w 8734227"/>
                <a:gd name="connsiteY471" fmla="*/ 1045496 h 1715383"/>
                <a:gd name="connsiteX472" fmla="*/ 6448329 w 8734227"/>
                <a:gd name="connsiteY472" fmla="*/ 1038540 h 1715383"/>
                <a:gd name="connsiteX473" fmla="*/ 6441404 w 8734227"/>
                <a:gd name="connsiteY473" fmla="*/ 1029653 h 1715383"/>
                <a:gd name="connsiteX474" fmla="*/ 6436787 w 8734227"/>
                <a:gd name="connsiteY474" fmla="*/ 1018833 h 1715383"/>
                <a:gd name="connsiteX475" fmla="*/ 6435248 w 8734227"/>
                <a:gd name="connsiteY475" fmla="*/ 1007241 h 1715383"/>
                <a:gd name="connsiteX476" fmla="*/ 6435248 w 8734227"/>
                <a:gd name="connsiteY476" fmla="*/ 810172 h 1715383"/>
                <a:gd name="connsiteX477" fmla="*/ 6436787 w 8734227"/>
                <a:gd name="connsiteY477" fmla="*/ 798193 h 1715383"/>
                <a:gd name="connsiteX478" fmla="*/ 6441404 w 8734227"/>
                <a:gd name="connsiteY478" fmla="*/ 787761 h 1715383"/>
                <a:gd name="connsiteX479" fmla="*/ 6448329 w 8734227"/>
                <a:gd name="connsiteY479" fmla="*/ 778873 h 1715383"/>
                <a:gd name="connsiteX480" fmla="*/ 6457177 w 8734227"/>
                <a:gd name="connsiteY480" fmla="*/ 771918 h 1715383"/>
                <a:gd name="connsiteX481" fmla="*/ 6467565 w 8734227"/>
                <a:gd name="connsiteY481" fmla="*/ 767281 h 1715383"/>
                <a:gd name="connsiteX482" fmla="*/ 5234778 w 8734227"/>
                <a:gd name="connsiteY482" fmla="*/ 759063 h 1715383"/>
                <a:gd name="connsiteX483" fmla="*/ 5209318 w 8734227"/>
                <a:gd name="connsiteY483" fmla="*/ 838744 h 1715383"/>
                <a:gd name="connsiteX484" fmla="*/ 5135967 w 8734227"/>
                <a:gd name="connsiteY484" fmla="*/ 873682 h 1715383"/>
                <a:gd name="connsiteX485" fmla="*/ 5157184 w 8734227"/>
                <a:gd name="connsiteY485" fmla="*/ 802581 h 1715383"/>
                <a:gd name="connsiteX486" fmla="*/ 5234778 w 8734227"/>
                <a:gd name="connsiteY486" fmla="*/ 759063 h 1715383"/>
                <a:gd name="connsiteX487" fmla="*/ 3071934 w 8734227"/>
                <a:gd name="connsiteY487" fmla="*/ 758052 h 1715383"/>
                <a:gd name="connsiteX488" fmla="*/ 3072332 w 8734227"/>
                <a:gd name="connsiteY488" fmla="*/ 994869 h 1715383"/>
                <a:gd name="connsiteX489" fmla="*/ 2804155 w 8734227"/>
                <a:gd name="connsiteY489" fmla="*/ 994869 h 1715383"/>
                <a:gd name="connsiteX490" fmla="*/ 2804155 w 8734227"/>
                <a:gd name="connsiteY490" fmla="*/ 795532 h 1715383"/>
                <a:gd name="connsiteX491" fmla="*/ 1093130 w 8734227"/>
                <a:gd name="connsiteY491" fmla="*/ 713799 h 1715383"/>
                <a:gd name="connsiteX492" fmla="*/ 1093130 w 8734227"/>
                <a:gd name="connsiteY492" fmla="*/ 982883 h 1715383"/>
                <a:gd name="connsiteX493" fmla="*/ 813740 w 8734227"/>
                <a:gd name="connsiteY493" fmla="*/ 982883 h 1715383"/>
                <a:gd name="connsiteX494" fmla="*/ 813710 w 8734227"/>
                <a:gd name="connsiteY494" fmla="*/ 752908 h 1715383"/>
                <a:gd name="connsiteX495" fmla="*/ 8262676 w 8734227"/>
                <a:gd name="connsiteY495" fmla="*/ 695457 h 1715383"/>
                <a:gd name="connsiteX496" fmla="*/ 8263593 w 8734227"/>
                <a:gd name="connsiteY496" fmla="*/ 695770 h 1715383"/>
                <a:gd name="connsiteX497" fmla="*/ 8263899 w 8734227"/>
                <a:gd name="connsiteY497" fmla="*/ 695770 h 1715383"/>
                <a:gd name="connsiteX498" fmla="*/ 8292641 w 8734227"/>
                <a:gd name="connsiteY498" fmla="*/ 737285 h 1715383"/>
                <a:gd name="connsiteX499" fmla="*/ 8297874 w 8734227"/>
                <a:gd name="connsiteY499" fmla="*/ 735220 h 1715383"/>
                <a:gd name="connsiteX500" fmla="*/ 8312986 w 8734227"/>
                <a:gd name="connsiteY500" fmla="*/ 730912 h 1715383"/>
                <a:gd name="connsiteX501" fmla="*/ 8328715 w 8734227"/>
                <a:gd name="connsiteY501" fmla="*/ 727527 h 1715383"/>
                <a:gd name="connsiteX502" fmla="*/ 8346604 w 8734227"/>
                <a:gd name="connsiteY502" fmla="*/ 725681 h 1715383"/>
                <a:gd name="connsiteX503" fmla="*/ 8365726 w 8734227"/>
                <a:gd name="connsiteY503" fmla="*/ 725065 h 1715383"/>
                <a:gd name="connsiteX504" fmla="*/ 8385465 w 8734227"/>
                <a:gd name="connsiteY504" fmla="*/ 725988 h 1715383"/>
                <a:gd name="connsiteX505" fmla="*/ 8403661 w 8734227"/>
                <a:gd name="connsiteY505" fmla="*/ 728142 h 1715383"/>
                <a:gd name="connsiteX506" fmla="*/ 8420624 w 8734227"/>
                <a:gd name="connsiteY506" fmla="*/ 731835 h 1715383"/>
                <a:gd name="connsiteX507" fmla="*/ 8435428 w 8734227"/>
                <a:gd name="connsiteY507" fmla="*/ 736451 h 1715383"/>
                <a:gd name="connsiteX508" fmla="*/ 8438249 w 8734227"/>
                <a:gd name="connsiteY508" fmla="*/ 737667 h 1715383"/>
                <a:gd name="connsiteX509" fmla="*/ 8467449 w 8734227"/>
                <a:gd name="connsiteY509" fmla="*/ 695770 h 1715383"/>
                <a:gd name="connsiteX510" fmla="*/ 8468071 w 8734227"/>
                <a:gd name="connsiteY510" fmla="*/ 695770 h 1715383"/>
                <a:gd name="connsiteX511" fmla="*/ 8468693 w 8734227"/>
                <a:gd name="connsiteY511" fmla="*/ 695457 h 1715383"/>
                <a:gd name="connsiteX512" fmla="*/ 8469626 w 8734227"/>
                <a:gd name="connsiteY512" fmla="*/ 695770 h 1715383"/>
                <a:gd name="connsiteX513" fmla="*/ 8470870 w 8734227"/>
                <a:gd name="connsiteY513" fmla="*/ 695770 h 1715383"/>
                <a:gd name="connsiteX514" fmla="*/ 8471803 w 8734227"/>
                <a:gd name="connsiteY514" fmla="*/ 696707 h 1715383"/>
                <a:gd name="connsiteX515" fmla="*/ 8472736 w 8734227"/>
                <a:gd name="connsiteY515" fmla="*/ 697332 h 1715383"/>
                <a:gd name="connsiteX516" fmla="*/ 8473358 w 8734227"/>
                <a:gd name="connsiteY516" fmla="*/ 698268 h 1715383"/>
                <a:gd name="connsiteX517" fmla="*/ 8473980 w 8734227"/>
                <a:gd name="connsiteY517" fmla="*/ 699518 h 1715383"/>
                <a:gd name="connsiteX518" fmla="*/ 8473358 w 8734227"/>
                <a:gd name="connsiteY518" fmla="*/ 700143 h 1715383"/>
                <a:gd name="connsiteX519" fmla="*/ 8445137 w 8734227"/>
                <a:gd name="connsiteY519" fmla="*/ 740635 h 1715383"/>
                <a:gd name="connsiteX520" fmla="*/ 8448998 w 8734227"/>
                <a:gd name="connsiteY520" fmla="*/ 742298 h 1715383"/>
                <a:gd name="connsiteX521" fmla="*/ 8461335 w 8734227"/>
                <a:gd name="connsiteY521" fmla="*/ 748760 h 1715383"/>
                <a:gd name="connsiteX522" fmla="*/ 8472129 w 8734227"/>
                <a:gd name="connsiteY522" fmla="*/ 755838 h 1715383"/>
                <a:gd name="connsiteX523" fmla="*/ 8481691 w 8734227"/>
                <a:gd name="connsiteY523" fmla="*/ 763839 h 1715383"/>
                <a:gd name="connsiteX524" fmla="*/ 8490018 w 8734227"/>
                <a:gd name="connsiteY524" fmla="*/ 772456 h 1715383"/>
                <a:gd name="connsiteX525" fmla="*/ 8497728 w 8734227"/>
                <a:gd name="connsiteY525" fmla="*/ 781072 h 1715383"/>
                <a:gd name="connsiteX526" fmla="*/ 8504205 w 8734227"/>
                <a:gd name="connsiteY526" fmla="*/ 789997 h 1715383"/>
                <a:gd name="connsiteX527" fmla="*/ 8509757 w 8734227"/>
                <a:gd name="connsiteY527" fmla="*/ 799229 h 1715383"/>
                <a:gd name="connsiteX528" fmla="*/ 8514383 w 8734227"/>
                <a:gd name="connsiteY528" fmla="*/ 808153 h 1715383"/>
                <a:gd name="connsiteX529" fmla="*/ 8518084 w 8734227"/>
                <a:gd name="connsiteY529" fmla="*/ 817077 h 1715383"/>
                <a:gd name="connsiteX530" fmla="*/ 8521477 w 8734227"/>
                <a:gd name="connsiteY530" fmla="*/ 825386 h 1715383"/>
                <a:gd name="connsiteX531" fmla="*/ 8523944 w 8734227"/>
                <a:gd name="connsiteY531" fmla="*/ 833079 h 1715383"/>
                <a:gd name="connsiteX532" fmla="*/ 8526103 w 8734227"/>
                <a:gd name="connsiteY532" fmla="*/ 840773 h 1715383"/>
                <a:gd name="connsiteX533" fmla="*/ 8527336 w 8734227"/>
                <a:gd name="connsiteY533" fmla="*/ 846927 h 1715383"/>
                <a:gd name="connsiteX534" fmla="*/ 8528262 w 8734227"/>
                <a:gd name="connsiteY534" fmla="*/ 852774 h 1715383"/>
                <a:gd name="connsiteX535" fmla="*/ 8528879 w 8734227"/>
                <a:gd name="connsiteY535" fmla="*/ 857390 h 1715383"/>
                <a:gd name="connsiteX536" fmla="*/ 8529495 w 8734227"/>
                <a:gd name="connsiteY536" fmla="*/ 861083 h 1715383"/>
                <a:gd name="connsiteX537" fmla="*/ 8529495 w 8734227"/>
                <a:gd name="connsiteY537" fmla="*/ 862929 h 1715383"/>
                <a:gd name="connsiteX538" fmla="*/ 8529495 w 8734227"/>
                <a:gd name="connsiteY538" fmla="*/ 863853 h 1715383"/>
                <a:gd name="connsiteX539" fmla="*/ 8201956 w 8734227"/>
                <a:gd name="connsiteY539" fmla="*/ 863853 h 1715383"/>
                <a:gd name="connsiteX540" fmla="*/ 8201956 w 8734227"/>
                <a:gd name="connsiteY540" fmla="*/ 862929 h 1715383"/>
                <a:gd name="connsiteX541" fmla="*/ 8201956 w 8734227"/>
                <a:gd name="connsiteY541" fmla="*/ 861083 h 1715383"/>
                <a:gd name="connsiteX542" fmla="*/ 8202265 w 8734227"/>
                <a:gd name="connsiteY542" fmla="*/ 857698 h 1715383"/>
                <a:gd name="connsiteX543" fmla="*/ 8203190 w 8734227"/>
                <a:gd name="connsiteY543" fmla="*/ 853390 h 1715383"/>
                <a:gd name="connsiteX544" fmla="*/ 8204115 w 8734227"/>
                <a:gd name="connsiteY544" fmla="*/ 848158 h 1715383"/>
                <a:gd name="connsiteX545" fmla="*/ 8204732 w 8734227"/>
                <a:gd name="connsiteY545" fmla="*/ 842004 h 1715383"/>
                <a:gd name="connsiteX546" fmla="*/ 8206582 w 8734227"/>
                <a:gd name="connsiteY546" fmla="*/ 835233 h 1715383"/>
                <a:gd name="connsiteX547" fmla="*/ 8209050 w 8734227"/>
                <a:gd name="connsiteY547" fmla="*/ 827848 h 1715383"/>
                <a:gd name="connsiteX548" fmla="*/ 8211517 w 8734227"/>
                <a:gd name="connsiteY548" fmla="*/ 819847 h 1715383"/>
                <a:gd name="connsiteX549" fmla="*/ 8214910 w 8734227"/>
                <a:gd name="connsiteY549" fmla="*/ 811538 h 1715383"/>
                <a:gd name="connsiteX550" fmla="*/ 8218919 w 8734227"/>
                <a:gd name="connsiteY550" fmla="*/ 802922 h 1715383"/>
                <a:gd name="connsiteX551" fmla="*/ 8223546 w 8734227"/>
                <a:gd name="connsiteY551" fmla="*/ 793997 h 1715383"/>
                <a:gd name="connsiteX552" fmla="*/ 8229405 w 8734227"/>
                <a:gd name="connsiteY552" fmla="*/ 785688 h 1715383"/>
                <a:gd name="connsiteX553" fmla="*/ 8236190 w 8734227"/>
                <a:gd name="connsiteY553" fmla="*/ 777072 h 1715383"/>
                <a:gd name="connsiteX554" fmla="*/ 8243592 w 8734227"/>
                <a:gd name="connsiteY554" fmla="*/ 768763 h 1715383"/>
                <a:gd name="connsiteX555" fmla="*/ 8251920 w 8734227"/>
                <a:gd name="connsiteY555" fmla="*/ 760762 h 1715383"/>
                <a:gd name="connsiteX556" fmla="*/ 8261481 w 8734227"/>
                <a:gd name="connsiteY556" fmla="*/ 753376 h 1715383"/>
                <a:gd name="connsiteX557" fmla="*/ 8272275 w 8734227"/>
                <a:gd name="connsiteY557" fmla="*/ 746606 h 1715383"/>
                <a:gd name="connsiteX558" fmla="*/ 8284612 w 8734227"/>
                <a:gd name="connsiteY558" fmla="*/ 740452 h 1715383"/>
                <a:gd name="connsiteX559" fmla="*/ 8285699 w 8734227"/>
                <a:gd name="connsiteY559" fmla="*/ 740023 h 1715383"/>
                <a:gd name="connsiteX560" fmla="*/ 8258088 w 8734227"/>
                <a:gd name="connsiteY560" fmla="*/ 700143 h 1715383"/>
                <a:gd name="connsiteX561" fmla="*/ 8258088 w 8734227"/>
                <a:gd name="connsiteY561" fmla="*/ 699518 h 1715383"/>
                <a:gd name="connsiteX562" fmla="*/ 8258088 w 8734227"/>
                <a:gd name="connsiteY562" fmla="*/ 698268 h 1715383"/>
                <a:gd name="connsiteX563" fmla="*/ 8259006 w 8734227"/>
                <a:gd name="connsiteY563" fmla="*/ 697332 h 1715383"/>
                <a:gd name="connsiteX564" fmla="*/ 8260229 w 8734227"/>
                <a:gd name="connsiteY564" fmla="*/ 696707 h 1715383"/>
                <a:gd name="connsiteX565" fmla="*/ 8260841 w 8734227"/>
                <a:gd name="connsiteY565" fmla="*/ 695770 h 1715383"/>
                <a:gd name="connsiteX566" fmla="*/ 8261758 w 8734227"/>
                <a:gd name="connsiteY566" fmla="*/ 695770 h 1715383"/>
                <a:gd name="connsiteX567" fmla="*/ 1495584 w 8734227"/>
                <a:gd name="connsiteY567" fmla="*/ 657469 h 1715383"/>
                <a:gd name="connsiteX568" fmla="*/ 1496132 w 8734227"/>
                <a:gd name="connsiteY568" fmla="*/ 982883 h 1715383"/>
                <a:gd name="connsiteX569" fmla="*/ 1127626 w 8734227"/>
                <a:gd name="connsiteY569" fmla="*/ 982883 h 1715383"/>
                <a:gd name="connsiteX570" fmla="*/ 1127626 w 8734227"/>
                <a:gd name="connsiteY570" fmla="*/ 708970 h 1715383"/>
                <a:gd name="connsiteX571" fmla="*/ 4171486 w 8734227"/>
                <a:gd name="connsiteY571" fmla="*/ 652571 h 1715383"/>
                <a:gd name="connsiteX572" fmla="*/ 4323878 w 8734227"/>
                <a:gd name="connsiteY572" fmla="*/ 731098 h 1715383"/>
                <a:gd name="connsiteX573" fmla="*/ 4239535 w 8734227"/>
                <a:gd name="connsiteY573" fmla="*/ 880396 h 1715383"/>
                <a:gd name="connsiteX574" fmla="*/ 4344963 w 8734227"/>
                <a:gd name="connsiteY574" fmla="*/ 1040357 h 1715383"/>
                <a:gd name="connsiteX575" fmla="*/ 4172445 w 8734227"/>
                <a:gd name="connsiteY575" fmla="*/ 1248792 h 1715383"/>
                <a:gd name="connsiteX576" fmla="*/ 4044015 w 8734227"/>
                <a:gd name="connsiteY576" fmla="*/ 1217769 h 1715383"/>
                <a:gd name="connsiteX577" fmla="*/ 3914626 w 8734227"/>
                <a:gd name="connsiteY577" fmla="*/ 1250731 h 1715383"/>
                <a:gd name="connsiteX578" fmla="*/ 3710479 w 8734227"/>
                <a:gd name="connsiteY578" fmla="*/ 893968 h 1715383"/>
                <a:gd name="connsiteX579" fmla="*/ 3897374 w 8734227"/>
                <a:gd name="connsiteY579" fmla="*/ 654510 h 1715383"/>
                <a:gd name="connsiteX580" fmla="*/ 4033472 w 8734227"/>
                <a:gd name="connsiteY580" fmla="*/ 689411 h 1715383"/>
                <a:gd name="connsiteX581" fmla="*/ 4171486 w 8734227"/>
                <a:gd name="connsiteY581" fmla="*/ 652571 h 1715383"/>
                <a:gd name="connsiteX582" fmla="*/ 6842525 w 8734227"/>
                <a:gd name="connsiteY582" fmla="*/ 641312 h 1715383"/>
                <a:gd name="connsiteX583" fmla="*/ 6834796 w 8734227"/>
                <a:gd name="connsiteY583" fmla="*/ 643229 h 1715383"/>
                <a:gd name="connsiteX584" fmla="*/ 6827841 w 8734227"/>
                <a:gd name="connsiteY584" fmla="*/ 646680 h 1715383"/>
                <a:gd name="connsiteX585" fmla="*/ 6822818 w 8734227"/>
                <a:gd name="connsiteY585" fmla="*/ 651664 h 1715383"/>
                <a:gd name="connsiteX586" fmla="*/ 6818953 w 8734227"/>
                <a:gd name="connsiteY586" fmla="*/ 658566 h 1715383"/>
                <a:gd name="connsiteX587" fmla="*/ 6817794 w 8734227"/>
                <a:gd name="connsiteY587" fmla="*/ 666234 h 1715383"/>
                <a:gd name="connsiteX588" fmla="*/ 6818953 w 8734227"/>
                <a:gd name="connsiteY588" fmla="*/ 674286 h 1715383"/>
                <a:gd name="connsiteX589" fmla="*/ 6822818 w 8734227"/>
                <a:gd name="connsiteY589" fmla="*/ 680804 h 1715383"/>
                <a:gd name="connsiteX590" fmla="*/ 6827841 w 8734227"/>
                <a:gd name="connsiteY590" fmla="*/ 686172 h 1715383"/>
                <a:gd name="connsiteX591" fmla="*/ 6834796 w 8734227"/>
                <a:gd name="connsiteY591" fmla="*/ 689622 h 1715383"/>
                <a:gd name="connsiteX592" fmla="*/ 6842525 w 8734227"/>
                <a:gd name="connsiteY592" fmla="*/ 690772 h 1715383"/>
                <a:gd name="connsiteX593" fmla="*/ 6850253 w 8734227"/>
                <a:gd name="connsiteY593" fmla="*/ 689622 h 1715383"/>
                <a:gd name="connsiteX594" fmla="*/ 6857208 w 8734227"/>
                <a:gd name="connsiteY594" fmla="*/ 686172 h 1715383"/>
                <a:gd name="connsiteX595" fmla="*/ 6862231 w 8734227"/>
                <a:gd name="connsiteY595" fmla="*/ 680804 h 1715383"/>
                <a:gd name="connsiteX596" fmla="*/ 6866096 w 8734227"/>
                <a:gd name="connsiteY596" fmla="*/ 674286 h 1715383"/>
                <a:gd name="connsiteX597" fmla="*/ 6867255 w 8734227"/>
                <a:gd name="connsiteY597" fmla="*/ 666234 h 1715383"/>
                <a:gd name="connsiteX598" fmla="*/ 6866096 w 8734227"/>
                <a:gd name="connsiteY598" fmla="*/ 658566 h 1715383"/>
                <a:gd name="connsiteX599" fmla="*/ 6862231 w 8734227"/>
                <a:gd name="connsiteY599" fmla="*/ 651664 h 1715383"/>
                <a:gd name="connsiteX600" fmla="*/ 6857208 w 8734227"/>
                <a:gd name="connsiteY600" fmla="*/ 646680 h 1715383"/>
                <a:gd name="connsiteX601" fmla="*/ 6850253 w 8734227"/>
                <a:gd name="connsiteY601" fmla="*/ 643229 h 1715383"/>
                <a:gd name="connsiteX602" fmla="*/ 6662071 w 8734227"/>
                <a:gd name="connsiteY602" fmla="*/ 641312 h 1715383"/>
                <a:gd name="connsiteX603" fmla="*/ 6654343 w 8734227"/>
                <a:gd name="connsiteY603" fmla="*/ 643229 h 1715383"/>
                <a:gd name="connsiteX604" fmla="*/ 6647388 w 8734227"/>
                <a:gd name="connsiteY604" fmla="*/ 646680 h 1715383"/>
                <a:gd name="connsiteX605" fmla="*/ 6642364 w 8734227"/>
                <a:gd name="connsiteY605" fmla="*/ 651664 h 1715383"/>
                <a:gd name="connsiteX606" fmla="*/ 6639273 w 8734227"/>
                <a:gd name="connsiteY606" fmla="*/ 658566 h 1715383"/>
                <a:gd name="connsiteX607" fmla="*/ 6637727 w 8734227"/>
                <a:gd name="connsiteY607" fmla="*/ 666234 h 1715383"/>
                <a:gd name="connsiteX608" fmla="*/ 6639273 w 8734227"/>
                <a:gd name="connsiteY608" fmla="*/ 674286 h 1715383"/>
                <a:gd name="connsiteX609" fmla="*/ 6642364 w 8734227"/>
                <a:gd name="connsiteY609" fmla="*/ 680804 h 1715383"/>
                <a:gd name="connsiteX610" fmla="*/ 6647388 w 8734227"/>
                <a:gd name="connsiteY610" fmla="*/ 686172 h 1715383"/>
                <a:gd name="connsiteX611" fmla="*/ 6654343 w 8734227"/>
                <a:gd name="connsiteY611" fmla="*/ 689622 h 1715383"/>
                <a:gd name="connsiteX612" fmla="*/ 6662071 w 8734227"/>
                <a:gd name="connsiteY612" fmla="*/ 690772 h 1715383"/>
                <a:gd name="connsiteX613" fmla="*/ 6670186 w 8734227"/>
                <a:gd name="connsiteY613" fmla="*/ 689622 h 1715383"/>
                <a:gd name="connsiteX614" fmla="*/ 6676755 w 8734227"/>
                <a:gd name="connsiteY614" fmla="*/ 686172 h 1715383"/>
                <a:gd name="connsiteX615" fmla="*/ 6682551 w 8734227"/>
                <a:gd name="connsiteY615" fmla="*/ 680804 h 1715383"/>
                <a:gd name="connsiteX616" fmla="*/ 6685642 w 8734227"/>
                <a:gd name="connsiteY616" fmla="*/ 674286 h 1715383"/>
                <a:gd name="connsiteX617" fmla="*/ 6687188 w 8734227"/>
                <a:gd name="connsiteY617" fmla="*/ 666234 h 1715383"/>
                <a:gd name="connsiteX618" fmla="*/ 6685642 w 8734227"/>
                <a:gd name="connsiteY618" fmla="*/ 658566 h 1715383"/>
                <a:gd name="connsiteX619" fmla="*/ 6682551 w 8734227"/>
                <a:gd name="connsiteY619" fmla="*/ 651664 h 1715383"/>
                <a:gd name="connsiteX620" fmla="*/ 6676755 w 8734227"/>
                <a:gd name="connsiteY620" fmla="*/ 646680 h 1715383"/>
                <a:gd name="connsiteX621" fmla="*/ 6670186 w 8734227"/>
                <a:gd name="connsiteY621" fmla="*/ 643229 h 1715383"/>
                <a:gd name="connsiteX622" fmla="*/ 4828217 w 8734227"/>
                <a:gd name="connsiteY622" fmla="*/ 546687 h 1715383"/>
                <a:gd name="connsiteX623" fmla="*/ 4828217 w 8734227"/>
                <a:gd name="connsiteY623" fmla="*/ 1471905 h 1715383"/>
                <a:gd name="connsiteX624" fmla="*/ 5444866 w 8734227"/>
                <a:gd name="connsiteY624" fmla="*/ 1471905 h 1715383"/>
                <a:gd name="connsiteX625" fmla="*/ 5444866 w 8734227"/>
                <a:gd name="connsiteY625" fmla="*/ 546687 h 1715383"/>
                <a:gd name="connsiteX626" fmla="*/ 6623381 w 8734227"/>
                <a:gd name="connsiteY626" fmla="*/ 544709 h 1715383"/>
                <a:gd name="connsiteX627" fmla="*/ 6624531 w 8734227"/>
                <a:gd name="connsiteY627" fmla="*/ 545101 h 1715383"/>
                <a:gd name="connsiteX628" fmla="*/ 6624914 w 8734227"/>
                <a:gd name="connsiteY628" fmla="*/ 545101 h 1715383"/>
                <a:gd name="connsiteX629" fmla="*/ 6660924 w 8734227"/>
                <a:gd name="connsiteY629" fmla="*/ 597114 h 1715383"/>
                <a:gd name="connsiteX630" fmla="*/ 6667480 w 8734227"/>
                <a:gd name="connsiteY630" fmla="*/ 594528 h 1715383"/>
                <a:gd name="connsiteX631" fmla="*/ 6686415 w 8734227"/>
                <a:gd name="connsiteY631" fmla="*/ 589130 h 1715383"/>
                <a:gd name="connsiteX632" fmla="*/ 6706121 w 8734227"/>
                <a:gd name="connsiteY632" fmla="*/ 584889 h 1715383"/>
                <a:gd name="connsiteX633" fmla="*/ 6728533 w 8734227"/>
                <a:gd name="connsiteY633" fmla="*/ 582576 h 1715383"/>
                <a:gd name="connsiteX634" fmla="*/ 6752491 w 8734227"/>
                <a:gd name="connsiteY634" fmla="*/ 581804 h 1715383"/>
                <a:gd name="connsiteX635" fmla="*/ 6777221 w 8734227"/>
                <a:gd name="connsiteY635" fmla="*/ 582961 h 1715383"/>
                <a:gd name="connsiteX636" fmla="*/ 6800019 w 8734227"/>
                <a:gd name="connsiteY636" fmla="*/ 585660 h 1715383"/>
                <a:gd name="connsiteX637" fmla="*/ 6821272 w 8734227"/>
                <a:gd name="connsiteY637" fmla="*/ 590287 h 1715383"/>
                <a:gd name="connsiteX638" fmla="*/ 6839819 w 8734227"/>
                <a:gd name="connsiteY638" fmla="*/ 596070 h 1715383"/>
                <a:gd name="connsiteX639" fmla="*/ 6843354 w 8734227"/>
                <a:gd name="connsiteY639" fmla="*/ 597593 h 1715383"/>
                <a:gd name="connsiteX640" fmla="*/ 6879938 w 8734227"/>
                <a:gd name="connsiteY640" fmla="*/ 545101 h 1715383"/>
                <a:gd name="connsiteX641" fmla="*/ 6880717 w 8734227"/>
                <a:gd name="connsiteY641" fmla="*/ 545101 h 1715383"/>
                <a:gd name="connsiteX642" fmla="*/ 6881497 w 8734227"/>
                <a:gd name="connsiteY642" fmla="*/ 544709 h 1715383"/>
                <a:gd name="connsiteX643" fmla="*/ 6882665 w 8734227"/>
                <a:gd name="connsiteY643" fmla="*/ 545101 h 1715383"/>
                <a:gd name="connsiteX644" fmla="*/ 6884224 w 8734227"/>
                <a:gd name="connsiteY644" fmla="*/ 545101 h 1715383"/>
                <a:gd name="connsiteX645" fmla="*/ 6885393 w 8734227"/>
                <a:gd name="connsiteY645" fmla="*/ 546275 h 1715383"/>
                <a:gd name="connsiteX646" fmla="*/ 6886562 w 8734227"/>
                <a:gd name="connsiteY646" fmla="*/ 547058 h 1715383"/>
                <a:gd name="connsiteX647" fmla="*/ 6887341 w 8734227"/>
                <a:gd name="connsiteY647" fmla="*/ 548231 h 1715383"/>
                <a:gd name="connsiteX648" fmla="*/ 6888121 w 8734227"/>
                <a:gd name="connsiteY648" fmla="*/ 549797 h 1715383"/>
                <a:gd name="connsiteX649" fmla="*/ 6887341 w 8734227"/>
                <a:gd name="connsiteY649" fmla="*/ 550580 h 1715383"/>
                <a:gd name="connsiteX650" fmla="*/ 6851984 w 8734227"/>
                <a:gd name="connsiteY650" fmla="*/ 601312 h 1715383"/>
                <a:gd name="connsiteX651" fmla="*/ 6856821 w 8734227"/>
                <a:gd name="connsiteY651" fmla="*/ 603396 h 1715383"/>
                <a:gd name="connsiteX652" fmla="*/ 6872278 w 8734227"/>
                <a:gd name="connsiteY652" fmla="*/ 611492 h 1715383"/>
                <a:gd name="connsiteX653" fmla="*/ 6885802 w 8734227"/>
                <a:gd name="connsiteY653" fmla="*/ 620360 h 1715383"/>
                <a:gd name="connsiteX654" fmla="*/ 6897781 w 8734227"/>
                <a:gd name="connsiteY654" fmla="*/ 630384 h 1715383"/>
                <a:gd name="connsiteX655" fmla="*/ 6908214 w 8734227"/>
                <a:gd name="connsiteY655" fmla="*/ 641180 h 1715383"/>
                <a:gd name="connsiteX656" fmla="*/ 6917874 w 8734227"/>
                <a:gd name="connsiteY656" fmla="*/ 651975 h 1715383"/>
                <a:gd name="connsiteX657" fmla="*/ 6925989 w 8734227"/>
                <a:gd name="connsiteY657" fmla="*/ 663156 h 1715383"/>
                <a:gd name="connsiteX658" fmla="*/ 6932944 w 8734227"/>
                <a:gd name="connsiteY658" fmla="*/ 674723 h 1715383"/>
                <a:gd name="connsiteX659" fmla="*/ 6938740 w 8734227"/>
                <a:gd name="connsiteY659" fmla="*/ 685904 h 1715383"/>
                <a:gd name="connsiteX660" fmla="*/ 6943377 w 8734227"/>
                <a:gd name="connsiteY660" fmla="*/ 697084 h 1715383"/>
                <a:gd name="connsiteX661" fmla="*/ 6947628 w 8734227"/>
                <a:gd name="connsiteY661" fmla="*/ 707495 h 1715383"/>
                <a:gd name="connsiteX662" fmla="*/ 6950719 w 8734227"/>
                <a:gd name="connsiteY662" fmla="*/ 717133 h 1715383"/>
                <a:gd name="connsiteX663" fmla="*/ 6953424 w 8734227"/>
                <a:gd name="connsiteY663" fmla="*/ 726772 h 1715383"/>
                <a:gd name="connsiteX664" fmla="*/ 6954970 w 8734227"/>
                <a:gd name="connsiteY664" fmla="*/ 734484 h 1715383"/>
                <a:gd name="connsiteX665" fmla="*/ 6956129 w 8734227"/>
                <a:gd name="connsiteY665" fmla="*/ 741809 h 1715383"/>
                <a:gd name="connsiteX666" fmla="*/ 6956902 w 8734227"/>
                <a:gd name="connsiteY666" fmla="*/ 747592 h 1715383"/>
                <a:gd name="connsiteX667" fmla="*/ 6957674 w 8734227"/>
                <a:gd name="connsiteY667" fmla="*/ 752219 h 1715383"/>
                <a:gd name="connsiteX668" fmla="*/ 6957674 w 8734227"/>
                <a:gd name="connsiteY668" fmla="*/ 754532 h 1715383"/>
                <a:gd name="connsiteX669" fmla="*/ 6957674 w 8734227"/>
                <a:gd name="connsiteY669" fmla="*/ 755689 h 1715383"/>
                <a:gd name="connsiteX670" fmla="*/ 6547307 w 8734227"/>
                <a:gd name="connsiteY670" fmla="*/ 755689 h 1715383"/>
                <a:gd name="connsiteX671" fmla="*/ 6547307 w 8734227"/>
                <a:gd name="connsiteY671" fmla="*/ 754532 h 1715383"/>
                <a:gd name="connsiteX672" fmla="*/ 6547307 w 8734227"/>
                <a:gd name="connsiteY672" fmla="*/ 752219 h 1715383"/>
                <a:gd name="connsiteX673" fmla="*/ 6547694 w 8734227"/>
                <a:gd name="connsiteY673" fmla="*/ 747978 h 1715383"/>
                <a:gd name="connsiteX674" fmla="*/ 6548853 w 8734227"/>
                <a:gd name="connsiteY674" fmla="*/ 742580 h 1715383"/>
                <a:gd name="connsiteX675" fmla="*/ 6550012 w 8734227"/>
                <a:gd name="connsiteY675" fmla="*/ 736026 h 1715383"/>
                <a:gd name="connsiteX676" fmla="*/ 6550785 w 8734227"/>
                <a:gd name="connsiteY676" fmla="*/ 728315 h 1715383"/>
                <a:gd name="connsiteX677" fmla="*/ 6553103 w 8734227"/>
                <a:gd name="connsiteY677" fmla="*/ 719832 h 1715383"/>
                <a:gd name="connsiteX678" fmla="*/ 6556194 w 8734227"/>
                <a:gd name="connsiteY678" fmla="*/ 710579 h 1715383"/>
                <a:gd name="connsiteX679" fmla="*/ 6559286 w 8734227"/>
                <a:gd name="connsiteY679" fmla="*/ 700555 h 1715383"/>
                <a:gd name="connsiteX680" fmla="*/ 6563537 w 8734227"/>
                <a:gd name="connsiteY680" fmla="*/ 690145 h 1715383"/>
                <a:gd name="connsiteX681" fmla="*/ 6568559 w 8734227"/>
                <a:gd name="connsiteY681" fmla="*/ 679349 h 1715383"/>
                <a:gd name="connsiteX682" fmla="*/ 6574356 w 8734227"/>
                <a:gd name="connsiteY682" fmla="*/ 668168 h 1715383"/>
                <a:gd name="connsiteX683" fmla="*/ 6581698 w 8734227"/>
                <a:gd name="connsiteY683" fmla="*/ 657758 h 1715383"/>
                <a:gd name="connsiteX684" fmla="*/ 6590198 w 8734227"/>
                <a:gd name="connsiteY684" fmla="*/ 646963 h 1715383"/>
                <a:gd name="connsiteX685" fmla="*/ 6599472 w 8734227"/>
                <a:gd name="connsiteY685" fmla="*/ 636553 h 1715383"/>
                <a:gd name="connsiteX686" fmla="*/ 6609906 w 8734227"/>
                <a:gd name="connsiteY686" fmla="*/ 626529 h 1715383"/>
                <a:gd name="connsiteX687" fmla="*/ 6621884 w 8734227"/>
                <a:gd name="connsiteY687" fmla="*/ 617275 h 1715383"/>
                <a:gd name="connsiteX688" fmla="*/ 6635408 w 8734227"/>
                <a:gd name="connsiteY688" fmla="*/ 608793 h 1715383"/>
                <a:gd name="connsiteX689" fmla="*/ 6650865 w 8734227"/>
                <a:gd name="connsiteY689" fmla="*/ 601082 h 1715383"/>
                <a:gd name="connsiteX690" fmla="*/ 6652226 w 8734227"/>
                <a:gd name="connsiteY690" fmla="*/ 600545 h 1715383"/>
                <a:gd name="connsiteX691" fmla="*/ 6617634 w 8734227"/>
                <a:gd name="connsiteY691" fmla="*/ 550580 h 1715383"/>
                <a:gd name="connsiteX692" fmla="*/ 6617634 w 8734227"/>
                <a:gd name="connsiteY692" fmla="*/ 549797 h 1715383"/>
                <a:gd name="connsiteX693" fmla="*/ 6617634 w 8734227"/>
                <a:gd name="connsiteY693" fmla="*/ 548231 h 1715383"/>
                <a:gd name="connsiteX694" fmla="*/ 6618783 w 8734227"/>
                <a:gd name="connsiteY694" fmla="*/ 547058 h 1715383"/>
                <a:gd name="connsiteX695" fmla="*/ 6620316 w 8734227"/>
                <a:gd name="connsiteY695" fmla="*/ 546275 h 1715383"/>
                <a:gd name="connsiteX696" fmla="*/ 6621082 w 8734227"/>
                <a:gd name="connsiteY696" fmla="*/ 545101 h 1715383"/>
                <a:gd name="connsiteX697" fmla="*/ 6622232 w 8734227"/>
                <a:gd name="connsiteY697" fmla="*/ 545101 h 1715383"/>
                <a:gd name="connsiteX698" fmla="*/ 4183017 w 8734227"/>
                <a:gd name="connsiteY698" fmla="*/ 463640 h 1715383"/>
                <a:gd name="connsiteX699" fmla="*/ 4142768 w 8734227"/>
                <a:gd name="connsiteY699" fmla="*/ 589602 h 1715383"/>
                <a:gd name="connsiteX700" fmla="*/ 4026815 w 8734227"/>
                <a:gd name="connsiteY700" fmla="*/ 644831 h 1715383"/>
                <a:gd name="connsiteX701" fmla="*/ 4060355 w 8734227"/>
                <a:gd name="connsiteY701" fmla="*/ 532435 h 1715383"/>
                <a:gd name="connsiteX702" fmla="*/ 4183017 w 8734227"/>
                <a:gd name="connsiteY702" fmla="*/ 463640 h 1715383"/>
                <a:gd name="connsiteX703" fmla="*/ 142606 w 8734227"/>
                <a:gd name="connsiteY703" fmla="*/ 435886 h 1715383"/>
                <a:gd name="connsiteX704" fmla="*/ 142606 w 8734227"/>
                <a:gd name="connsiteY704" fmla="*/ 1564635 h 1715383"/>
                <a:gd name="connsiteX705" fmla="*/ 2167619 w 8734227"/>
                <a:gd name="connsiteY705" fmla="*/ 1564635 h 1715383"/>
                <a:gd name="connsiteX706" fmla="*/ 2167619 w 8734227"/>
                <a:gd name="connsiteY706" fmla="*/ 435886 h 1715383"/>
                <a:gd name="connsiteX707" fmla="*/ 5049402 w 8734227"/>
                <a:gd name="connsiteY707" fmla="*/ 408930 h 1715383"/>
                <a:gd name="connsiteX708" fmla="*/ 5033704 w 8734227"/>
                <a:gd name="connsiteY708" fmla="*/ 424628 h 1715383"/>
                <a:gd name="connsiteX709" fmla="*/ 5049402 w 8734227"/>
                <a:gd name="connsiteY709" fmla="*/ 440326 h 1715383"/>
                <a:gd name="connsiteX710" fmla="*/ 5223681 w 8734227"/>
                <a:gd name="connsiteY710" fmla="*/ 440326 h 1715383"/>
                <a:gd name="connsiteX711" fmla="*/ 5239379 w 8734227"/>
                <a:gd name="connsiteY711" fmla="*/ 424628 h 1715383"/>
                <a:gd name="connsiteX712" fmla="*/ 5223681 w 8734227"/>
                <a:gd name="connsiteY712" fmla="*/ 408930 h 1715383"/>
                <a:gd name="connsiteX713" fmla="*/ 2518597 w 8734227"/>
                <a:gd name="connsiteY713" fmla="*/ 402274 h 1715383"/>
                <a:gd name="connsiteX714" fmla="*/ 2481061 w 8734227"/>
                <a:gd name="connsiteY714" fmla="*/ 439810 h 1715383"/>
                <a:gd name="connsiteX715" fmla="*/ 2481061 w 8734227"/>
                <a:gd name="connsiteY715" fmla="*/ 1467497 h 1715383"/>
                <a:gd name="connsiteX716" fmla="*/ 2518597 w 8734227"/>
                <a:gd name="connsiteY716" fmla="*/ 1505033 h 1715383"/>
                <a:gd name="connsiteX717" fmla="*/ 3130747 w 8734227"/>
                <a:gd name="connsiteY717" fmla="*/ 1505033 h 1715383"/>
                <a:gd name="connsiteX718" fmla="*/ 3168284 w 8734227"/>
                <a:gd name="connsiteY718" fmla="*/ 1467497 h 1715383"/>
                <a:gd name="connsiteX719" fmla="*/ 3168284 w 8734227"/>
                <a:gd name="connsiteY719" fmla="*/ 439810 h 1715383"/>
                <a:gd name="connsiteX720" fmla="*/ 3130747 w 8734227"/>
                <a:gd name="connsiteY720" fmla="*/ 402274 h 1715383"/>
                <a:gd name="connsiteX721" fmla="*/ 2776017 w 8734227"/>
                <a:gd name="connsiteY721" fmla="*/ 362170 h 1715383"/>
                <a:gd name="connsiteX722" fmla="*/ 2771932 w 8734227"/>
                <a:gd name="connsiteY722" fmla="*/ 363863 h 1715383"/>
                <a:gd name="connsiteX723" fmla="*/ 2770239 w 8734227"/>
                <a:gd name="connsiteY723" fmla="*/ 367948 h 1715383"/>
                <a:gd name="connsiteX724" fmla="*/ 2771932 w 8734227"/>
                <a:gd name="connsiteY724" fmla="*/ 372033 h 1715383"/>
                <a:gd name="connsiteX725" fmla="*/ 2776017 w 8734227"/>
                <a:gd name="connsiteY725" fmla="*/ 373725 h 1715383"/>
                <a:gd name="connsiteX726" fmla="*/ 2872301 w 8734227"/>
                <a:gd name="connsiteY726" fmla="*/ 373725 h 1715383"/>
                <a:gd name="connsiteX727" fmla="*/ 2878078 w 8734227"/>
                <a:gd name="connsiteY727" fmla="*/ 367948 h 1715383"/>
                <a:gd name="connsiteX728" fmla="*/ 2872301 w 8734227"/>
                <a:gd name="connsiteY728" fmla="*/ 362170 h 1715383"/>
                <a:gd name="connsiteX729" fmla="*/ 8074277 w 8734227"/>
                <a:gd name="connsiteY729" fmla="*/ 335996 h 1715383"/>
                <a:gd name="connsiteX730" fmla="*/ 8029436 w 8734227"/>
                <a:gd name="connsiteY730" fmla="*/ 380837 h 1715383"/>
                <a:gd name="connsiteX731" fmla="*/ 8029436 w 8734227"/>
                <a:gd name="connsiteY731" fmla="*/ 1435314 h 1715383"/>
                <a:gd name="connsiteX732" fmla="*/ 8074277 w 8734227"/>
                <a:gd name="connsiteY732" fmla="*/ 1480155 h 1715383"/>
                <a:gd name="connsiteX733" fmla="*/ 8657174 w 8734227"/>
                <a:gd name="connsiteY733" fmla="*/ 1480155 h 1715383"/>
                <a:gd name="connsiteX734" fmla="*/ 8702015 w 8734227"/>
                <a:gd name="connsiteY734" fmla="*/ 1435314 h 1715383"/>
                <a:gd name="connsiteX735" fmla="*/ 8702015 w 8734227"/>
                <a:gd name="connsiteY735" fmla="*/ 380837 h 1715383"/>
                <a:gd name="connsiteX736" fmla="*/ 8657174 w 8734227"/>
                <a:gd name="connsiteY736" fmla="*/ 335996 h 1715383"/>
                <a:gd name="connsiteX737" fmla="*/ 5759891 w 8734227"/>
                <a:gd name="connsiteY737" fmla="*/ 305930 h 1715383"/>
                <a:gd name="connsiteX738" fmla="*/ 5759891 w 8734227"/>
                <a:gd name="connsiteY738" fmla="*/ 1478569 h 1715383"/>
                <a:gd name="connsiteX739" fmla="*/ 7741904 w 8734227"/>
                <a:gd name="connsiteY739" fmla="*/ 1478569 h 1715383"/>
                <a:gd name="connsiteX740" fmla="*/ 7741904 w 8734227"/>
                <a:gd name="connsiteY740" fmla="*/ 305930 h 1715383"/>
                <a:gd name="connsiteX741" fmla="*/ 4878987 w 8734227"/>
                <a:gd name="connsiteY741" fmla="*/ 300646 h 1715383"/>
                <a:gd name="connsiteX742" fmla="*/ 5394095 w 8734227"/>
                <a:gd name="connsiteY742" fmla="*/ 300646 h 1715383"/>
                <a:gd name="connsiteX743" fmla="*/ 5492672 w 8734227"/>
                <a:gd name="connsiteY743" fmla="*/ 399224 h 1715383"/>
                <a:gd name="connsiteX744" fmla="*/ 5492672 w 8734227"/>
                <a:gd name="connsiteY744" fmla="*/ 1616806 h 1715383"/>
                <a:gd name="connsiteX745" fmla="*/ 5394095 w 8734227"/>
                <a:gd name="connsiteY745" fmla="*/ 1715383 h 1715383"/>
                <a:gd name="connsiteX746" fmla="*/ 4878987 w 8734227"/>
                <a:gd name="connsiteY746" fmla="*/ 1715383 h 1715383"/>
                <a:gd name="connsiteX747" fmla="*/ 4780410 w 8734227"/>
                <a:gd name="connsiteY747" fmla="*/ 1616806 h 1715383"/>
                <a:gd name="connsiteX748" fmla="*/ 4780410 w 8734227"/>
                <a:gd name="connsiteY748" fmla="*/ 399224 h 1715383"/>
                <a:gd name="connsiteX749" fmla="*/ 4878987 w 8734227"/>
                <a:gd name="connsiteY749" fmla="*/ 300646 h 1715383"/>
                <a:gd name="connsiteX750" fmla="*/ 2442872 w 8734227"/>
                <a:gd name="connsiteY750" fmla="*/ 299635 h 1715383"/>
                <a:gd name="connsiteX751" fmla="*/ 3205445 w 8734227"/>
                <a:gd name="connsiteY751" fmla="*/ 299635 h 1715383"/>
                <a:gd name="connsiteX752" fmla="*/ 3205445 w 8734227"/>
                <a:gd name="connsiteY752" fmla="*/ 1714372 h 1715383"/>
                <a:gd name="connsiteX753" fmla="*/ 2442872 w 8734227"/>
                <a:gd name="connsiteY753" fmla="*/ 1714372 h 1715383"/>
                <a:gd name="connsiteX754" fmla="*/ 8046360 w 8734227"/>
                <a:gd name="connsiteY754" fmla="*/ 292188 h 1715383"/>
                <a:gd name="connsiteX755" fmla="*/ 8685091 w 8734227"/>
                <a:gd name="connsiteY755" fmla="*/ 292188 h 1715383"/>
                <a:gd name="connsiteX756" fmla="*/ 8734227 w 8734227"/>
                <a:gd name="connsiteY756" fmla="*/ 341324 h 1715383"/>
                <a:gd name="connsiteX757" fmla="*/ 8734227 w 8734227"/>
                <a:gd name="connsiteY757" fmla="*/ 1657789 h 1715383"/>
                <a:gd name="connsiteX758" fmla="*/ 8685091 w 8734227"/>
                <a:gd name="connsiteY758" fmla="*/ 1706925 h 1715383"/>
                <a:gd name="connsiteX759" fmla="*/ 8046360 w 8734227"/>
                <a:gd name="connsiteY759" fmla="*/ 1706925 h 1715383"/>
                <a:gd name="connsiteX760" fmla="*/ 7997224 w 8734227"/>
                <a:gd name="connsiteY760" fmla="*/ 1657789 h 1715383"/>
                <a:gd name="connsiteX761" fmla="*/ 7997224 w 8734227"/>
                <a:gd name="connsiteY761" fmla="*/ 341324 h 1715383"/>
                <a:gd name="connsiteX762" fmla="*/ 8046360 w 8734227"/>
                <a:gd name="connsiteY762" fmla="*/ 292188 h 1715383"/>
                <a:gd name="connsiteX763" fmla="*/ 31495 w 8734227"/>
                <a:gd name="connsiteY763" fmla="*/ 284741 h 1715383"/>
                <a:gd name="connsiteX764" fmla="*/ 2278731 w 8734227"/>
                <a:gd name="connsiteY764" fmla="*/ 284741 h 1715383"/>
                <a:gd name="connsiteX765" fmla="*/ 2310225 w 8734227"/>
                <a:gd name="connsiteY765" fmla="*/ 316235 h 1715383"/>
                <a:gd name="connsiteX766" fmla="*/ 2310225 w 8734227"/>
                <a:gd name="connsiteY766" fmla="*/ 1682878 h 1715383"/>
                <a:gd name="connsiteX767" fmla="*/ 2278731 w 8734227"/>
                <a:gd name="connsiteY767" fmla="*/ 1714372 h 1715383"/>
                <a:gd name="connsiteX768" fmla="*/ 31495 w 8734227"/>
                <a:gd name="connsiteY768" fmla="*/ 1714372 h 1715383"/>
                <a:gd name="connsiteX769" fmla="*/ 0 w 8734227"/>
                <a:gd name="connsiteY769" fmla="*/ 1682878 h 1715383"/>
                <a:gd name="connsiteX770" fmla="*/ 0 w 8734227"/>
                <a:gd name="connsiteY770" fmla="*/ 316235 h 1715383"/>
                <a:gd name="connsiteX771" fmla="*/ 31495 w 8734227"/>
                <a:gd name="connsiteY771" fmla="*/ 284741 h 1715383"/>
                <a:gd name="connsiteX772" fmla="*/ 3506920 w 8734227"/>
                <a:gd name="connsiteY772" fmla="*/ 153677 h 1715383"/>
                <a:gd name="connsiteX773" fmla="*/ 3506920 w 8734227"/>
                <a:gd name="connsiteY773" fmla="*/ 1550448 h 1715383"/>
                <a:gd name="connsiteX774" fmla="*/ 4548522 w 8734227"/>
                <a:gd name="connsiteY774" fmla="*/ 1550448 h 1715383"/>
                <a:gd name="connsiteX775" fmla="*/ 4548522 w 8734227"/>
                <a:gd name="connsiteY775" fmla="*/ 153677 h 1715383"/>
                <a:gd name="connsiteX776" fmla="*/ 5691386 w 8734227"/>
                <a:gd name="connsiteY776" fmla="*/ 137045 h 1715383"/>
                <a:gd name="connsiteX777" fmla="*/ 7813595 w 8734227"/>
                <a:gd name="connsiteY777" fmla="*/ 137045 h 1715383"/>
                <a:gd name="connsiteX778" fmla="*/ 7907603 w 8734227"/>
                <a:gd name="connsiteY778" fmla="*/ 231053 h 1715383"/>
                <a:gd name="connsiteX779" fmla="*/ 7907603 w 8734227"/>
                <a:gd name="connsiteY779" fmla="*/ 1620364 h 1715383"/>
                <a:gd name="connsiteX780" fmla="*/ 7813595 w 8734227"/>
                <a:gd name="connsiteY780" fmla="*/ 1714372 h 1715383"/>
                <a:gd name="connsiteX781" fmla="*/ 5691386 w 8734227"/>
                <a:gd name="connsiteY781" fmla="*/ 1714372 h 1715383"/>
                <a:gd name="connsiteX782" fmla="*/ 5597378 w 8734227"/>
                <a:gd name="connsiteY782" fmla="*/ 1620364 h 1715383"/>
                <a:gd name="connsiteX783" fmla="*/ 5597378 w 8734227"/>
                <a:gd name="connsiteY783" fmla="*/ 231053 h 1715383"/>
                <a:gd name="connsiteX784" fmla="*/ 5691386 w 8734227"/>
                <a:gd name="connsiteY784" fmla="*/ 137045 h 1715383"/>
                <a:gd name="connsiteX785" fmla="*/ 3445917 w 8734227"/>
                <a:gd name="connsiteY785" fmla="*/ 0 h 1715383"/>
                <a:gd name="connsiteX786" fmla="*/ 4609525 w 8734227"/>
                <a:gd name="connsiteY786" fmla="*/ 0 h 1715383"/>
                <a:gd name="connsiteX787" fmla="*/ 4697076 w 8734227"/>
                <a:gd name="connsiteY787" fmla="*/ 87551 h 1715383"/>
                <a:gd name="connsiteX788" fmla="*/ 4697076 w 8734227"/>
                <a:gd name="connsiteY788" fmla="*/ 1626821 h 1715383"/>
                <a:gd name="connsiteX789" fmla="*/ 4609525 w 8734227"/>
                <a:gd name="connsiteY789" fmla="*/ 1714372 h 1715383"/>
                <a:gd name="connsiteX790" fmla="*/ 3445917 w 8734227"/>
                <a:gd name="connsiteY790" fmla="*/ 1714372 h 1715383"/>
                <a:gd name="connsiteX791" fmla="*/ 3358365 w 8734227"/>
                <a:gd name="connsiteY791" fmla="*/ 1626821 h 1715383"/>
                <a:gd name="connsiteX792" fmla="*/ 3358365 w 8734227"/>
                <a:gd name="connsiteY792" fmla="*/ 87551 h 1715383"/>
                <a:gd name="connsiteX793" fmla="*/ 3445917 w 8734227"/>
                <a:gd name="connsiteY793" fmla="*/ 0 h 1715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Lst>
              <a:rect l="l" t="t" r="r" b="b"/>
              <a:pathLst>
                <a:path w="8734227" h="1715383">
                  <a:moveTo>
                    <a:pt x="1152413" y="1636663"/>
                  </a:moveTo>
                  <a:lnTo>
                    <a:pt x="1152413" y="1663491"/>
                  </a:lnTo>
                  <a:lnTo>
                    <a:pt x="1188645" y="1668494"/>
                  </a:lnTo>
                  <a:cubicBezTo>
                    <a:pt x="1188629" y="1657883"/>
                    <a:pt x="1188610" y="1647273"/>
                    <a:pt x="1188591" y="1636663"/>
                  </a:cubicBezTo>
                  <a:close/>
                  <a:moveTo>
                    <a:pt x="1121597" y="1636663"/>
                  </a:moveTo>
                  <a:cubicBezTo>
                    <a:pt x="1121579" y="1646324"/>
                    <a:pt x="1121565" y="1655665"/>
                    <a:pt x="1121599" y="1659239"/>
                  </a:cubicBezTo>
                  <a:lnTo>
                    <a:pt x="1149027" y="1663024"/>
                  </a:lnTo>
                  <a:lnTo>
                    <a:pt x="1149027" y="1636663"/>
                  </a:lnTo>
                  <a:close/>
                  <a:moveTo>
                    <a:pt x="5975882" y="1616729"/>
                  </a:moveTo>
                  <a:lnTo>
                    <a:pt x="5975882" y="1629353"/>
                  </a:lnTo>
                  <a:lnTo>
                    <a:pt x="6053370" y="1629353"/>
                  </a:lnTo>
                  <a:lnTo>
                    <a:pt x="6053370" y="1616729"/>
                  </a:lnTo>
                  <a:close/>
                  <a:moveTo>
                    <a:pt x="8268937" y="1608864"/>
                  </a:moveTo>
                  <a:lnTo>
                    <a:pt x="8268937" y="1614441"/>
                  </a:lnTo>
                  <a:lnTo>
                    <a:pt x="8303165" y="1614441"/>
                  </a:lnTo>
                  <a:lnTo>
                    <a:pt x="8303165" y="1608864"/>
                  </a:lnTo>
                  <a:close/>
                  <a:moveTo>
                    <a:pt x="1149027" y="1606864"/>
                  </a:moveTo>
                  <a:lnTo>
                    <a:pt x="1121599" y="1610703"/>
                  </a:lnTo>
                  <a:cubicBezTo>
                    <a:pt x="1121635" y="1614275"/>
                    <a:pt x="1121621" y="1623618"/>
                    <a:pt x="1121602" y="1633277"/>
                  </a:cubicBezTo>
                  <a:lnTo>
                    <a:pt x="1149027" y="1633277"/>
                  </a:lnTo>
                  <a:close/>
                  <a:moveTo>
                    <a:pt x="4027721" y="1601447"/>
                  </a:moveTo>
                  <a:cubicBezTo>
                    <a:pt x="4005255" y="1601447"/>
                    <a:pt x="3987043" y="1619659"/>
                    <a:pt x="3987043" y="1642124"/>
                  </a:cubicBezTo>
                  <a:cubicBezTo>
                    <a:pt x="3987043" y="1664589"/>
                    <a:pt x="4005255" y="1682801"/>
                    <a:pt x="4027721" y="1682801"/>
                  </a:cubicBezTo>
                  <a:cubicBezTo>
                    <a:pt x="4050186" y="1682801"/>
                    <a:pt x="4068398" y="1664589"/>
                    <a:pt x="4068398" y="1642124"/>
                  </a:cubicBezTo>
                  <a:cubicBezTo>
                    <a:pt x="4068398" y="1619659"/>
                    <a:pt x="4050186" y="1601447"/>
                    <a:pt x="4027721" y="1601447"/>
                  </a:cubicBezTo>
                  <a:close/>
                  <a:moveTo>
                    <a:pt x="1188532" y="1601335"/>
                  </a:moveTo>
                  <a:lnTo>
                    <a:pt x="1152413" y="1606390"/>
                  </a:lnTo>
                  <a:lnTo>
                    <a:pt x="1152413" y="1633277"/>
                  </a:lnTo>
                  <a:lnTo>
                    <a:pt x="1188586" y="1633277"/>
                  </a:lnTo>
                  <a:close/>
                  <a:moveTo>
                    <a:pt x="8268937" y="1596942"/>
                  </a:moveTo>
                  <a:lnTo>
                    <a:pt x="8268937" y="1602519"/>
                  </a:lnTo>
                  <a:lnTo>
                    <a:pt x="8303165" y="1602519"/>
                  </a:lnTo>
                  <a:lnTo>
                    <a:pt x="8303165" y="1596942"/>
                  </a:lnTo>
                  <a:close/>
                  <a:moveTo>
                    <a:pt x="2818847" y="1594679"/>
                  </a:moveTo>
                  <a:lnTo>
                    <a:pt x="2818847" y="1625793"/>
                  </a:lnTo>
                  <a:lnTo>
                    <a:pt x="2860864" y="1631591"/>
                  </a:lnTo>
                  <a:cubicBezTo>
                    <a:pt x="2860844" y="1619288"/>
                    <a:pt x="2860823" y="1606986"/>
                    <a:pt x="2860802" y="1594679"/>
                  </a:cubicBezTo>
                  <a:close/>
                  <a:moveTo>
                    <a:pt x="2783108" y="1594679"/>
                  </a:moveTo>
                  <a:lnTo>
                    <a:pt x="2783110" y="1620860"/>
                  </a:lnTo>
                  <a:lnTo>
                    <a:pt x="2814919" y="1625251"/>
                  </a:lnTo>
                  <a:lnTo>
                    <a:pt x="2814919" y="1594679"/>
                  </a:lnTo>
                  <a:close/>
                  <a:moveTo>
                    <a:pt x="8460169" y="1594535"/>
                  </a:moveTo>
                  <a:lnTo>
                    <a:pt x="8460169" y="1609826"/>
                  </a:lnTo>
                  <a:lnTo>
                    <a:pt x="8439786" y="1609826"/>
                  </a:lnTo>
                  <a:lnTo>
                    <a:pt x="8439786" y="1595380"/>
                  </a:lnTo>
                  <a:lnTo>
                    <a:pt x="8435075" y="1600091"/>
                  </a:lnTo>
                  <a:lnTo>
                    <a:pt x="8435075" y="1614633"/>
                  </a:lnTo>
                  <a:lnTo>
                    <a:pt x="8464880" y="1614633"/>
                  </a:lnTo>
                  <a:lnTo>
                    <a:pt x="8464880" y="1599246"/>
                  </a:lnTo>
                  <a:close/>
                  <a:moveTo>
                    <a:pt x="6240640" y="1591376"/>
                  </a:moveTo>
                  <a:lnTo>
                    <a:pt x="6240640" y="1624080"/>
                  </a:lnTo>
                  <a:lnTo>
                    <a:pt x="6197045" y="1624080"/>
                  </a:lnTo>
                  <a:lnTo>
                    <a:pt x="6197045" y="1593184"/>
                  </a:lnTo>
                  <a:lnTo>
                    <a:pt x="6186968" y="1603261"/>
                  </a:lnTo>
                  <a:lnTo>
                    <a:pt x="6186968" y="1634363"/>
                  </a:lnTo>
                  <a:lnTo>
                    <a:pt x="6250715" y="1634363"/>
                  </a:lnTo>
                  <a:lnTo>
                    <a:pt x="6250715" y="1601453"/>
                  </a:lnTo>
                  <a:close/>
                  <a:moveTo>
                    <a:pt x="5975882" y="1589739"/>
                  </a:moveTo>
                  <a:lnTo>
                    <a:pt x="5975882" y="1602364"/>
                  </a:lnTo>
                  <a:lnTo>
                    <a:pt x="6053370" y="1602364"/>
                  </a:lnTo>
                  <a:lnTo>
                    <a:pt x="6053370" y="1589739"/>
                  </a:lnTo>
                  <a:close/>
                  <a:moveTo>
                    <a:pt x="8268937" y="1585020"/>
                  </a:moveTo>
                  <a:lnTo>
                    <a:pt x="8268937" y="1590597"/>
                  </a:lnTo>
                  <a:lnTo>
                    <a:pt x="8303165" y="1590597"/>
                  </a:lnTo>
                  <a:lnTo>
                    <a:pt x="8303165" y="1585020"/>
                  </a:lnTo>
                  <a:close/>
                  <a:moveTo>
                    <a:pt x="8612398" y="1579252"/>
                  </a:moveTo>
                  <a:cubicBezTo>
                    <a:pt x="8617655" y="1579252"/>
                    <a:pt x="8621916" y="1583513"/>
                    <a:pt x="8621916" y="1588770"/>
                  </a:cubicBezTo>
                  <a:cubicBezTo>
                    <a:pt x="8621916" y="1594027"/>
                    <a:pt x="8617655" y="1598288"/>
                    <a:pt x="8612398" y="1598288"/>
                  </a:cubicBezTo>
                  <a:cubicBezTo>
                    <a:pt x="8607141" y="1598288"/>
                    <a:pt x="8602879" y="1594027"/>
                    <a:pt x="8602880" y="1588770"/>
                  </a:cubicBezTo>
                  <a:cubicBezTo>
                    <a:pt x="8602879" y="1583513"/>
                    <a:pt x="8607141" y="1579252"/>
                    <a:pt x="8612398" y="1579252"/>
                  </a:cubicBezTo>
                  <a:close/>
                  <a:moveTo>
                    <a:pt x="8612398" y="1573932"/>
                  </a:moveTo>
                  <a:cubicBezTo>
                    <a:pt x="8604203" y="1573932"/>
                    <a:pt x="8597559" y="1580575"/>
                    <a:pt x="8597559" y="1588770"/>
                  </a:cubicBezTo>
                  <a:cubicBezTo>
                    <a:pt x="8597559" y="1596965"/>
                    <a:pt x="8604203" y="1603608"/>
                    <a:pt x="8612398" y="1603608"/>
                  </a:cubicBezTo>
                  <a:cubicBezTo>
                    <a:pt x="8615668" y="1603608"/>
                    <a:pt x="8618691" y="1602551"/>
                    <a:pt x="8620988" y="1600545"/>
                  </a:cubicBezTo>
                  <a:lnTo>
                    <a:pt x="8633111" y="1612668"/>
                  </a:lnTo>
                  <a:lnTo>
                    <a:pt x="8636873" y="1608907"/>
                  </a:lnTo>
                  <a:lnTo>
                    <a:pt x="8624637" y="1596671"/>
                  </a:lnTo>
                  <a:cubicBezTo>
                    <a:pt x="8626365" y="1594500"/>
                    <a:pt x="8627236" y="1591737"/>
                    <a:pt x="8627236" y="1588770"/>
                  </a:cubicBezTo>
                  <a:cubicBezTo>
                    <a:pt x="8627236" y="1580575"/>
                    <a:pt x="8620593" y="1573932"/>
                    <a:pt x="8612398" y="1573932"/>
                  </a:cubicBezTo>
                  <a:close/>
                  <a:moveTo>
                    <a:pt x="8104689" y="1573371"/>
                  </a:moveTo>
                  <a:lnTo>
                    <a:pt x="8094578" y="1583482"/>
                  </a:lnTo>
                  <a:lnTo>
                    <a:pt x="8104865" y="1593770"/>
                  </a:lnTo>
                  <a:lnTo>
                    <a:pt x="8112479" y="1593770"/>
                  </a:lnTo>
                  <a:lnTo>
                    <a:pt x="8104788" y="1586078"/>
                  </a:lnTo>
                  <a:lnTo>
                    <a:pt x="8117510" y="1586078"/>
                  </a:lnTo>
                  <a:cubicBezTo>
                    <a:pt x="8123935" y="1586078"/>
                    <a:pt x="8129144" y="1591287"/>
                    <a:pt x="8129144" y="1597712"/>
                  </a:cubicBezTo>
                  <a:cubicBezTo>
                    <a:pt x="8129144" y="1604137"/>
                    <a:pt x="8123935" y="1609345"/>
                    <a:pt x="8117510" y="1609345"/>
                  </a:cubicBezTo>
                  <a:lnTo>
                    <a:pt x="8101646" y="1609345"/>
                  </a:lnTo>
                  <a:lnTo>
                    <a:pt x="8101646" y="1614633"/>
                  </a:lnTo>
                  <a:lnTo>
                    <a:pt x="8118183" y="1614633"/>
                  </a:lnTo>
                  <a:cubicBezTo>
                    <a:pt x="8127528" y="1614633"/>
                    <a:pt x="8135104" y="1607057"/>
                    <a:pt x="8135104" y="1597711"/>
                  </a:cubicBezTo>
                  <a:cubicBezTo>
                    <a:pt x="8135104" y="1588366"/>
                    <a:pt x="8127528" y="1580790"/>
                    <a:pt x="8118183" y="1580790"/>
                  </a:cubicBezTo>
                  <a:lnTo>
                    <a:pt x="8104884" y="1580790"/>
                  </a:lnTo>
                  <a:lnTo>
                    <a:pt x="8112303" y="1573371"/>
                  </a:lnTo>
                  <a:close/>
                  <a:moveTo>
                    <a:pt x="8255477" y="1573098"/>
                  </a:moveTo>
                  <a:lnTo>
                    <a:pt x="8255477" y="1578675"/>
                  </a:lnTo>
                  <a:lnTo>
                    <a:pt x="8303165" y="1578675"/>
                  </a:lnTo>
                  <a:lnTo>
                    <a:pt x="8303165" y="1573098"/>
                  </a:lnTo>
                  <a:close/>
                  <a:moveTo>
                    <a:pt x="8450362" y="1572906"/>
                  </a:moveTo>
                  <a:lnTo>
                    <a:pt x="8439786" y="1583482"/>
                  </a:lnTo>
                  <a:lnTo>
                    <a:pt x="8439786" y="1583447"/>
                  </a:lnTo>
                  <a:lnTo>
                    <a:pt x="8435075" y="1588158"/>
                  </a:lnTo>
                  <a:lnTo>
                    <a:pt x="8435075" y="1588193"/>
                  </a:lnTo>
                  <a:lnTo>
                    <a:pt x="8425148" y="1598120"/>
                  </a:lnTo>
                  <a:lnTo>
                    <a:pt x="8429121" y="1602092"/>
                  </a:lnTo>
                  <a:lnTo>
                    <a:pt x="8450362" y="1580852"/>
                  </a:lnTo>
                  <a:lnTo>
                    <a:pt x="8450418" y="1580908"/>
                  </a:lnTo>
                  <a:lnTo>
                    <a:pt x="8450438" y="1580888"/>
                  </a:lnTo>
                  <a:lnTo>
                    <a:pt x="8471671" y="1602122"/>
                  </a:lnTo>
                  <a:lnTo>
                    <a:pt x="8475624" y="1598168"/>
                  </a:lnTo>
                  <a:lnTo>
                    <a:pt x="8464880" y="1587424"/>
                  </a:lnTo>
                  <a:lnTo>
                    <a:pt x="8464880" y="1574444"/>
                  </a:lnTo>
                  <a:lnTo>
                    <a:pt x="8460169" y="1574444"/>
                  </a:lnTo>
                  <a:lnTo>
                    <a:pt x="8460169" y="1582713"/>
                  </a:lnTo>
                  <a:close/>
                  <a:moveTo>
                    <a:pt x="3085285" y="1568490"/>
                  </a:moveTo>
                  <a:cubicBezTo>
                    <a:pt x="3094821" y="1568490"/>
                    <a:pt x="3102553" y="1576222"/>
                    <a:pt x="3102553" y="1585759"/>
                  </a:cubicBezTo>
                  <a:cubicBezTo>
                    <a:pt x="3102553" y="1595295"/>
                    <a:pt x="3094821" y="1603029"/>
                    <a:pt x="3085285" y="1603029"/>
                  </a:cubicBezTo>
                  <a:cubicBezTo>
                    <a:pt x="3075745" y="1603029"/>
                    <a:pt x="3068014" y="1595295"/>
                    <a:pt x="3068014" y="1585759"/>
                  </a:cubicBezTo>
                  <a:cubicBezTo>
                    <a:pt x="3068014" y="1576222"/>
                    <a:pt x="3075745" y="1568490"/>
                    <a:pt x="3085285" y="1568490"/>
                  </a:cubicBezTo>
                  <a:close/>
                  <a:moveTo>
                    <a:pt x="5975882" y="1562748"/>
                  </a:moveTo>
                  <a:lnTo>
                    <a:pt x="5975882" y="1575374"/>
                  </a:lnTo>
                  <a:lnTo>
                    <a:pt x="6053370" y="1575374"/>
                  </a:lnTo>
                  <a:lnTo>
                    <a:pt x="6053370" y="1562748"/>
                  </a:lnTo>
                  <a:close/>
                  <a:moveTo>
                    <a:pt x="2566537" y="1561821"/>
                  </a:moveTo>
                  <a:lnTo>
                    <a:pt x="2541313" y="1590869"/>
                  </a:lnTo>
                  <a:lnTo>
                    <a:pt x="2566537" y="1621153"/>
                  </a:lnTo>
                  <a:lnTo>
                    <a:pt x="2582362" y="1621153"/>
                  </a:lnTo>
                  <a:lnTo>
                    <a:pt x="2563569" y="1598903"/>
                  </a:lnTo>
                  <a:lnTo>
                    <a:pt x="2606103" y="1598903"/>
                  </a:lnTo>
                  <a:lnTo>
                    <a:pt x="2606103" y="1583453"/>
                  </a:lnTo>
                  <a:lnTo>
                    <a:pt x="2563569" y="1583453"/>
                  </a:lnTo>
                  <a:lnTo>
                    <a:pt x="2582362" y="1561821"/>
                  </a:lnTo>
                  <a:close/>
                  <a:moveTo>
                    <a:pt x="2814919" y="1560122"/>
                  </a:moveTo>
                  <a:lnTo>
                    <a:pt x="2783110" y="1564573"/>
                  </a:lnTo>
                  <a:cubicBezTo>
                    <a:pt x="2783153" y="1568719"/>
                    <a:pt x="2783136" y="1579552"/>
                    <a:pt x="2783116" y="1590755"/>
                  </a:cubicBezTo>
                  <a:lnTo>
                    <a:pt x="2814919" y="1590755"/>
                  </a:lnTo>
                  <a:close/>
                  <a:moveTo>
                    <a:pt x="3085194" y="1559855"/>
                  </a:moveTo>
                  <a:cubicBezTo>
                    <a:pt x="3070889" y="1559855"/>
                    <a:pt x="3059291" y="1571452"/>
                    <a:pt x="3059291" y="1585759"/>
                  </a:cubicBezTo>
                  <a:cubicBezTo>
                    <a:pt x="3059291" y="1590148"/>
                    <a:pt x="3060382" y="1594283"/>
                    <a:pt x="3062416" y="1597850"/>
                  </a:cubicBezTo>
                  <a:lnTo>
                    <a:pt x="3038712" y="1621553"/>
                  </a:lnTo>
                  <a:cubicBezTo>
                    <a:pt x="3037588" y="1622676"/>
                    <a:pt x="3037588" y="1624498"/>
                    <a:pt x="3038712" y="1625623"/>
                  </a:cubicBezTo>
                  <a:lnTo>
                    <a:pt x="3046852" y="1633764"/>
                  </a:lnTo>
                  <a:cubicBezTo>
                    <a:pt x="3047978" y="1634888"/>
                    <a:pt x="3049799" y="1634888"/>
                    <a:pt x="3050925" y="1633764"/>
                  </a:cubicBezTo>
                  <a:lnTo>
                    <a:pt x="3075079" y="1609610"/>
                  </a:lnTo>
                  <a:cubicBezTo>
                    <a:pt x="3078186" y="1610931"/>
                    <a:pt x="3081604" y="1611663"/>
                    <a:pt x="3085194" y="1611663"/>
                  </a:cubicBezTo>
                  <a:cubicBezTo>
                    <a:pt x="3099501" y="1611663"/>
                    <a:pt x="3111099" y="1600065"/>
                    <a:pt x="3111099" y="1585759"/>
                  </a:cubicBezTo>
                  <a:cubicBezTo>
                    <a:pt x="3111099" y="1571452"/>
                    <a:pt x="3099501" y="1559855"/>
                    <a:pt x="3085194" y="1559855"/>
                  </a:cubicBezTo>
                  <a:close/>
                  <a:moveTo>
                    <a:pt x="2860734" y="1553710"/>
                  </a:moveTo>
                  <a:lnTo>
                    <a:pt x="2818847" y="1559572"/>
                  </a:lnTo>
                  <a:lnTo>
                    <a:pt x="2818847" y="1590755"/>
                  </a:lnTo>
                  <a:lnTo>
                    <a:pt x="2860797" y="1590755"/>
                  </a:lnTo>
                  <a:close/>
                  <a:moveTo>
                    <a:pt x="6408449" y="1550368"/>
                  </a:moveTo>
                  <a:cubicBezTo>
                    <a:pt x="6422885" y="1550368"/>
                    <a:pt x="6434588" y="1562071"/>
                    <a:pt x="6434588" y="1576506"/>
                  </a:cubicBezTo>
                  <a:cubicBezTo>
                    <a:pt x="6434588" y="1590942"/>
                    <a:pt x="6422885" y="1602645"/>
                    <a:pt x="6408449" y="1602645"/>
                  </a:cubicBezTo>
                  <a:cubicBezTo>
                    <a:pt x="6394014" y="1602645"/>
                    <a:pt x="6382311" y="1590942"/>
                    <a:pt x="6382311" y="1576506"/>
                  </a:cubicBezTo>
                  <a:cubicBezTo>
                    <a:pt x="6382311" y="1562071"/>
                    <a:pt x="6394014" y="1550368"/>
                    <a:pt x="6408449" y="1550368"/>
                  </a:cubicBezTo>
                  <a:close/>
                  <a:moveTo>
                    <a:pt x="6219663" y="1545115"/>
                  </a:moveTo>
                  <a:lnTo>
                    <a:pt x="6197045" y="1567734"/>
                  </a:lnTo>
                  <a:lnTo>
                    <a:pt x="6197045" y="1567661"/>
                  </a:lnTo>
                  <a:lnTo>
                    <a:pt x="6186968" y="1577738"/>
                  </a:lnTo>
                  <a:lnTo>
                    <a:pt x="6186968" y="1577811"/>
                  </a:lnTo>
                  <a:lnTo>
                    <a:pt x="6165737" y="1599043"/>
                  </a:lnTo>
                  <a:lnTo>
                    <a:pt x="6174233" y="1607540"/>
                  </a:lnTo>
                  <a:lnTo>
                    <a:pt x="6219663" y="1562110"/>
                  </a:lnTo>
                  <a:lnTo>
                    <a:pt x="6219784" y="1562231"/>
                  </a:lnTo>
                  <a:lnTo>
                    <a:pt x="6219828" y="1562188"/>
                  </a:lnTo>
                  <a:lnTo>
                    <a:pt x="6265241" y="1607603"/>
                  </a:lnTo>
                  <a:lnTo>
                    <a:pt x="6273696" y="1599147"/>
                  </a:lnTo>
                  <a:lnTo>
                    <a:pt x="6250715" y="1576167"/>
                  </a:lnTo>
                  <a:lnTo>
                    <a:pt x="6250715" y="1548405"/>
                  </a:lnTo>
                  <a:lnTo>
                    <a:pt x="6240640" y="1548405"/>
                  </a:lnTo>
                  <a:lnTo>
                    <a:pt x="6240640" y="1566092"/>
                  </a:lnTo>
                  <a:close/>
                  <a:moveTo>
                    <a:pt x="6408449" y="1535759"/>
                  </a:moveTo>
                  <a:cubicBezTo>
                    <a:pt x="6385946" y="1535759"/>
                    <a:pt x="6367702" y="1554003"/>
                    <a:pt x="6367702" y="1576506"/>
                  </a:cubicBezTo>
                  <a:cubicBezTo>
                    <a:pt x="6367702" y="1599011"/>
                    <a:pt x="6385946" y="1617255"/>
                    <a:pt x="6408449" y="1617255"/>
                  </a:cubicBezTo>
                  <a:cubicBezTo>
                    <a:pt x="6417430" y="1617255"/>
                    <a:pt x="6425732" y="1614350"/>
                    <a:pt x="6432040" y="1608842"/>
                  </a:cubicBezTo>
                  <a:lnTo>
                    <a:pt x="6465332" y="1642134"/>
                  </a:lnTo>
                  <a:lnTo>
                    <a:pt x="6475661" y="1631804"/>
                  </a:lnTo>
                  <a:lnTo>
                    <a:pt x="6442062" y="1598203"/>
                  </a:lnTo>
                  <a:cubicBezTo>
                    <a:pt x="6446807" y="1592243"/>
                    <a:pt x="6449198" y="1584655"/>
                    <a:pt x="6449198" y="1576506"/>
                  </a:cubicBezTo>
                  <a:cubicBezTo>
                    <a:pt x="6449198" y="1554003"/>
                    <a:pt x="6430954" y="1535759"/>
                    <a:pt x="6408449" y="1535759"/>
                  </a:cubicBezTo>
                  <a:close/>
                  <a:moveTo>
                    <a:pt x="5945410" y="1535759"/>
                  </a:moveTo>
                  <a:lnTo>
                    <a:pt x="5945410" y="1548383"/>
                  </a:lnTo>
                  <a:lnTo>
                    <a:pt x="6053370" y="1548383"/>
                  </a:lnTo>
                  <a:lnTo>
                    <a:pt x="6053370" y="1535759"/>
                  </a:lnTo>
                  <a:close/>
                  <a:moveTo>
                    <a:pt x="5791471" y="1535759"/>
                  </a:moveTo>
                  <a:lnTo>
                    <a:pt x="5765016" y="1562214"/>
                  </a:lnTo>
                  <a:lnTo>
                    <a:pt x="5791932" y="1589132"/>
                  </a:lnTo>
                  <a:lnTo>
                    <a:pt x="5811855" y="1589132"/>
                  </a:lnTo>
                  <a:lnTo>
                    <a:pt x="5791731" y="1569006"/>
                  </a:lnTo>
                  <a:lnTo>
                    <a:pt x="5825016" y="1569006"/>
                  </a:lnTo>
                  <a:cubicBezTo>
                    <a:pt x="5841827" y="1569006"/>
                    <a:pt x="5855455" y="1582634"/>
                    <a:pt x="5855455" y="1599445"/>
                  </a:cubicBezTo>
                  <a:cubicBezTo>
                    <a:pt x="5855455" y="1616255"/>
                    <a:pt x="5841827" y="1629884"/>
                    <a:pt x="5825016" y="1629884"/>
                  </a:cubicBezTo>
                  <a:lnTo>
                    <a:pt x="5783509" y="1629884"/>
                  </a:lnTo>
                  <a:lnTo>
                    <a:pt x="5783509" y="1643718"/>
                  </a:lnTo>
                  <a:lnTo>
                    <a:pt x="5826777" y="1643718"/>
                  </a:lnTo>
                  <a:cubicBezTo>
                    <a:pt x="5851228" y="1643718"/>
                    <a:pt x="5871050" y="1623897"/>
                    <a:pt x="5871050" y="1599445"/>
                  </a:cubicBezTo>
                  <a:cubicBezTo>
                    <a:pt x="5871050" y="1574993"/>
                    <a:pt x="5851228" y="1555170"/>
                    <a:pt x="5826777" y="1555170"/>
                  </a:cubicBezTo>
                  <a:lnTo>
                    <a:pt x="5791982" y="1555170"/>
                  </a:lnTo>
                  <a:lnTo>
                    <a:pt x="5811394" y="1535759"/>
                  </a:lnTo>
                  <a:close/>
                  <a:moveTo>
                    <a:pt x="5136541" y="1520601"/>
                  </a:moveTo>
                  <a:cubicBezTo>
                    <a:pt x="5097616" y="1520601"/>
                    <a:pt x="5066061" y="1552156"/>
                    <a:pt x="5066061" y="1591081"/>
                  </a:cubicBezTo>
                  <a:cubicBezTo>
                    <a:pt x="5066061" y="1630006"/>
                    <a:pt x="5097616" y="1661562"/>
                    <a:pt x="5136541" y="1661562"/>
                  </a:cubicBezTo>
                  <a:cubicBezTo>
                    <a:pt x="5175466" y="1661562"/>
                    <a:pt x="5207022" y="1630006"/>
                    <a:pt x="5207022" y="1591081"/>
                  </a:cubicBezTo>
                  <a:cubicBezTo>
                    <a:pt x="5207022" y="1552156"/>
                    <a:pt x="5175466" y="1520601"/>
                    <a:pt x="5136541" y="1520601"/>
                  </a:cubicBezTo>
                  <a:close/>
                  <a:moveTo>
                    <a:pt x="2804155" y="1019973"/>
                  </a:moveTo>
                  <a:lnTo>
                    <a:pt x="3072374" y="1019973"/>
                  </a:lnTo>
                  <a:cubicBezTo>
                    <a:pt x="3072507" y="1098634"/>
                    <a:pt x="3072639" y="1177294"/>
                    <a:pt x="3072771" y="1255954"/>
                  </a:cubicBezTo>
                  <a:lnTo>
                    <a:pt x="2804155" y="1218873"/>
                  </a:lnTo>
                  <a:close/>
                  <a:moveTo>
                    <a:pt x="2575684" y="1019973"/>
                  </a:moveTo>
                  <a:lnTo>
                    <a:pt x="2779051" y="1019973"/>
                  </a:lnTo>
                  <a:lnTo>
                    <a:pt x="2779051" y="1215407"/>
                  </a:lnTo>
                  <a:lnTo>
                    <a:pt x="2575706" y="1187336"/>
                  </a:lnTo>
                  <a:cubicBezTo>
                    <a:pt x="2575443" y="1160848"/>
                    <a:pt x="2575553" y="1091590"/>
                    <a:pt x="2575684" y="1019973"/>
                  </a:cubicBezTo>
                  <a:close/>
                  <a:moveTo>
                    <a:pt x="1127626" y="1017379"/>
                  </a:moveTo>
                  <a:lnTo>
                    <a:pt x="1496190" y="1017379"/>
                  </a:lnTo>
                  <a:cubicBezTo>
                    <a:pt x="1496372" y="1125468"/>
                    <a:pt x="1496554" y="1233556"/>
                    <a:pt x="1496735" y="1341644"/>
                  </a:cubicBezTo>
                  <a:lnTo>
                    <a:pt x="1127626" y="1290690"/>
                  </a:lnTo>
                  <a:close/>
                  <a:moveTo>
                    <a:pt x="813680" y="1017379"/>
                  </a:moveTo>
                  <a:lnTo>
                    <a:pt x="1093130" y="1017379"/>
                  </a:lnTo>
                  <a:lnTo>
                    <a:pt x="1093130" y="1285928"/>
                  </a:lnTo>
                  <a:lnTo>
                    <a:pt x="813711" y="1247355"/>
                  </a:lnTo>
                  <a:cubicBezTo>
                    <a:pt x="813348" y="1210958"/>
                    <a:pt x="813500" y="1115789"/>
                    <a:pt x="813680" y="1017379"/>
                  </a:cubicBezTo>
                  <a:close/>
                  <a:moveTo>
                    <a:pt x="8200722" y="882974"/>
                  </a:moveTo>
                  <a:lnTo>
                    <a:pt x="8221059" y="882974"/>
                  </a:lnTo>
                  <a:lnTo>
                    <a:pt x="8511008" y="882974"/>
                  </a:lnTo>
                  <a:lnTo>
                    <a:pt x="8531346" y="882974"/>
                  </a:lnTo>
                  <a:lnTo>
                    <a:pt x="8531346" y="1018677"/>
                  </a:lnTo>
                  <a:lnTo>
                    <a:pt x="8530729" y="1018677"/>
                  </a:lnTo>
                  <a:lnTo>
                    <a:pt x="8530729" y="1161453"/>
                  </a:lnTo>
                  <a:lnTo>
                    <a:pt x="8529496" y="1167628"/>
                  </a:lnTo>
                  <a:lnTo>
                    <a:pt x="8527031" y="1173185"/>
                  </a:lnTo>
                  <a:lnTo>
                    <a:pt x="8522717" y="1177508"/>
                  </a:lnTo>
                  <a:lnTo>
                    <a:pt x="8517171" y="1180286"/>
                  </a:lnTo>
                  <a:lnTo>
                    <a:pt x="8511008" y="1181521"/>
                  </a:lnTo>
                  <a:lnTo>
                    <a:pt x="8468428" y="1181521"/>
                  </a:lnTo>
                  <a:lnTo>
                    <a:pt x="8468428" y="1268851"/>
                  </a:lnTo>
                  <a:lnTo>
                    <a:pt x="8467189" y="1277782"/>
                  </a:lnTo>
                  <a:lnTo>
                    <a:pt x="8463782" y="1286098"/>
                  </a:lnTo>
                  <a:lnTo>
                    <a:pt x="8458516" y="1293182"/>
                  </a:lnTo>
                  <a:lnTo>
                    <a:pt x="8451391" y="1299034"/>
                  </a:lnTo>
                  <a:lnTo>
                    <a:pt x="8443027" y="1302422"/>
                  </a:lnTo>
                  <a:lnTo>
                    <a:pt x="8433424" y="1303654"/>
                  </a:lnTo>
                  <a:lnTo>
                    <a:pt x="8424131" y="1302422"/>
                  </a:lnTo>
                  <a:lnTo>
                    <a:pt x="8415767" y="1299034"/>
                  </a:lnTo>
                  <a:lnTo>
                    <a:pt x="8408642" y="1293182"/>
                  </a:lnTo>
                  <a:lnTo>
                    <a:pt x="8403066" y="1286098"/>
                  </a:lnTo>
                  <a:lnTo>
                    <a:pt x="8399349" y="1277782"/>
                  </a:lnTo>
                  <a:lnTo>
                    <a:pt x="8398109" y="1268851"/>
                  </a:lnTo>
                  <a:lnTo>
                    <a:pt x="8398109" y="1181521"/>
                  </a:lnTo>
                  <a:lnTo>
                    <a:pt x="8332725" y="1181521"/>
                  </a:lnTo>
                  <a:lnTo>
                    <a:pt x="8332725" y="1268851"/>
                  </a:lnTo>
                  <a:lnTo>
                    <a:pt x="8331196" y="1277782"/>
                  </a:lnTo>
                  <a:lnTo>
                    <a:pt x="8328139" y="1286098"/>
                  </a:lnTo>
                  <a:lnTo>
                    <a:pt x="8322636" y="1293182"/>
                  </a:lnTo>
                  <a:lnTo>
                    <a:pt x="8315605" y="1299034"/>
                  </a:lnTo>
                  <a:lnTo>
                    <a:pt x="8307351" y="1302422"/>
                  </a:lnTo>
                  <a:lnTo>
                    <a:pt x="8297874" y="1303654"/>
                  </a:lnTo>
                  <a:lnTo>
                    <a:pt x="8288702" y="1302422"/>
                  </a:lnTo>
                  <a:lnTo>
                    <a:pt x="8280448" y="1299034"/>
                  </a:lnTo>
                  <a:lnTo>
                    <a:pt x="8273417" y="1293182"/>
                  </a:lnTo>
                  <a:lnTo>
                    <a:pt x="8267914" y="1286098"/>
                  </a:lnTo>
                  <a:lnTo>
                    <a:pt x="8264245" y="1277782"/>
                  </a:lnTo>
                  <a:lnTo>
                    <a:pt x="8263023" y="1268851"/>
                  </a:lnTo>
                  <a:lnTo>
                    <a:pt x="8263023" y="1181521"/>
                  </a:lnTo>
                  <a:lnTo>
                    <a:pt x="8221059" y="1181521"/>
                  </a:lnTo>
                  <a:lnTo>
                    <a:pt x="8214589" y="1180286"/>
                  </a:lnTo>
                  <a:lnTo>
                    <a:pt x="8209350" y="1177508"/>
                  </a:lnTo>
                  <a:lnTo>
                    <a:pt x="8205037" y="1173185"/>
                  </a:lnTo>
                  <a:lnTo>
                    <a:pt x="8202263" y="1167628"/>
                  </a:lnTo>
                  <a:lnTo>
                    <a:pt x="8201339" y="1161453"/>
                  </a:lnTo>
                  <a:lnTo>
                    <a:pt x="8201339" y="1018677"/>
                  </a:lnTo>
                  <a:lnTo>
                    <a:pt x="8200722" y="1018677"/>
                  </a:lnTo>
                  <a:close/>
                  <a:moveTo>
                    <a:pt x="5227484" y="878578"/>
                  </a:moveTo>
                  <a:cubicBezTo>
                    <a:pt x="5296602" y="878578"/>
                    <a:pt x="5323885" y="928253"/>
                    <a:pt x="5323885" y="928253"/>
                  </a:cubicBezTo>
                  <a:cubicBezTo>
                    <a:pt x="5323885" y="928253"/>
                    <a:pt x="5270531" y="955850"/>
                    <a:pt x="5270531" y="1022696"/>
                  </a:cubicBezTo>
                  <a:cubicBezTo>
                    <a:pt x="5270531" y="1098128"/>
                    <a:pt x="5337223" y="1123886"/>
                    <a:pt x="5337223" y="1123886"/>
                  </a:cubicBezTo>
                  <a:cubicBezTo>
                    <a:pt x="5337223" y="1123886"/>
                    <a:pt x="5290539" y="1255739"/>
                    <a:pt x="5228091" y="1255739"/>
                  </a:cubicBezTo>
                  <a:cubicBezTo>
                    <a:pt x="5199595" y="1255739"/>
                    <a:pt x="5177162" y="1236114"/>
                    <a:pt x="5146848" y="1236114"/>
                  </a:cubicBezTo>
                  <a:cubicBezTo>
                    <a:pt x="5115927" y="1236114"/>
                    <a:pt x="5085006" y="1256965"/>
                    <a:pt x="5064998" y="1256965"/>
                  </a:cubicBezTo>
                  <a:cubicBezTo>
                    <a:pt x="5008007" y="1256965"/>
                    <a:pt x="4935858" y="1131858"/>
                    <a:pt x="4935858" y="1031282"/>
                  </a:cubicBezTo>
                  <a:cubicBezTo>
                    <a:pt x="4935858" y="931932"/>
                    <a:pt x="4997094" y="879805"/>
                    <a:pt x="5054085" y="879805"/>
                  </a:cubicBezTo>
                  <a:cubicBezTo>
                    <a:pt x="5091675" y="879805"/>
                    <a:pt x="5120777" y="901882"/>
                    <a:pt x="5140179" y="901882"/>
                  </a:cubicBezTo>
                  <a:cubicBezTo>
                    <a:pt x="5156548" y="901882"/>
                    <a:pt x="5187469" y="878578"/>
                    <a:pt x="5227484" y="878578"/>
                  </a:cubicBezTo>
                  <a:close/>
                  <a:moveTo>
                    <a:pt x="8583622" y="871871"/>
                  </a:moveTo>
                  <a:lnTo>
                    <a:pt x="8592915" y="873105"/>
                  </a:lnTo>
                  <a:lnTo>
                    <a:pt x="8601898" y="876806"/>
                  </a:lnTo>
                  <a:lnTo>
                    <a:pt x="8609023" y="882357"/>
                  </a:lnTo>
                  <a:lnTo>
                    <a:pt x="8614289" y="889451"/>
                  </a:lnTo>
                  <a:lnTo>
                    <a:pt x="8617697" y="897778"/>
                  </a:lnTo>
                  <a:lnTo>
                    <a:pt x="8618936" y="907339"/>
                  </a:lnTo>
                  <a:lnTo>
                    <a:pt x="8618936" y="1064631"/>
                  </a:lnTo>
                  <a:lnTo>
                    <a:pt x="8617697" y="1073884"/>
                  </a:lnTo>
                  <a:lnTo>
                    <a:pt x="8614289" y="1082520"/>
                  </a:lnTo>
                  <a:lnTo>
                    <a:pt x="8609023" y="1089613"/>
                  </a:lnTo>
                  <a:lnTo>
                    <a:pt x="8601898" y="1095165"/>
                  </a:lnTo>
                  <a:lnTo>
                    <a:pt x="8592915" y="1098249"/>
                  </a:lnTo>
                  <a:lnTo>
                    <a:pt x="8583622" y="1099482"/>
                  </a:lnTo>
                  <a:lnTo>
                    <a:pt x="8574638" y="1098249"/>
                  </a:lnTo>
                  <a:lnTo>
                    <a:pt x="8566274" y="1095165"/>
                  </a:lnTo>
                  <a:lnTo>
                    <a:pt x="8559149" y="1089613"/>
                  </a:lnTo>
                  <a:lnTo>
                    <a:pt x="8553264" y="1082520"/>
                  </a:lnTo>
                  <a:lnTo>
                    <a:pt x="8549856" y="1073884"/>
                  </a:lnTo>
                  <a:lnTo>
                    <a:pt x="8548617" y="1064631"/>
                  </a:lnTo>
                  <a:lnTo>
                    <a:pt x="8548617" y="907339"/>
                  </a:lnTo>
                  <a:lnTo>
                    <a:pt x="8549856" y="897778"/>
                  </a:lnTo>
                  <a:lnTo>
                    <a:pt x="8553264" y="889451"/>
                  </a:lnTo>
                  <a:lnTo>
                    <a:pt x="8559149" y="882357"/>
                  </a:lnTo>
                  <a:lnTo>
                    <a:pt x="8566274" y="876806"/>
                  </a:lnTo>
                  <a:lnTo>
                    <a:pt x="8574638" y="873105"/>
                  </a:lnTo>
                  <a:close/>
                  <a:moveTo>
                    <a:pt x="8147521" y="871871"/>
                  </a:moveTo>
                  <a:lnTo>
                    <a:pt x="8157040" y="873105"/>
                  </a:lnTo>
                  <a:lnTo>
                    <a:pt x="8165331" y="876806"/>
                  </a:lnTo>
                  <a:lnTo>
                    <a:pt x="8172394" y="882357"/>
                  </a:lnTo>
                  <a:lnTo>
                    <a:pt x="8177921" y="889451"/>
                  </a:lnTo>
                  <a:lnTo>
                    <a:pt x="8181606" y="897778"/>
                  </a:lnTo>
                  <a:lnTo>
                    <a:pt x="8182834" y="907339"/>
                  </a:lnTo>
                  <a:lnTo>
                    <a:pt x="8182834" y="1064631"/>
                  </a:lnTo>
                  <a:lnTo>
                    <a:pt x="8181606" y="1073884"/>
                  </a:lnTo>
                  <a:lnTo>
                    <a:pt x="8177921" y="1082520"/>
                  </a:lnTo>
                  <a:lnTo>
                    <a:pt x="8172394" y="1089613"/>
                  </a:lnTo>
                  <a:lnTo>
                    <a:pt x="8165331" y="1095165"/>
                  </a:lnTo>
                  <a:lnTo>
                    <a:pt x="8157040" y="1098249"/>
                  </a:lnTo>
                  <a:lnTo>
                    <a:pt x="8147521" y="1099482"/>
                  </a:lnTo>
                  <a:lnTo>
                    <a:pt x="8138309" y="1098249"/>
                  </a:lnTo>
                  <a:lnTo>
                    <a:pt x="8130018" y="1095165"/>
                  </a:lnTo>
                  <a:lnTo>
                    <a:pt x="8122956" y="1089613"/>
                  </a:lnTo>
                  <a:lnTo>
                    <a:pt x="8117428" y="1082520"/>
                  </a:lnTo>
                  <a:lnTo>
                    <a:pt x="8113743" y="1073884"/>
                  </a:lnTo>
                  <a:lnTo>
                    <a:pt x="8112515" y="1064631"/>
                  </a:lnTo>
                  <a:lnTo>
                    <a:pt x="8112515" y="907339"/>
                  </a:lnTo>
                  <a:lnTo>
                    <a:pt x="8113743" y="897778"/>
                  </a:lnTo>
                  <a:lnTo>
                    <a:pt x="8117428" y="889451"/>
                  </a:lnTo>
                  <a:lnTo>
                    <a:pt x="8122956" y="882357"/>
                  </a:lnTo>
                  <a:lnTo>
                    <a:pt x="8130018" y="876806"/>
                  </a:lnTo>
                  <a:lnTo>
                    <a:pt x="8138309" y="873105"/>
                  </a:lnTo>
                  <a:close/>
                  <a:moveTo>
                    <a:pt x="2779051" y="799046"/>
                  </a:moveTo>
                  <a:lnTo>
                    <a:pt x="2779051" y="994869"/>
                  </a:lnTo>
                  <a:lnTo>
                    <a:pt x="2575728" y="994869"/>
                  </a:lnTo>
                  <a:cubicBezTo>
                    <a:pt x="2575859" y="923253"/>
                    <a:pt x="2575969" y="853994"/>
                    <a:pt x="2575706" y="827507"/>
                  </a:cubicBezTo>
                  <a:close/>
                  <a:moveTo>
                    <a:pt x="6545761" y="779646"/>
                  </a:moveTo>
                  <a:lnTo>
                    <a:pt x="6571241" y="779646"/>
                  </a:lnTo>
                  <a:lnTo>
                    <a:pt x="6934512" y="779646"/>
                  </a:lnTo>
                  <a:lnTo>
                    <a:pt x="6959993" y="779646"/>
                  </a:lnTo>
                  <a:lnTo>
                    <a:pt x="6959993" y="949666"/>
                  </a:lnTo>
                  <a:lnTo>
                    <a:pt x="6959220" y="949666"/>
                  </a:lnTo>
                  <a:lnTo>
                    <a:pt x="6959220" y="1128547"/>
                  </a:lnTo>
                  <a:lnTo>
                    <a:pt x="6957675" y="1136283"/>
                  </a:lnTo>
                  <a:lnTo>
                    <a:pt x="6954587" y="1143246"/>
                  </a:lnTo>
                  <a:lnTo>
                    <a:pt x="6949182" y="1148661"/>
                  </a:lnTo>
                  <a:lnTo>
                    <a:pt x="6942234" y="1152143"/>
                  </a:lnTo>
                  <a:lnTo>
                    <a:pt x="6934512" y="1153690"/>
                  </a:lnTo>
                  <a:lnTo>
                    <a:pt x="6881165" y="1153690"/>
                  </a:lnTo>
                  <a:lnTo>
                    <a:pt x="6881165" y="1263103"/>
                  </a:lnTo>
                  <a:lnTo>
                    <a:pt x="6879613" y="1274294"/>
                  </a:lnTo>
                  <a:lnTo>
                    <a:pt x="6875343" y="1284713"/>
                  </a:lnTo>
                  <a:lnTo>
                    <a:pt x="6868745" y="1293588"/>
                  </a:lnTo>
                  <a:lnTo>
                    <a:pt x="6859819" y="1300920"/>
                  </a:lnTo>
                  <a:lnTo>
                    <a:pt x="6849340" y="1305165"/>
                  </a:lnTo>
                  <a:lnTo>
                    <a:pt x="6837308" y="1306708"/>
                  </a:lnTo>
                  <a:lnTo>
                    <a:pt x="6825665" y="1305165"/>
                  </a:lnTo>
                  <a:lnTo>
                    <a:pt x="6815186" y="1300920"/>
                  </a:lnTo>
                  <a:lnTo>
                    <a:pt x="6806259" y="1293588"/>
                  </a:lnTo>
                  <a:lnTo>
                    <a:pt x="6799273" y="1284713"/>
                  </a:lnTo>
                  <a:lnTo>
                    <a:pt x="6794616" y="1274294"/>
                  </a:lnTo>
                  <a:lnTo>
                    <a:pt x="6793064" y="1263103"/>
                  </a:lnTo>
                  <a:lnTo>
                    <a:pt x="6793064" y="1153690"/>
                  </a:lnTo>
                  <a:lnTo>
                    <a:pt x="6711145" y="1153690"/>
                  </a:lnTo>
                  <a:lnTo>
                    <a:pt x="6711145" y="1263103"/>
                  </a:lnTo>
                  <a:lnTo>
                    <a:pt x="6709230" y="1274294"/>
                  </a:lnTo>
                  <a:lnTo>
                    <a:pt x="6705399" y="1284713"/>
                  </a:lnTo>
                  <a:lnTo>
                    <a:pt x="6698505" y="1293588"/>
                  </a:lnTo>
                  <a:lnTo>
                    <a:pt x="6689696" y="1300920"/>
                  </a:lnTo>
                  <a:lnTo>
                    <a:pt x="6679354" y="1305165"/>
                  </a:lnTo>
                  <a:lnTo>
                    <a:pt x="6667480" y="1306708"/>
                  </a:lnTo>
                  <a:lnTo>
                    <a:pt x="6655990" y="1305165"/>
                  </a:lnTo>
                  <a:lnTo>
                    <a:pt x="6645648" y="1300920"/>
                  </a:lnTo>
                  <a:lnTo>
                    <a:pt x="6636839" y="1293588"/>
                  </a:lnTo>
                  <a:lnTo>
                    <a:pt x="6629944" y="1284713"/>
                  </a:lnTo>
                  <a:lnTo>
                    <a:pt x="6625348" y="1274294"/>
                  </a:lnTo>
                  <a:lnTo>
                    <a:pt x="6623816" y="1263103"/>
                  </a:lnTo>
                  <a:lnTo>
                    <a:pt x="6623816" y="1153690"/>
                  </a:lnTo>
                  <a:lnTo>
                    <a:pt x="6571241" y="1153690"/>
                  </a:lnTo>
                  <a:lnTo>
                    <a:pt x="6563134" y="1152143"/>
                  </a:lnTo>
                  <a:lnTo>
                    <a:pt x="6556571" y="1148661"/>
                  </a:lnTo>
                  <a:lnTo>
                    <a:pt x="6551167" y="1143246"/>
                  </a:lnTo>
                  <a:lnTo>
                    <a:pt x="6547692" y="1136283"/>
                  </a:lnTo>
                  <a:lnTo>
                    <a:pt x="6546534" y="1128547"/>
                  </a:lnTo>
                  <a:lnTo>
                    <a:pt x="6546534" y="949666"/>
                  </a:lnTo>
                  <a:lnTo>
                    <a:pt x="6545761" y="949666"/>
                  </a:lnTo>
                  <a:close/>
                  <a:moveTo>
                    <a:pt x="8437587" y="772562"/>
                  </a:moveTo>
                  <a:lnTo>
                    <a:pt x="8431419" y="774092"/>
                  </a:lnTo>
                  <a:lnTo>
                    <a:pt x="8425867" y="776846"/>
                  </a:lnTo>
                  <a:lnTo>
                    <a:pt x="8421858" y="780824"/>
                  </a:lnTo>
                  <a:lnTo>
                    <a:pt x="8418774" y="786333"/>
                  </a:lnTo>
                  <a:lnTo>
                    <a:pt x="8417848" y="792453"/>
                  </a:lnTo>
                  <a:lnTo>
                    <a:pt x="8418774" y="798880"/>
                  </a:lnTo>
                  <a:lnTo>
                    <a:pt x="8421858" y="804083"/>
                  </a:lnTo>
                  <a:lnTo>
                    <a:pt x="8425867" y="808367"/>
                  </a:lnTo>
                  <a:lnTo>
                    <a:pt x="8431419" y="811121"/>
                  </a:lnTo>
                  <a:lnTo>
                    <a:pt x="8437587" y="812039"/>
                  </a:lnTo>
                  <a:lnTo>
                    <a:pt x="8443755" y="811121"/>
                  </a:lnTo>
                  <a:lnTo>
                    <a:pt x="8449307" y="808367"/>
                  </a:lnTo>
                  <a:lnTo>
                    <a:pt x="8453316" y="804083"/>
                  </a:lnTo>
                  <a:lnTo>
                    <a:pt x="8456401" y="798880"/>
                  </a:lnTo>
                  <a:lnTo>
                    <a:pt x="8457326" y="792453"/>
                  </a:lnTo>
                  <a:lnTo>
                    <a:pt x="8456401" y="786333"/>
                  </a:lnTo>
                  <a:lnTo>
                    <a:pt x="8453316" y="780824"/>
                  </a:lnTo>
                  <a:lnTo>
                    <a:pt x="8449307" y="776846"/>
                  </a:lnTo>
                  <a:lnTo>
                    <a:pt x="8443755" y="774092"/>
                  </a:lnTo>
                  <a:close/>
                  <a:moveTo>
                    <a:pt x="8293556" y="772562"/>
                  </a:moveTo>
                  <a:lnTo>
                    <a:pt x="8287388" y="774092"/>
                  </a:lnTo>
                  <a:lnTo>
                    <a:pt x="8281836" y="776846"/>
                  </a:lnTo>
                  <a:lnTo>
                    <a:pt x="8277827" y="780824"/>
                  </a:lnTo>
                  <a:lnTo>
                    <a:pt x="8275360" y="786333"/>
                  </a:lnTo>
                  <a:lnTo>
                    <a:pt x="8274126" y="792453"/>
                  </a:lnTo>
                  <a:lnTo>
                    <a:pt x="8275360" y="798880"/>
                  </a:lnTo>
                  <a:lnTo>
                    <a:pt x="8277827" y="804083"/>
                  </a:lnTo>
                  <a:lnTo>
                    <a:pt x="8281836" y="808367"/>
                  </a:lnTo>
                  <a:lnTo>
                    <a:pt x="8287388" y="811121"/>
                  </a:lnTo>
                  <a:lnTo>
                    <a:pt x="8293556" y="812039"/>
                  </a:lnTo>
                  <a:lnTo>
                    <a:pt x="8300033" y="811121"/>
                  </a:lnTo>
                  <a:lnTo>
                    <a:pt x="8305276" y="808367"/>
                  </a:lnTo>
                  <a:lnTo>
                    <a:pt x="8309902" y="804083"/>
                  </a:lnTo>
                  <a:lnTo>
                    <a:pt x="8312370" y="798880"/>
                  </a:lnTo>
                  <a:lnTo>
                    <a:pt x="8313603" y="792453"/>
                  </a:lnTo>
                  <a:lnTo>
                    <a:pt x="8312370" y="786333"/>
                  </a:lnTo>
                  <a:lnTo>
                    <a:pt x="8309902" y="780824"/>
                  </a:lnTo>
                  <a:lnTo>
                    <a:pt x="8305276" y="776846"/>
                  </a:lnTo>
                  <a:lnTo>
                    <a:pt x="8300033" y="774092"/>
                  </a:lnTo>
                  <a:close/>
                  <a:moveTo>
                    <a:pt x="7025488" y="765735"/>
                  </a:moveTo>
                  <a:lnTo>
                    <a:pt x="7037131" y="767281"/>
                  </a:lnTo>
                  <a:lnTo>
                    <a:pt x="7048387" y="771918"/>
                  </a:lnTo>
                  <a:lnTo>
                    <a:pt x="7057313" y="778873"/>
                  </a:lnTo>
                  <a:lnTo>
                    <a:pt x="7063911" y="787761"/>
                  </a:lnTo>
                  <a:lnTo>
                    <a:pt x="7068181" y="798193"/>
                  </a:lnTo>
                  <a:lnTo>
                    <a:pt x="7069733" y="810172"/>
                  </a:lnTo>
                  <a:lnTo>
                    <a:pt x="7069733" y="1007241"/>
                  </a:lnTo>
                  <a:lnTo>
                    <a:pt x="7068181" y="1018833"/>
                  </a:lnTo>
                  <a:lnTo>
                    <a:pt x="7063911" y="1029653"/>
                  </a:lnTo>
                  <a:lnTo>
                    <a:pt x="7057313" y="1038540"/>
                  </a:lnTo>
                  <a:lnTo>
                    <a:pt x="7048387" y="1045496"/>
                  </a:lnTo>
                  <a:lnTo>
                    <a:pt x="7037131" y="1049360"/>
                  </a:lnTo>
                  <a:lnTo>
                    <a:pt x="7025488" y="1050905"/>
                  </a:lnTo>
                  <a:lnTo>
                    <a:pt x="7014233" y="1049360"/>
                  </a:lnTo>
                  <a:lnTo>
                    <a:pt x="7003754" y="1045496"/>
                  </a:lnTo>
                  <a:lnTo>
                    <a:pt x="6994827" y="1038540"/>
                  </a:lnTo>
                  <a:lnTo>
                    <a:pt x="6987453" y="1029653"/>
                  </a:lnTo>
                  <a:lnTo>
                    <a:pt x="6983184" y="1018833"/>
                  </a:lnTo>
                  <a:lnTo>
                    <a:pt x="6981632" y="1007241"/>
                  </a:lnTo>
                  <a:lnTo>
                    <a:pt x="6981632" y="810172"/>
                  </a:lnTo>
                  <a:lnTo>
                    <a:pt x="6983184" y="798193"/>
                  </a:lnTo>
                  <a:lnTo>
                    <a:pt x="6987453" y="787761"/>
                  </a:lnTo>
                  <a:lnTo>
                    <a:pt x="6994827" y="778873"/>
                  </a:lnTo>
                  <a:lnTo>
                    <a:pt x="7003754" y="771918"/>
                  </a:lnTo>
                  <a:lnTo>
                    <a:pt x="7014233" y="767281"/>
                  </a:lnTo>
                  <a:close/>
                  <a:moveTo>
                    <a:pt x="6479106" y="765735"/>
                  </a:moveTo>
                  <a:lnTo>
                    <a:pt x="6491033" y="767281"/>
                  </a:lnTo>
                  <a:lnTo>
                    <a:pt x="6501421" y="771918"/>
                  </a:lnTo>
                  <a:lnTo>
                    <a:pt x="6510269" y="778873"/>
                  </a:lnTo>
                  <a:lnTo>
                    <a:pt x="6517194" y="787761"/>
                  </a:lnTo>
                  <a:lnTo>
                    <a:pt x="6521811" y="798193"/>
                  </a:lnTo>
                  <a:lnTo>
                    <a:pt x="6523349" y="810172"/>
                  </a:lnTo>
                  <a:lnTo>
                    <a:pt x="6523349" y="1007241"/>
                  </a:lnTo>
                  <a:lnTo>
                    <a:pt x="6521811" y="1018833"/>
                  </a:lnTo>
                  <a:lnTo>
                    <a:pt x="6517194" y="1029653"/>
                  </a:lnTo>
                  <a:lnTo>
                    <a:pt x="6510269" y="1038540"/>
                  </a:lnTo>
                  <a:lnTo>
                    <a:pt x="6501421" y="1045496"/>
                  </a:lnTo>
                  <a:lnTo>
                    <a:pt x="6491033" y="1049360"/>
                  </a:lnTo>
                  <a:lnTo>
                    <a:pt x="6479106" y="1050905"/>
                  </a:lnTo>
                  <a:lnTo>
                    <a:pt x="6467565" y="1049360"/>
                  </a:lnTo>
                  <a:lnTo>
                    <a:pt x="6457177" y="1045496"/>
                  </a:lnTo>
                  <a:lnTo>
                    <a:pt x="6448329" y="1038540"/>
                  </a:lnTo>
                  <a:lnTo>
                    <a:pt x="6441404" y="1029653"/>
                  </a:lnTo>
                  <a:lnTo>
                    <a:pt x="6436787" y="1018833"/>
                  </a:lnTo>
                  <a:lnTo>
                    <a:pt x="6435248" y="1007241"/>
                  </a:lnTo>
                  <a:lnTo>
                    <a:pt x="6435248" y="810172"/>
                  </a:lnTo>
                  <a:lnTo>
                    <a:pt x="6436787" y="798193"/>
                  </a:lnTo>
                  <a:lnTo>
                    <a:pt x="6441404" y="787761"/>
                  </a:lnTo>
                  <a:lnTo>
                    <a:pt x="6448329" y="778873"/>
                  </a:lnTo>
                  <a:lnTo>
                    <a:pt x="6457177" y="771918"/>
                  </a:lnTo>
                  <a:lnTo>
                    <a:pt x="6467565" y="767281"/>
                  </a:lnTo>
                  <a:close/>
                  <a:moveTo>
                    <a:pt x="5234778" y="759063"/>
                  </a:moveTo>
                  <a:cubicBezTo>
                    <a:pt x="5234778" y="759063"/>
                    <a:pt x="5241447" y="799517"/>
                    <a:pt x="5209318" y="838744"/>
                  </a:cubicBezTo>
                  <a:cubicBezTo>
                    <a:pt x="5174764" y="880424"/>
                    <a:pt x="5135967" y="873682"/>
                    <a:pt x="5135967" y="873682"/>
                  </a:cubicBezTo>
                  <a:cubicBezTo>
                    <a:pt x="5135967" y="873682"/>
                    <a:pt x="5128693" y="840583"/>
                    <a:pt x="5157184" y="802581"/>
                  </a:cubicBezTo>
                  <a:cubicBezTo>
                    <a:pt x="5189313" y="759063"/>
                    <a:pt x="5234778" y="759063"/>
                    <a:pt x="5234778" y="759063"/>
                  </a:cubicBezTo>
                  <a:close/>
                  <a:moveTo>
                    <a:pt x="3071934" y="758052"/>
                  </a:moveTo>
                  <a:lnTo>
                    <a:pt x="3072332" y="994869"/>
                  </a:lnTo>
                  <a:lnTo>
                    <a:pt x="2804155" y="994869"/>
                  </a:lnTo>
                  <a:lnTo>
                    <a:pt x="2804155" y="795532"/>
                  </a:lnTo>
                  <a:close/>
                  <a:moveTo>
                    <a:pt x="1093130" y="713799"/>
                  </a:moveTo>
                  <a:lnTo>
                    <a:pt x="1093130" y="982883"/>
                  </a:lnTo>
                  <a:lnTo>
                    <a:pt x="813740" y="982883"/>
                  </a:lnTo>
                  <a:cubicBezTo>
                    <a:pt x="813921" y="884474"/>
                    <a:pt x="814072" y="789305"/>
                    <a:pt x="813710" y="752908"/>
                  </a:cubicBezTo>
                  <a:close/>
                  <a:moveTo>
                    <a:pt x="8262676" y="695457"/>
                  </a:moveTo>
                  <a:lnTo>
                    <a:pt x="8263593" y="695770"/>
                  </a:lnTo>
                  <a:lnTo>
                    <a:pt x="8263899" y="695770"/>
                  </a:lnTo>
                  <a:lnTo>
                    <a:pt x="8292641" y="737285"/>
                  </a:lnTo>
                  <a:lnTo>
                    <a:pt x="8297874" y="735220"/>
                  </a:lnTo>
                  <a:lnTo>
                    <a:pt x="8312986" y="730912"/>
                  </a:lnTo>
                  <a:lnTo>
                    <a:pt x="8328715" y="727527"/>
                  </a:lnTo>
                  <a:lnTo>
                    <a:pt x="8346604" y="725681"/>
                  </a:lnTo>
                  <a:lnTo>
                    <a:pt x="8365726" y="725065"/>
                  </a:lnTo>
                  <a:lnTo>
                    <a:pt x="8385465" y="725988"/>
                  </a:lnTo>
                  <a:lnTo>
                    <a:pt x="8403661" y="728142"/>
                  </a:lnTo>
                  <a:lnTo>
                    <a:pt x="8420624" y="731835"/>
                  </a:lnTo>
                  <a:lnTo>
                    <a:pt x="8435428" y="736451"/>
                  </a:lnTo>
                  <a:lnTo>
                    <a:pt x="8438249" y="737667"/>
                  </a:lnTo>
                  <a:lnTo>
                    <a:pt x="8467449" y="695770"/>
                  </a:lnTo>
                  <a:lnTo>
                    <a:pt x="8468071" y="695770"/>
                  </a:lnTo>
                  <a:lnTo>
                    <a:pt x="8468693" y="695457"/>
                  </a:lnTo>
                  <a:lnTo>
                    <a:pt x="8469626" y="695770"/>
                  </a:lnTo>
                  <a:lnTo>
                    <a:pt x="8470870" y="695770"/>
                  </a:lnTo>
                  <a:lnTo>
                    <a:pt x="8471803" y="696707"/>
                  </a:lnTo>
                  <a:lnTo>
                    <a:pt x="8472736" y="697332"/>
                  </a:lnTo>
                  <a:lnTo>
                    <a:pt x="8473358" y="698268"/>
                  </a:lnTo>
                  <a:lnTo>
                    <a:pt x="8473980" y="699518"/>
                  </a:lnTo>
                  <a:lnTo>
                    <a:pt x="8473358" y="700143"/>
                  </a:lnTo>
                  <a:lnTo>
                    <a:pt x="8445137" y="740635"/>
                  </a:lnTo>
                  <a:lnTo>
                    <a:pt x="8448998" y="742298"/>
                  </a:lnTo>
                  <a:lnTo>
                    <a:pt x="8461335" y="748760"/>
                  </a:lnTo>
                  <a:lnTo>
                    <a:pt x="8472129" y="755838"/>
                  </a:lnTo>
                  <a:lnTo>
                    <a:pt x="8481691" y="763839"/>
                  </a:lnTo>
                  <a:lnTo>
                    <a:pt x="8490018" y="772456"/>
                  </a:lnTo>
                  <a:lnTo>
                    <a:pt x="8497728" y="781072"/>
                  </a:lnTo>
                  <a:lnTo>
                    <a:pt x="8504205" y="789997"/>
                  </a:lnTo>
                  <a:lnTo>
                    <a:pt x="8509757" y="799229"/>
                  </a:lnTo>
                  <a:lnTo>
                    <a:pt x="8514383" y="808153"/>
                  </a:lnTo>
                  <a:lnTo>
                    <a:pt x="8518084" y="817077"/>
                  </a:lnTo>
                  <a:lnTo>
                    <a:pt x="8521477" y="825386"/>
                  </a:lnTo>
                  <a:lnTo>
                    <a:pt x="8523944" y="833079"/>
                  </a:lnTo>
                  <a:lnTo>
                    <a:pt x="8526103" y="840773"/>
                  </a:lnTo>
                  <a:lnTo>
                    <a:pt x="8527336" y="846927"/>
                  </a:lnTo>
                  <a:lnTo>
                    <a:pt x="8528262" y="852774"/>
                  </a:lnTo>
                  <a:lnTo>
                    <a:pt x="8528879" y="857390"/>
                  </a:lnTo>
                  <a:lnTo>
                    <a:pt x="8529495" y="861083"/>
                  </a:lnTo>
                  <a:lnTo>
                    <a:pt x="8529495" y="862929"/>
                  </a:lnTo>
                  <a:lnTo>
                    <a:pt x="8529495" y="863853"/>
                  </a:lnTo>
                  <a:lnTo>
                    <a:pt x="8201956" y="863853"/>
                  </a:lnTo>
                  <a:lnTo>
                    <a:pt x="8201956" y="862929"/>
                  </a:lnTo>
                  <a:lnTo>
                    <a:pt x="8201956" y="861083"/>
                  </a:lnTo>
                  <a:lnTo>
                    <a:pt x="8202265" y="857698"/>
                  </a:lnTo>
                  <a:lnTo>
                    <a:pt x="8203190" y="853390"/>
                  </a:lnTo>
                  <a:lnTo>
                    <a:pt x="8204115" y="848158"/>
                  </a:lnTo>
                  <a:lnTo>
                    <a:pt x="8204732" y="842004"/>
                  </a:lnTo>
                  <a:lnTo>
                    <a:pt x="8206582" y="835233"/>
                  </a:lnTo>
                  <a:lnTo>
                    <a:pt x="8209050" y="827848"/>
                  </a:lnTo>
                  <a:lnTo>
                    <a:pt x="8211517" y="819847"/>
                  </a:lnTo>
                  <a:lnTo>
                    <a:pt x="8214910" y="811538"/>
                  </a:lnTo>
                  <a:lnTo>
                    <a:pt x="8218919" y="802922"/>
                  </a:lnTo>
                  <a:lnTo>
                    <a:pt x="8223546" y="793997"/>
                  </a:lnTo>
                  <a:lnTo>
                    <a:pt x="8229405" y="785688"/>
                  </a:lnTo>
                  <a:lnTo>
                    <a:pt x="8236190" y="777072"/>
                  </a:lnTo>
                  <a:lnTo>
                    <a:pt x="8243592" y="768763"/>
                  </a:lnTo>
                  <a:lnTo>
                    <a:pt x="8251920" y="760762"/>
                  </a:lnTo>
                  <a:lnTo>
                    <a:pt x="8261481" y="753376"/>
                  </a:lnTo>
                  <a:lnTo>
                    <a:pt x="8272275" y="746606"/>
                  </a:lnTo>
                  <a:lnTo>
                    <a:pt x="8284612" y="740452"/>
                  </a:lnTo>
                  <a:lnTo>
                    <a:pt x="8285699" y="740023"/>
                  </a:lnTo>
                  <a:lnTo>
                    <a:pt x="8258088" y="700143"/>
                  </a:lnTo>
                  <a:lnTo>
                    <a:pt x="8258088" y="699518"/>
                  </a:lnTo>
                  <a:lnTo>
                    <a:pt x="8258088" y="698268"/>
                  </a:lnTo>
                  <a:lnTo>
                    <a:pt x="8259006" y="697332"/>
                  </a:lnTo>
                  <a:lnTo>
                    <a:pt x="8260229" y="696707"/>
                  </a:lnTo>
                  <a:lnTo>
                    <a:pt x="8260841" y="695770"/>
                  </a:lnTo>
                  <a:lnTo>
                    <a:pt x="8261758" y="695770"/>
                  </a:lnTo>
                  <a:close/>
                  <a:moveTo>
                    <a:pt x="1495584" y="657469"/>
                  </a:moveTo>
                  <a:lnTo>
                    <a:pt x="1496132" y="982883"/>
                  </a:lnTo>
                  <a:lnTo>
                    <a:pt x="1127626" y="982883"/>
                  </a:lnTo>
                  <a:lnTo>
                    <a:pt x="1127626" y="708970"/>
                  </a:lnTo>
                  <a:close/>
                  <a:moveTo>
                    <a:pt x="4171486" y="652571"/>
                  </a:moveTo>
                  <a:cubicBezTo>
                    <a:pt x="4280748" y="652571"/>
                    <a:pt x="4323878" y="731098"/>
                    <a:pt x="4323878" y="731098"/>
                  </a:cubicBezTo>
                  <a:cubicBezTo>
                    <a:pt x="4323878" y="731098"/>
                    <a:pt x="4239535" y="774724"/>
                    <a:pt x="4239535" y="880396"/>
                  </a:cubicBezTo>
                  <a:cubicBezTo>
                    <a:pt x="4239535" y="999640"/>
                    <a:pt x="4344963" y="1040357"/>
                    <a:pt x="4344963" y="1040357"/>
                  </a:cubicBezTo>
                  <a:cubicBezTo>
                    <a:pt x="4344963" y="1040357"/>
                    <a:pt x="4271164" y="1248792"/>
                    <a:pt x="4172445" y="1248792"/>
                  </a:cubicBezTo>
                  <a:cubicBezTo>
                    <a:pt x="4127398" y="1248792"/>
                    <a:pt x="4091936" y="1217769"/>
                    <a:pt x="4044015" y="1217769"/>
                  </a:cubicBezTo>
                  <a:cubicBezTo>
                    <a:pt x="3995134" y="1217769"/>
                    <a:pt x="3946254" y="1250731"/>
                    <a:pt x="3914626" y="1250731"/>
                  </a:cubicBezTo>
                  <a:cubicBezTo>
                    <a:pt x="3824533" y="1250731"/>
                    <a:pt x="3710479" y="1052960"/>
                    <a:pt x="3710479" y="893968"/>
                  </a:cubicBezTo>
                  <a:cubicBezTo>
                    <a:pt x="3710479" y="736915"/>
                    <a:pt x="3807281" y="654510"/>
                    <a:pt x="3897374" y="654510"/>
                  </a:cubicBezTo>
                  <a:cubicBezTo>
                    <a:pt x="3956797" y="654510"/>
                    <a:pt x="4002802" y="689411"/>
                    <a:pt x="4033472" y="689411"/>
                  </a:cubicBezTo>
                  <a:cubicBezTo>
                    <a:pt x="4059350" y="689411"/>
                    <a:pt x="4108230" y="652571"/>
                    <a:pt x="4171486" y="652571"/>
                  </a:cubicBezTo>
                  <a:close/>
                  <a:moveTo>
                    <a:pt x="6842525" y="641312"/>
                  </a:moveTo>
                  <a:lnTo>
                    <a:pt x="6834796" y="643229"/>
                  </a:lnTo>
                  <a:lnTo>
                    <a:pt x="6827841" y="646680"/>
                  </a:lnTo>
                  <a:lnTo>
                    <a:pt x="6822818" y="651664"/>
                  </a:lnTo>
                  <a:lnTo>
                    <a:pt x="6818953" y="658566"/>
                  </a:lnTo>
                  <a:lnTo>
                    <a:pt x="6817794" y="666234"/>
                  </a:lnTo>
                  <a:lnTo>
                    <a:pt x="6818953" y="674286"/>
                  </a:lnTo>
                  <a:lnTo>
                    <a:pt x="6822818" y="680804"/>
                  </a:lnTo>
                  <a:lnTo>
                    <a:pt x="6827841" y="686172"/>
                  </a:lnTo>
                  <a:lnTo>
                    <a:pt x="6834796" y="689622"/>
                  </a:lnTo>
                  <a:lnTo>
                    <a:pt x="6842525" y="690772"/>
                  </a:lnTo>
                  <a:lnTo>
                    <a:pt x="6850253" y="689622"/>
                  </a:lnTo>
                  <a:lnTo>
                    <a:pt x="6857208" y="686172"/>
                  </a:lnTo>
                  <a:lnTo>
                    <a:pt x="6862231" y="680804"/>
                  </a:lnTo>
                  <a:lnTo>
                    <a:pt x="6866096" y="674286"/>
                  </a:lnTo>
                  <a:lnTo>
                    <a:pt x="6867255" y="666234"/>
                  </a:lnTo>
                  <a:lnTo>
                    <a:pt x="6866096" y="658566"/>
                  </a:lnTo>
                  <a:lnTo>
                    <a:pt x="6862231" y="651664"/>
                  </a:lnTo>
                  <a:lnTo>
                    <a:pt x="6857208" y="646680"/>
                  </a:lnTo>
                  <a:lnTo>
                    <a:pt x="6850253" y="643229"/>
                  </a:lnTo>
                  <a:close/>
                  <a:moveTo>
                    <a:pt x="6662071" y="641312"/>
                  </a:moveTo>
                  <a:lnTo>
                    <a:pt x="6654343" y="643229"/>
                  </a:lnTo>
                  <a:lnTo>
                    <a:pt x="6647388" y="646680"/>
                  </a:lnTo>
                  <a:lnTo>
                    <a:pt x="6642364" y="651664"/>
                  </a:lnTo>
                  <a:lnTo>
                    <a:pt x="6639273" y="658566"/>
                  </a:lnTo>
                  <a:lnTo>
                    <a:pt x="6637727" y="666234"/>
                  </a:lnTo>
                  <a:lnTo>
                    <a:pt x="6639273" y="674286"/>
                  </a:lnTo>
                  <a:lnTo>
                    <a:pt x="6642364" y="680804"/>
                  </a:lnTo>
                  <a:lnTo>
                    <a:pt x="6647388" y="686172"/>
                  </a:lnTo>
                  <a:lnTo>
                    <a:pt x="6654343" y="689622"/>
                  </a:lnTo>
                  <a:lnTo>
                    <a:pt x="6662071" y="690772"/>
                  </a:lnTo>
                  <a:lnTo>
                    <a:pt x="6670186" y="689622"/>
                  </a:lnTo>
                  <a:lnTo>
                    <a:pt x="6676755" y="686172"/>
                  </a:lnTo>
                  <a:lnTo>
                    <a:pt x="6682551" y="680804"/>
                  </a:lnTo>
                  <a:lnTo>
                    <a:pt x="6685642" y="674286"/>
                  </a:lnTo>
                  <a:lnTo>
                    <a:pt x="6687188" y="666234"/>
                  </a:lnTo>
                  <a:lnTo>
                    <a:pt x="6685642" y="658566"/>
                  </a:lnTo>
                  <a:lnTo>
                    <a:pt x="6682551" y="651664"/>
                  </a:lnTo>
                  <a:lnTo>
                    <a:pt x="6676755" y="646680"/>
                  </a:lnTo>
                  <a:lnTo>
                    <a:pt x="6670186" y="643229"/>
                  </a:lnTo>
                  <a:close/>
                  <a:moveTo>
                    <a:pt x="4828217" y="546687"/>
                  </a:moveTo>
                  <a:lnTo>
                    <a:pt x="4828217" y="1471905"/>
                  </a:lnTo>
                  <a:lnTo>
                    <a:pt x="5444866" y="1471905"/>
                  </a:lnTo>
                  <a:lnTo>
                    <a:pt x="5444866" y="546687"/>
                  </a:lnTo>
                  <a:close/>
                  <a:moveTo>
                    <a:pt x="6623381" y="544709"/>
                  </a:moveTo>
                  <a:lnTo>
                    <a:pt x="6624531" y="545101"/>
                  </a:lnTo>
                  <a:lnTo>
                    <a:pt x="6624914" y="545101"/>
                  </a:lnTo>
                  <a:lnTo>
                    <a:pt x="6660924" y="597114"/>
                  </a:lnTo>
                  <a:lnTo>
                    <a:pt x="6667480" y="594528"/>
                  </a:lnTo>
                  <a:lnTo>
                    <a:pt x="6686415" y="589130"/>
                  </a:lnTo>
                  <a:lnTo>
                    <a:pt x="6706121" y="584889"/>
                  </a:lnTo>
                  <a:lnTo>
                    <a:pt x="6728533" y="582576"/>
                  </a:lnTo>
                  <a:lnTo>
                    <a:pt x="6752491" y="581804"/>
                  </a:lnTo>
                  <a:lnTo>
                    <a:pt x="6777221" y="582961"/>
                  </a:lnTo>
                  <a:lnTo>
                    <a:pt x="6800019" y="585660"/>
                  </a:lnTo>
                  <a:lnTo>
                    <a:pt x="6821272" y="590287"/>
                  </a:lnTo>
                  <a:lnTo>
                    <a:pt x="6839819" y="596070"/>
                  </a:lnTo>
                  <a:lnTo>
                    <a:pt x="6843354" y="597593"/>
                  </a:lnTo>
                  <a:lnTo>
                    <a:pt x="6879938" y="545101"/>
                  </a:lnTo>
                  <a:lnTo>
                    <a:pt x="6880717" y="545101"/>
                  </a:lnTo>
                  <a:lnTo>
                    <a:pt x="6881497" y="544709"/>
                  </a:lnTo>
                  <a:lnTo>
                    <a:pt x="6882665" y="545101"/>
                  </a:lnTo>
                  <a:lnTo>
                    <a:pt x="6884224" y="545101"/>
                  </a:lnTo>
                  <a:lnTo>
                    <a:pt x="6885393" y="546275"/>
                  </a:lnTo>
                  <a:lnTo>
                    <a:pt x="6886562" y="547058"/>
                  </a:lnTo>
                  <a:lnTo>
                    <a:pt x="6887341" y="548231"/>
                  </a:lnTo>
                  <a:lnTo>
                    <a:pt x="6888121" y="549797"/>
                  </a:lnTo>
                  <a:lnTo>
                    <a:pt x="6887341" y="550580"/>
                  </a:lnTo>
                  <a:lnTo>
                    <a:pt x="6851984" y="601312"/>
                  </a:lnTo>
                  <a:lnTo>
                    <a:pt x="6856821" y="603396"/>
                  </a:lnTo>
                  <a:lnTo>
                    <a:pt x="6872278" y="611492"/>
                  </a:lnTo>
                  <a:lnTo>
                    <a:pt x="6885802" y="620360"/>
                  </a:lnTo>
                  <a:lnTo>
                    <a:pt x="6897781" y="630384"/>
                  </a:lnTo>
                  <a:lnTo>
                    <a:pt x="6908214" y="641180"/>
                  </a:lnTo>
                  <a:lnTo>
                    <a:pt x="6917874" y="651975"/>
                  </a:lnTo>
                  <a:lnTo>
                    <a:pt x="6925989" y="663156"/>
                  </a:lnTo>
                  <a:lnTo>
                    <a:pt x="6932944" y="674723"/>
                  </a:lnTo>
                  <a:lnTo>
                    <a:pt x="6938740" y="685904"/>
                  </a:lnTo>
                  <a:lnTo>
                    <a:pt x="6943377" y="697084"/>
                  </a:lnTo>
                  <a:lnTo>
                    <a:pt x="6947628" y="707495"/>
                  </a:lnTo>
                  <a:lnTo>
                    <a:pt x="6950719" y="717133"/>
                  </a:lnTo>
                  <a:lnTo>
                    <a:pt x="6953424" y="726772"/>
                  </a:lnTo>
                  <a:lnTo>
                    <a:pt x="6954970" y="734484"/>
                  </a:lnTo>
                  <a:lnTo>
                    <a:pt x="6956129" y="741809"/>
                  </a:lnTo>
                  <a:lnTo>
                    <a:pt x="6956902" y="747592"/>
                  </a:lnTo>
                  <a:lnTo>
                    <a:pt x="6957674" y="752219"/>
                  </a:lnTo>
                  <a:lnTo>
                    <a:pt x="6957674" y="754532"/>
                  </a:lnTo>
                  <a:lnTo>
                    <a:pt x="6957674" y="755689"/>
                  </a:lnTo>
                  <a:lnTo>
                    <a:pt x="6547307" y="755689"/>
                  </a:lnTo>
                  <a:lnTo>
                    <a:pt x="6547307" y="754532"/>
                  </a:lnTo>
                  <a:lnTo>
                    <a:pt x="6547307" y="752219"/>
                  </a:lnTo>
                  <a:lnTo>
                    <a:pt x="6547694" y="747978"/>
                  </a:lnTo>
                  <a:lnTo>
                    <a:pt x="6548853" y="742580"/>
                  </a:lnTo>
                  <a:lnTo>
                    <a:pt x="6550012" y="736026"/>
                  </a:lnTo>
                  <a:lnTo>
                    <a:pt x="6550785" y="728315"/>
                  </a:lnTo>
                  <a:lnTo>
                    <a:pt x="6553103" y="719832"/>
                  </a:lnTo>
                  <a:lnTo>
                    <a:pt x="6556194" y="710579"/>
                  </a:lnTo>
                  <a:lnTo>
                    <a:pt x="6559286" y="700555"/>
                  </a:lnTo>
                  <a:lnTo>
                    <a:pt x="6563537" y="690145"/>
                  </a:lnTo>
                  <a:lnTo>
                    <a:pt x="6568559" y="679349"/>
                  </a:lnTo>
                  <a:lnTo>
                    <a:pt x="6574356" y="668168"/>
                  </a:lnTo>
                  <a:lnTo>
                    <a:pt x="6581698" y="657758"/>
                  </a:lnTo>
                  <a:lnTo>
                    <a:pt x="6590198" y="646963"/>
                  </a:lnTo>
                  <a:lnTo>
                    <a:pt x="6599472" y="636553"/>
                  </a:lnTo>
                  <a:lnTo>
                    <a:pt x="6609906" y="626529"/>
                  </a:lnTo>
                  <a:lnTo>
                    <a:pt x="6621884" y="617275"/>
                  </a:lnTo>
                  <a:lnTo>
                    <a:pt x="6635408" y="608793"/>
                  </a:lnTo>
                  <a:lnTo>
                    <a:pt x="6650865" y="601082"/>
                  </a:lnTo>
                  <a:lnTo>
                    <a:pt x="6652226" y="600545"/>
                  </a:lnTo>
                  <a:lnTo>
                    <a:pt x="6617634" y="550580"/>
                  </a:lnTo>
                  <a:lnTo>
                    <a:pt x="6617634" y="549797"/>
                  </a:lnTo>
                  <a:lnTo>
                    <a:pt x="6617634" y="548231"/>
                  </a:lnTo>
                  <a:lnTo>
                    <a:pt x="6618783" y="547058"/>
                  </a:lnTo>
                  <a:lnTo>
                    <a:pt x="6620316" y="546275"/>
                  </a:lnTo>
                  <a:lnTo>
                    <a:pt x="6621082" y="545101"/>
                  </a:lnTo>
                  <a:lnTo>
                    <a:pt x="6622232" y="545101"/>
                  </a:lnTo>
                  <a:close/>
                  <a:moveTo>
                    <a:pt x="4183017" y="463640"/>
                  </a:moveTo>
                  <a:cubicBezTo>
                    <a:pt x="4183017" y="463640"/>
                    <a:pt x="4193558" y="527590"/>
                    <a:pt x="4142768" y="589602"/>
                  </a:cubicBezTo>
                  <a:cubicBezTo>
                    <a:pt x="4088146" y="655489"/>
                    <a:pt x="4026815" y="644831"/>
                    <a:pt x="4026815" y="644831"/>
                  </a:cubicBezTo>
                  <a:cubicBezTo>
                    <a:pt x="4026815" y="644831"/>
                    <a:pt x="4015315" y="592508"/>
                    <a:pt x="4060355" y="532435"/>
                  </a:cubicBezTo>
                  <a:cubicBezTo>
                    <a:pt x="4111145" y="463640"/>
                    <a:pt x="4183017" y="463640"/>
                    <a:pt x="4183017" y="463640"/>
                  </a:cubicBezTo>
                  <a:close/>
                  <a:moveTo>
                    <a:pt x="142606" y="435886"/>
                  </a:moveTo>
                  <a:lnTo>
                    <a:pt x="142606" y="1564635"/>
                  </a:lnTo>
                  <a:lnTo>
                    <a:pt x="2167619" y="1564635"/>
                  </a:lnTo>
                  <a:lnTo>
                    <a:pt x="2167619" y="435886"/>
                  </a:lnTo>
                  <a:close/>
                  <a:moveTo>
                    <a:pt x="5049402" y="408930"/>
                  </a:moveTo>
                  <a:cubicBezTo>
                    <a:pt x="5040732" y="408930"/>
                    <a:pt x="5033704" y="415958"/>
                    <a:pt x="5033704" y="424628"/>
                  </a:cubicBezTo>
                  <a:cubicBezTo>
                    <a:pt x="5033704" y="433298"/>
                    <a:pt x="5040732" y="440326"/>
                    <a:pt x="5049402" y="440326"/>
                  </a:cubicBezTo>
                  <a:lnTo>
                    <a:pt x="5223681" y="440326"/>
                  </a:lnTo>
                  <a:cubicBezTo>
                    <a:pt x="5232350" y="440326"/>
                    <a:pt x="5239379" y="433298"/>
                    <a:pt x="5239379" y="424628"/>
                  </a:cubicBezTo>
                  <a:cubicBezTo>
                    <a:pt x="5239379" y="415958"/>
                    <a:pt x="5232350" y="408930"/>
                    <a:pt x="5223681" y="408930"/>
                  </a:cubicBezTo>
                  <a:close/>
                  <a:moveTo>
                    <a:pt x="2518597" y="402274"/>
                  </a:moveTo>
                  <a:cubicBezTo>
                    <a:pt x="2497867" y="402274"/>
                    <a:pt x="2481061" y="419079"/>
                    <a:pt x="2481061" y="439810"/>
                  </a:cubicBezTo>
                  <a:lnTo>
                    <a:pt x="2481061" y="1467497"/>
                  </a:lnTo>
                  <a:cubicBezTo>
                    <a:pt x="2481061" y="1488228"/>
                    <a:pt x="2497867" y="1505033"/>
                    <a:pt x="2518597" y="1505033"/>
                  </a:cubicBezTo>
                  <a:lnTo>
                    <a:pt x="3130747" y="1505033"/>
                  </a:lnTo>
                  <a:cubicBezTo>
                    <a:pt x="3151478" y="1505033"/>
                    <a:pt x="3168284" y="1488228"/>
                    <a:pt x="3168284" y="1467497"/>
                  </a:cubicBezTo>
                  <a:lnTo>
                    <a:pt x="3168284" y="439810"/>
                  </a:lnTo>
                  <a:cubicBezTo>
                    <a:pt x="3168284" y="419079"/>
                    <a:pt x="3151478" y="402274"/>
                    <a:pt x="3130747" y="402274"/>
                  </a:cubicBezTo>
                  <a:close/>
                  <a:moveTo>
                    <a:pt x="2776017" y="362170"/>
                  </a:moveTo>
                  <a:cubicBezTo>
                    <a:pt x="2774421" y="362170"/>
                    <a:pt x="2772977" y="362818"/>
                    <a:pt x="2771932" y="363863"/>
                  </a:cubicBezTo>
                  <a:lnTo>
                    <a:pt x="2770239" y="367948"/>
                  </a:lnTo>
                  <a:lnTo>
                    <a:pt x="2771932" y="372033"/>
                  </a:lnTo>
                  <a:cubicBezTo>
                    <a:pt x="2772977" y="373077"/>
                    <a:pt x="2774421" y="373725"/>
                    <a:pt x="2776017" y="373725"/>
                  </a:cubicBezTo>
                  <a:lnTo>
                    <a:pt x="2872301" y="373725"/>
                  </a:lnTo>
                  <a:cubicBezTo>
                    <a:pt x="2875492" y="373725"/>
                    <a:pt x="2878078" y="371138"/>
                    <a:pt x="2878078" y="367948"/>
                  </a:cubicBezTo>
                  <a:cubicBezTo>
                    <a:pt x="2878078" y="364757"/>
                    <a:pt x="2875492" y="362170"/>
                    <a:pt x="2872301" y="362170"/>
                  </a:cubicBezTo>
                  <a:close/>
                  <a:moveTo>
                    <a:pt x="8074277" y="335996"/>
                  </a:moveTo>
                  <a:cubicBezTo>
                    <a:pt x="8049512" y="335996"/>
                    <a:pt x="8029436" y="356072"/>
                    <a:pt x="8029436" y="380837"/>
                  </a:cubicBezTo>
                  <a:lnTo>
                    <a:pt x="8029436" y="1435314"/>
                  </a:lnTo>
                  <a:cubicBezTo>
                    <a:pt x="8029436" y="1460079"/>
                    <a:pt x="8049512" y="1480155"/>
                    <a:pt x="8074277" y="1480155"/>
                  </a:cubicBezTo>
                  <a:lnTo>
                    <a:pt x="8657174" y="1480155"/>
                  </a:lnTo>
                  <a:cubicBezTo>
                    <a:pt x="8681939" y="1480155"/>
                    <a:pt x="8702015" y="1460079"/>
                    <a:pt x="8702015" y="1435314"/>
                  </a:cubicBezTo>
                  <a:lnTo>
                    <a:pt x="8702015" y="380837"/>
                  </a:lnTo>
                  <a:cubicBezTo>
                    <a:pt x="8702015" y="356072"/>
                    <a:pt x="8681939" y="335996"/>
                    <a:pt x="8657174" y="335996"/>
                  </a:cubicBezTo>
                  <a:close/>
                  <a:moveTo>
                    <a:pt x="5759891" y="305930"/>
                  </a:moveTo>
                  <a:lnTo>
                    <a:pt x="5759891" y="1478569"/>
                  </a:lnTo>
                  <a:lnTo>
                    <a:pt x="7741904" y="1478569"/>
                  </a:lnTo>
                  <a:lnTo>
                    <a:pt x="7741904" y="305930"/>
                  </a:lnTo>
                  <a:close/>
                  <a:moveTo>
                    <a:pt x="4878987" y="300646"/>
                  </a:moveTo>
                  <a:lnTo>
                    <a:pt x="5394095" y="300646"/>
                  </a:lnTo>
                  <a:cubicBezTo>
                    <a:pt x="5448538" y="300646"/>
                    <a:pt x="5492672" y="344781"/>
                    <a:pt x="5492672" y="399224"/>
                  </a:cubicBezTo>
                  <a:lnTo>
                    <a:pt x="5492672" y="1616806"/>
                  </a:lnTo>
                  <a:cubicBezTo>
                    <a:pt x="5492672" y="1671249"/>
                    <a:pt x="5448538" y="1715383"/>
                    <a:pt x="5394095" y="1715383"/>
                  </a:cubicBezTo>
                  <a:lnTo>
                    <a:pt x="4878987" y="1715383"/>
                  </a:lnTo>
                  <a:cubicBezTo>
                    <a:pt x="4824545" y="1715383"/>
                    <a:pt x="4780410" y="1671249"/>
                    <a:pt x="4780410" y="1616806"/>
                  </a:cubicBezTo>
                  <a:lnTo>
                    <a:pt x="4780410" y="399224"/>
                  </a:lnTo>
                  <a:cubicBezTo>
                    <a:pt x="4780410" y="344781"/>
                    <a:pt x="4824545" y="300646"/>
                    <a:pt x="4878987" y="300646"/>
                  </a:cubicBezTo>
                  <a:close/>
                  <a:moveTo>
                    <a:pt x="2442872" y="299635"/>
                  </a:moveTo>
                  <a:lnTo>
                    <a:pt x="3205445" y="299635"/>
                  </a:lnTo>
                  <a:lnTo>
                    <a:pt x="3205445" y="1714372"/>
                  </a:lnTo>
                  <a:lnTo>
                    <a:pt x="2442872" y="1714372"/>
                  </a:lnTo>
                  <a:close/>
                  <a:moveTo>
                    <a:pt x="8046360" y="292188"/>
                  </a:moveTo>
                  <a:lnTo>
                    <a:pt x="8685091" y="292188"/>
                  </a:lnTo>
                  <a:cubicBezTo>
                    <a:pt x="8712228" y="292188"/>
                    <a:pt x="8734227" y="314187"/>
                    <a:pt x="8734227" y="341324"/>
                  </a:cubicBezTo>
                  <a:lnTo>
                    <a:pt x="8734227" y="1657789"/>
                  </a:lnTo>
                  <a:cubicBezTo>
                    <a:pt x="8734227" y="1684926"/>
                    <a:pt x="8712228" y="1706925"/>
                    <a:pt x="8685091" y="1706925"/>
                  </a:cubicBezTo>
                  <a:lnTo>
                    <a:pt x="8046360" y="1706925"/>
                  </a:lnTo>
                  <a:cubicBezTo>
                    <a:pt x="8019223" y="1706925"/>
                    <a:pt x="7997224" y="1684926"/>
                    <a:pt x="7997224" y="1657789"/>
                  </a:cubicBezTo>
                  <a:lnTo>
                    <a:pt x="7997224" y="341324"/>
                  </a:lnTo>
                  <a:cubicBezTo>
                    <a:pt x="7997224" y="314187"/>
                    <a:pt x="8019223" y="292188"/>
                    <a:pt x="8046360" y="292188"/>
                  </a:cubicBezTo>
                  <a:close/>
                  <a:moveTo>
                    <a:pt x="31495" y="284741"/>
                  </a:moveTo>
                  <a:lnTo>
                    <a:pt x="2278731" y="284741"/>
                  </a:lnTo>
                  <a:cubicBezTo>
                    <a:pt x="2296124" y="284741"/>
                    <a:pt x="2310225" y="298841"/>
                    <a:pt x="2310225" y="316235"/>
                  </a:cubicBezTo>
                  <a:lnTo>
                    <a:pt x="2310225" y="1682878"/>
                  </a:lnTo>
                  <a:cubicBezTo>
                    <a:pt x="2310225" y="1700272"/>
                    <a:pt x="2296124" y="1714372"/>
                    <a:pt x="2278731" y="1714372"/>
                  </a:cubicBezTo>
                  <a:lnTo>
                    <a:pt x="31495" y="1714372"/>
                  </a:lnTo>
                  <a:cubicBezTo>
                    <a:pt x="14101" y="1714372"/>
                    <a:pt x="0" y="1700272"/>
                    <a:pt x="0" y="1682878"/>
                  </a:cubicBezTo>
                  <a:lnTo>
                    <a:pt x="0" y="316235"/>
                  </a:lnTo>
                  <a:cubicBezTo>
                    <a:pt x="0" y="298841"/>
                    <a:pt x="14101" y="284741"/>
                    <a:pt x="31495" y="284741"/>
                  </a:cubicBezTo>
                  <a:close/>
                  <a:moveTo>
                    <a:pt x="3506920" y="153677"/>
                  </a:moveTo>
                  <a:lnTo>
                    <a:pt x="3506920" y="1550448"/>
                  </a:lnTo>
                  <a:lnTo>
                    <a:pt x="4548522" y="1550448"/>
                  </a:lnTo>
                  <a:lnTo>
                    <a:pt x="4548522" y="153677"/>
                  </a:lnTo>
                  <a:close/>
                  <a:moveTo>
                    <a:pt x="5691386" y="137045"/>
                  </a:moveTo>
                  <a:lnTo>
                    <a:pt x="7813595" y="137045"/>
                  </a:lnTo>
                  <a:cubicBezTo>
                    <a:pt x="7865514" y="137045"/>
                    <a:pt x="7907603" y="179134"/>
                    <a:pt x="7907603" y="231053"/>
                  </a:cubicBezTo>
                  <a:lnTo>
                    <a:pt x="7907603" y="1620364"/>
                  </a:lnTo>
                  <a:cubicBezTo>
                    <a:pt x="7907603" y="1672283"/>
                    <a:pt x="7865514" y="1714372"/>
                    <a:pt x="7813595" y="1714372"/>
                  </a:cubicBezTo>
                  <a:lnTo>
                    <a:pt x="5691386" y="1714372"/>
                  </a:lnTo>
                  <a:cubicBezTo>
                    <a:pt x="5639467" y="1714372"/>
                    <a:pt x="5597378" y="1672283"/>
                    <a:pt x="5597378" y="1620364"/>
                  </a:cubicBezTo>
                  <a:lnTo>
                    <a:pt x="5597378" y="231053"/>
                  </a:lnTo>
                  <a:cubicBezTo>
                    <a:pt x="5597378" y="179134"/>
                    <a:pt x="5639467" y="137045"/>
                    <a:pt x="5691386" y="137045"/>
                  </a:cubicBezTo>
                  <a:close/>
                  <a:moveTo>
                    <a:pt x="3445917" y="0"/>
                  </a:moveTo>
                  <a:lnTo>
                    <a:pt x="4609525" y="0"/>
                  </a:lnTo>
                  <a:cubicBezTo>
                    <a:pt x="4657878" y="0"/>
                    <a:pt x="4697076" y="39198"/>
                    <a:pt x="4697076" y="87551"/>
                  </a:cubicBezTo>
                  <a:lnTo>
                    <a:pt x="4697076" y="1626821"/>
                  </a:lnTo>
                  <a:cubicBezTo>
                    <a:pt x="4697076" y="1675174"/>
                    <a:pt x="4657878" y="1714372"/>
                    <a:pt x="4609525" y="1714372"/>
                  </a:cubicBezTo>
                  <a:lnTo>
                    <a:pt x="3445917" y="1714372"/>
                  </a:lnTo>
                  <a:cubicBezTo>
                    <a:pt x="3397564" y="1714372"/>
                    <a:pt x="3358365" y="1675174"/>
                    <a:pt x="3358365" y="1626821"/>
                  </a:cubicBezTo>
                  <a:lnTo>
                    <a:pt x="3358365" y="87551"/>
                  </a:lnTo>
                  <a:cubicBezTo>
                    <a:pt x="3358365" y="39198"/>
                    <a:pt x="3397564" y="0"/>
                    <a:pt x="3445917" y="0"/>
                  </a:cubicBezTo>
                  <a:close/>
                </a:path>
              </a:pathLst>
            </a:custGeom>
            <a:solidFill>
              <a:srgbClr val="303030"/>
            </a:solidFill>
            <a:ln w="10795"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2F2F2"/>
                </a:solidFill>
                <a:effectLst/>
                <a:uLnTx/>
                <a:uFillTx/>
                <a:latin typeface="Segoe Semibold"/>
              </a:endParaRPr>
            </a:p>
          </p:txBody>
        </p:sp>
        <p:grpSp>
          <p:nvGrpSpPr>
            <p:cNvPr id="3" name="Clients"/>
            <p:cNvGrpSpPr/>
            <p:nvPr/>
          </p:nvGrpSpPr>
          <p:grpSpPr>
            <a:xfrm>
              <a:off x="2389632" y="67056"/>
              <a:ext cx="6038088" cy="2700525"/>
              <a:chOff x="2389632" y="67056"/>
              <a:chExt cx="6038088" cy="2700525"/>
            </a:xfrm>
          </p:grpSpPr>
          <p:sp>
            <p:nvSpPr>
              <p:cNvPr id="31" name="Rectangle 30"/>
              <p:cNvSpPr/>
              <p:nvPr/>
            </p:nvSpPr>
            <p:spPr bwMode="auto">
              <a:xfrm>
                <a:off x="2389632" y="67056"/>
                <a:ext cx="6038088" cy="1217942"/>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800" dirty="0" smtClean="0">
                    <a:solidFill>
                      <a:schemeClr val="accent6"/>
                    </a:solidFill>
                    <a:ea typeface="Segoe UI" pitchFamily="34" charset="0"/>
                    <a:cs typeface="Segoe UI" pitchFamily="34" charset="0"/>
                  </a:rPr>
                  <a:t>Customers</a:t>
                </a:r>
              </a:p>
              <a:p>
                <a:pPr defTabSz="932472" fontAlgn="base">
                  <a:lnSpc>
                    <a:spcPct val="90000"/>
                  </a:lnSpc>
                  <a:spcBef>
                    <a:spcPct val="0"/>
                  </a:spcBef>
                  <a:spcAft>
                    <a:spcPct val="0"/>
                  </a:spcAft>
                </a:pPr>
                <a:r>
                  <a:rPr lang="en-US" sz="1800" dirty="0" smtClean="0">
                    <a:solidFill>
                      <a:schemeClr val="accent6"/>
                    </a:solidFill>
                    <a:ea typeface="Segoe UI" pitchFamily="34" charset="0"/>
                    <a:cs typeface="Segoe UI" pitchFamily="34" charset="0"/>
                  </a:rPr>
                  <a:t>in field</a:t>
                </a:r>
              </a:p>
            </p:txBody>
          </p:sp>
          <p:grpSp>
            <p:nvGrpSpPr>
              <p:cNvPr id="2" name="Group 1"/>
              <p:cNvGrpSpPr/>
              <p:nvPr/>
            </p:nvGrpSpPr>
            <p:grpSpPr>
              <a:xfrm>
                <a:off x="4888991" y="1409189"/>
                <a:ext cx="2080629" cy="1358392"/>
                <a:chOff x="4888991" y="1237488"/>
                <a:chExt cx="2080629" cy="1889760"/>
              </a:xfrm>
              <a:solidFill>
                <a:schemeClr val="accent3"/>
              </a:solidFill>
            </p:grpSpPr>
            <p:sp>
              <p:nvSpPr>
                <p:cNvPr id="25" name="Down Arrow 24"/>
                <p:cNvSpPr/>
                <p:nvPr/>
              </p:nvSpPr>
              <p:spPr bwMode="auto">
                <a:xfrm>
                  <a:off x="5737281" y="1237488"/>
                  <a:ext cx="384048" cy="1889760"/>
                </a:xfrm>
                <a:prstGeom prst="down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2" name="Down Arrow 41"/>
                <p:cNvSpPr/>
                <p:nvPr/>
              </p:nvSpPr>
              <p:spPr bwMode="auto">
                <a:xfrm>
                  <a:off x="5313136" y="1237488"/>
                  <a:ext cx="384048" cy="1889760"/>
                </a:xfrm>
                <a:prstGeom prst="down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3" name="Down Arrow 42"/>
                <p:cNvSpPr/>
                <p:nvPr/>
              </p:nvSpPr>
              <p:spPr bwMode="auto">
                <a:xfrm>
                  <a:off x="4888991" y="1237488"/>
                  <a:ext cx="384048" cy="1889760"/>
                </a:xfrm>
                <a:prstGeom prst="down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4" name="Down Arrow 43"/>
                <p:cNvSpPr/>
                <p:nvPr/>
              </p:nvSpPr>
              <p:spPr bwMode="auto">
                <a:xfrm>
                  <a:off x="6585572" y="1237488"/>
                  <a:ext cx="384048" cy="1889760"/>
                </a:xfrm>
                <a:prstGeom prst="down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5" name="Down Arrow 44"/>
                <p:cNvSpPr/>
                <p:nvPr/>
              </p:nvSpPr>
              <p:spPr bwMode="auto">
                <a:xfrm>
                  <a:off x="6161426" y="1237488"/>
                  <a:ext cx="384048" cy="1889760"/>
                </a:xfrm>
                <a:prstGeom prst="down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grpSp>
    </p:spTree>
    <p:extLst>
      <p:ext uri="{BB962C8B-B14F-4D97-AF65-F5344CB8AC3E}">
        <p14:creationId xmlns:p14="http://schemas.microsoft.com/office/powerpoint/2010/main" val="34826151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34" grpId="0" animBg="1"/>
      <p:bldP spid="35" grpId="0" animBg="1"/>
      <p:bldP spid="36"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00088" y="74423"/>
            <a:ext cx="5388737" cy="899665"/>
          </a:xfrm>
        </p:spPr>
        <p:txBody>
          <a:bodyPr/>
          <a:lstStyle/>
          <a:p>
            <a:r>
              <a:rPr lang="en-US" dirty="0" smtClean="0"/>
              <a:t>Scenario #1: Lift and Shift</a:t>
            </a:r>
            <a:endParaRPr lang="en-US" dirty="0"/>
          </a:p>
        </p:txBody>
      </p:sp>
      <p:grpSp>
        <p:nvGrpSpPr>
          <p:cNvPr id="4" name="Group 3"/>
          <p:cNvGrpSpPr/>
          <p:nvPr/>
        </p:nvGrpSpPr>
        <p:grpSpPr>
          <a:xfrm>
            <a:off x="2944368" y="2901696"/>
            <a:ext cx="2468880" cy="3694176"/>
            <a:chOff x="4724400" y="2901696"/>
            <a:chExt cx="2468880" cy="3694176"/>
          </a:xfrm>
        </p:grpSpPr>
        <p:grpSp>
          <p:nvGrpSpPr>
            <p:cNvPr id="5" name="Group 4"/>
            <p:cNvGrpSpPr/>
            <p:nvPr/>
          </p:nvGrpSpPr>
          <p:grpSpPr>
            <a:xfrm>
              <a:off x="5153230" y="3291840"/>
              <a:ext cx="1680386" cy="2438400"/>
              <a:chOff x="4680790" y="3291840"/>
              <a:chExt cx="1680386" cy="2438400"/>
            </a:xfrm>
          </p:grpSpPr>
          <p:sp>
            <p:nvSpPr>
              <p:cNvPr id="7" name="Rectangle 6"/>
              <p:cNvSpPr/>
              <p:nvPr/>
            </p:nvSpPr>
            <p:spPr bwMode="auto">
              <a:xfrm>
                <a:off x="4680790" y="3291840"/>
                <a:ext cx="1680386" cy="11216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Web</a:t>
                </a:r>
              </a:p>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Server</a:t>
                </a:r>
              </a:p>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4 core VM)</a:t>
                </a:r>
              </a:p>
            </p:txBody>
          </p:sp>
          <p:sp>
            <p:nvSpPr>
              <p:cNvPr id="8" name="Rectangle 7"/>
              <p:cNvSpPr/>
              <p:nvPr/>
            </p:nvSpPr>
            <p:spPr bwMode="auto">
              <a:xfrm>
                <a:off x="4680790" y="4578096"/>
                <a:ext cx="1680386" cy="115214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SQL</a:t>
                </a:r>
              </a:p>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Server</a:t>
                </a:r>
              </a:p>
              <a:p>
                <a:pPr algn="ctr" defTabSz="932472" fontAlgn="base">
                  <a:lnSpc>
                    <a:spcPct val="90000"/>
                  </a:lnSpc>
                  <a:spcBef>
                    <a:spcPct val="0"/>
                  </a:spcBef>
                  <a:spcAft>
                    <a:spcPct val="0"/>
                  </a:spcAft>
                </a:pPr>
                <a:r>
                  <a:rPr lang="en-US" sz="1800" dirty="0">
                    <a:gradFill>
                      <a:gsLst>
                        <a:gs pos="0">
                          <a:srgbClr val="FFFFFF"/>
                        </a:gs>
                        <a:gs pos="100000">
                          <a:srgbClr val="FFFFFF"/>
                        </a:gs>
                      </a:gsLst>
                      <a:lin ang="5400000" scaled="0"/>
                    </a:gradFill>
                    <a:ea typeface="Segoe UI" pitchFamily="34" charset="0"/>
                    <a:cs typeface="Segoe UI" pitchFamily="34" charset="0"/>
                  </a:rPr>
                  <a:t>(</a:t>
                </a:r>
                <a:r>
                  <a:rPr lang="en-US" sz="1800" dirty="0" smtClean="0">
                    <a:gradFill>
                      <a:gsLst>
                        <a:gs pos="0">
                          <a:srgbClr val="FFFFFF"/>
                        </a:gs>
                        <a:gs pos="100000">
                          <a:srgbClr val="FFFFFF"/>
                        </a:gs>
                      </a:gsLst>
                      <a:lin ang="5400000" scaled="0"/>
                    </a:gradFill>
                    <a:ea typeface="Segoe UI" pitchFamily="34" charset="0"/>
                    <a:cs typeface="Segoe UI" pitchFamily="34" charset="0"/>
                  </a:rPr>
                  <a:t>4 cores VM)</a:t>
                </a:r>
                <a:endParaRPr lang="en-US" sz="18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6" name="Rectangle 5"/>
            <p:cNvSpPr/>
            <p:nvPr/>
          </p:nvSpPr>
          <p:spPr bwMode="auto">
            <a:xfrm>
              <a:off x="4724400" y="2901696"/>
              <a:ext cx="2468880" cy="3694176"/>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solidFill>
                    <a:schemeClr val="accent6"/>
                  </a:solidFill>
                  <a:ea typeface="Segoe UI" pitchFamily="34" charset="0"/>
                  <a:cs typeface="Segoe UI" pitchFamily="34" charset="0"/>
                </a:rPr>
                <a:t>Windows Azure</a:t>
              </a:r>
            </a:p>
          </p:txBody>
        </p:sp>
      </p:grpSp>
      <p:sp>
        <p:nvSpPr>
          <p:cNvPr id="37" name="TextBox 36"/>
          <p:cNvSpPr txBox="1"/>
          <p:nvPr/>
        </p:nvSpPr>
        <p:spPr>
          <a:xfrm>
            <a:off x="6089903" y="1761744"/>
            <a:ext cx="4939942" cy="1957459"/>
          </a:xfrm>
          <a:prstGeom prst="rect">
            <a:avLst/>
          </a:prstGeom>
          <a:noFill/>
        </p:spPr>
        <p:txBody>
          <a:bodyPr wrap="none" lIns="182880" tIns="146304" rIns="182880" bIns="146304" rtlCol="0">
            <a:spAutoFit/>
          </a:bodyPr>
          <a:lstStyle/>
          <a:p>
            <a:pPr marL="342900" indent="-342900">
              <a:lnSpc>
                <a:spcPct val="90000"/>
              </a:lnSpc>
              <a:buFontTx/>
              <a:buChar char="-"/>
            </a:pPr>
            <a:r>
              <a:rPr lang="en-US" sz="2400" dirty="0" smtClean="0">
                <a:gradFill>
                  <a:gsLst>
                    <a:gs pos="2917">
                      <a:schemeClr val="tx1"/>
                    </a:gs>
                    <a:gs pos="30000">
                      <a:schemeClr val="tx1"/>
                    </a:gs>
                  </a:gsLst>
                  <a:lin ang="5400000" scaled="0"/>
                </a:gradFill>
              </a:rPr>
              <a:t>Simple to migrate</a:t>
            </a:r>
          </a:p>
          <a:p>
            <a:pPr marL="342900" indent="-342900">
              <a:lnSpc>
                <a:spcPct val="90000"/>
              </a:lnSpc>
              <a:buFontTx/>
              <a:buChar char="-"/>
            </a:pPr>
            <a:r>
              <a:rPr lang="en-US" sz="2400" dirty="0" smtClean="0">
                <a:gradFill>
                  <a:gsLst>
                    <a:gs pos="2917">
                      <a:schemeClr val="tx1"/>
                    </a:gs>
                    <a:gs pos="30000">
                      <a:schemeClr val="tx1"/>
                    </a:gs>
                  </a:gsLst>
                  <a:lin ang="5400000" scaled="0"/>
                </a:gradFill>
              </a:rPr>
              <a:t>Can easily scale vertically</a:t>
            </a:r>
          </a:p>
          <a:p>
            <a:pPr marL="342900" indent="-342900">
              <a:lnSpc>
                <a:spcPct val="90000"/>
              </a:lnSpc>
              <a:buFontTx/>
              <a:buChar char="-"/>
            </a:pPr>
            <a:r>
              <a:rPr lang="en-US" sz="2400" dirty="0" smtClean="0">
                <a:gradFill>
                  <a:gsLst>
                    <a:gs pos="2917">
                      <a:schemeClr val="tx1"/>
                    </a:gs>
                    <a:gs pos="30000">
                      <a:schemeClr val="tx1"/>
                    </a:gs>
                  </a:gsLst>
                  <a:lin ang="5400000" scaled="0"/>
                </a:gradFill>
              </a:rPr>
              <a:t>Still managing all infrastructure</a:t>
            </a:r>
          </a:p>
          <a:p>
            <a:pPr marL="342900" indent="-342900">
              <a:lnSpc>
                <a:spcPct val="90000"/>
              </a:lnSpc>
              <a:buFontTx/>
              <a:buChar char="-"/>
            </a:pPr>
            <a:r>
              <a:rPr lang="en-US" sz="2400" dirty="0" smtClean="0">
                <a:gradFill>
                  <a:gsLst>
                    <a:gs pos="2917">
                      <a:schemeClr val="tx1"/>
                    </a:gs>
                    <a:gs pos="30000">
                      <a:schemeClr val="tx1"/>
                    </a:gs>
                  </a:gsLst>
                  <a:lin ang="5400000" scaled="0"/>
                </a:gradFill>
              </a:rPr>
              <a:t>Easy to come back if not happy</a:t>
            </a:r>
          </a:p>
          <a:p>
            <a:pPr marL="342900" indent="-342900">
              <a:lnSpc>
                <a:spcPct val="90000"/>
              </a:lnSpc>
              <a:buFontTx/>
              <a:buChar char="-"/>
            </a:pPr>
            <a:endParaRPr lang="en-US" sz="2400" dirty="0" smtClean="0">
              <a:gradFill>
                <a:gsLst>
                  <a:gs pos="2917">
                    <a:schemeClr val="tx1"/>
                  </a:gs>
                  <a:gs pos="30000">
                    <a:schemeClr val="tx1"/>
                  </a:gs>
                </a:gsLst>
                <a:lin ang="5400000" scaled="0"/>
              </a:gradFill>
            </a:endParaRPr>
          </a:p>
        </p:txBody>
      </p:sp>
      <p:sp>
        <p:nvSpPr>
          <p:cNvPr id="38" name="TextBox 37"/>
          <p:cNvSpPr txBox="1"/>
          <p:nvPr/>
        </p:nvSpPr>
        <p:spPr>
          <a:xfrm>
            <a:off x="5482413" y="3852672"/>
            <a:ext cx="6275885" cy="3287054"/>
          </a:xfrm>
          <a:prstGeom prst="rect">
            <a:avLst/>
          </a:prstGeom>
          <a:noFill/>
        </p:spPr>
        <p:txBody>
          <a:bodyPr wrap="none" lIns="182880" tIns="146304" rIns="182880" bIns="146304" rtlCol="0">
            <a:spAutoFit/>
          </a:bodyPr>
          <a:lstStyle/>
          <a:p>
            <a:pPr marL="342900" indent="-342900">
              <a:lnSpc>
                <a:spcPct val="90000"/>
              </a:lnSpc>
              <a:buFontTx/>
              <a:buChar char="-"/>
            </a:pPr>
            <a:r>
              <a:rPr lang="en-US" sz="2400" dirty="0" smtClean="0">
                <a:gradFill>
                  <a:gsLst>
                    <a:gs pos="2917">
                      <a:schemeClr val="tx1"/>
                    </a:gs>
                    <a:gs pos="30000">
                      <a:schemeClr val="tx1"/>
                    </a:gs>
                  </a:gsLst>
                  <a:lin ang="5400000" scaled="0"/>
                </a:gradFill>
              </a:rPr>
              <a:t>Two </a:t>
            </a:r>
            <a:r>
              <a:rPr lang="en-US" sz="2400" dirty="0">
                <a:gradFill>
                  <a:gsLst>
                    <a:gs pos="2917">
                      <a:schemeClr val="tx1"/>
                    </a:gs>
                    <a:gs pos="30000">
                      <a:schemeClr val="tx1"/>
                    </a:gs>
                  </a:gsLst>
                  <a:lin ang="5400000" scaled="0"/>
                </a:gradFill>
              </a:rPr>
              <a:t>Large (four core) servers: </a:t>
            </a:r>
            <a:endParaRPr lang="en-US" sz="2400" dirty="0" smtClean="0">
              <a:gradFill>
                <a:gsLst>
                  <a:gs pos="2917">
                    <a:schemeClr val="tx1"/>
                  </a:gs>
                  <a:gs pos="30000">
                    <a:schemeClr val="tx1"/>
                  </a:gs>
                </a:gsLst>
                <a:lin ang="5400000" scaled="0"/>
              </a:gradFill>
            </a:endParaRPr>
          </a:p>
          <a:p>
            <a:pPr marL="799705" lvl="1" indent="-342900">
              <a:lnSpc>
                <a:spcPct val="90000"/>
              </a:lnSpc>
              <a:buFontTx/>
              <a:buChar char="-"/>
            </a:pPr>
            <a:r>
              <a:rPr lang="en-US" sz="2400" dirty="0" smtClean="0">
                <a:gradFill>
                  <a:gsLst>
                    <a:gs pos="2917">
                      <a:schemeClr val="tx1"/>
                    </a:gs>
                    <a:gs pos="30000">
                      <a:schemeClr val="tx1"/>
                    </a:gs>
                  </a:gsLst>
                  <a:lin ang="5400000" scaled="0"/>
                </a:gradFill>
              </a:rPr>
              <a:t>$</a:t>
            </a:r>
            <a:r>
              <a:rPr lang="en-US" sz="2400" dirty="0">
                <a:gradFill>
                  <a:gsLst>
                    <a:gs pos="2917">
                      <a:schemeClr val="tx1"/>
                    </a:gs>
                    <a:gs pos="30000">
                      <a:schemeClr val="tx1"/>
                    </a:gs>
                  </a:gsLst>
                  <a:lin ang="5400000" scaled="0"/>
                </a:gradFill>
              </a:rPr>
              <a:t>460.80 / </a:t>
            </a:r>
            <a:r>
              <a:rPr lang="en-US" sz="2400" dirty="0" smtClean="0">
                <a:gradFill>
                  <a:gsLst>
                    <a:gs pos="2917">
                      <a:schemeClr val="tx1"/>
                    </a:gs>
                    <a:gs pos="30000">
                      <a:schemeClr val="tx1"/>
                    </a:gs>
                  </a:gsLst>
                  <a:lin ang="5400000" scaled="0"/>
                </a:gradFill>
              </a:rPr>
              <a:t>month</a:t>
            </a:r>
            <a:endParaRPr lang="en-US" sz="2400" dirty="0">
              <a:gradFill>
                <a:gsLst>
                  <a:gs pos="2917">
                    <a:schemeClr val="tx1"/>
                  </a:gs>
                  <a:gs pos="30000">
                    <a:schemeClr val="tx1"/>
                  </a:gs>
                </a:gsLst>
                <a:lin ang="5400000" scaled="0"/>
              </a:gradFill>
            </a:endParaRPr>
          </a:p>
          <a:p>
            <a:pPr marL="342900" indent="-342900">
              <a:lnSpc>
                <a:spcPct val="90000"/>
              </a:lnSpc>
              <a:buFontTx/>
              <a:buChar char="-"/>
            </a:pPr>
            <a:r>
              <a:rPr lang="en-US" sz="2400" dirty="0" smtClean="0">
                <a:gradFill>
                  <a:gsLst>
                    <a:gs pos="2917">
                      <a:schemeClr val="tx1"/>
                    </a:gs>
                    <a:gs pos="30000">
                      <a:schemeClr val="tx1"/>
                    </a:gs>
                  </a:gsLst>
                  <a:lin ang="5400000" scaled="0"/>
                </a:gradFill>
              </a:rPr>
              <a:t>Storage </a:t>
            </a:r>
            <a:r>
              <a:rPr lang="en-US" sz="2400" dirty="0">
                <a:gradFill>
                  <a:gsLst>
                    <a:gs pos="2917">
                      <a:schemeClr val="tx1"/>
                    </a:gs>
                    <a:gs pos="30000">
                      <a:schemeClr val="tx1"/>
                    </a:gs>
                  </a:gsLst>
                  <a:lin ang="5400000" scaled="0"/>
                </a:gradFill>
              </a:rPr>
              <a:t>of </a:t>
            </a:r>
            <a:r>
              <a:rPr lang="en-US" sz="2400" dirty="0" smtClean="0">
                <a:gradFill>
                  <a:gsLst>
                    <a:gs pos="2917">
                      <a:schemeClr val="tx1"/>
                    </a:gs>
                    <a:gs pos="30000">
                      <a:schemeClr val="tx1"/>
                    </a:gs>
                  </a:gsLst>
                  <a:lin ang="5400000" scaled="0"/>
                </a:gradFill>
              </a:rPr>
              <a:t>VHDs </a:t>
            </a:r>
            <a:r>
              <a:rPr lang="en-US" sz="2400" dirty="0">
                <a:gradFill>
                  <a:gsLst>
                    <a:gs pos="2917">
                      <a:schemeClr val="tx1"/>
                    </a:gs>
                    <a:gs pos="30000">
                      <a:schemeClr val="tx1"/>
                    </a:gs>
                  </a:gsLst>
                  <a:lin ang="5400000" scaled="0"/>
                </a:gradFill>
              </a:rPr>
              <a:t>for the servers </a:t>
            </a:r>
            <a:r>
              <a:rPr lang="en-US" sz="2400" dirty="0" smtClean="0">
                <a:gradFill>
                  <a:gsLst>
                    <a:gs pos="2917">
                      <a:schemeClr val="tx1"/>
                    </a:gs>
                    <a:gs pos="30000">
                      <a:schemeClr val="tx1"/>
                    </a:gs>
                  </a:gsLst>
                  <a:lin ang="5400000" scaled="0"/>
                </a:gradFill>
              </a:rPr>
              <a:t>(~50GB</a:t>
            </a:r>
            <a:r>
              <a:rPr lang="en-US" sz="2400" dirty="0">
                <a:gradFill>
                  <a:gsLst>
                    <a:gs pos="2917">
                      <a:schemeClr val="tx1"/>
                    </a:gs>
                    <a:gs pos="30000">
                      <a:schemeClr val="tx1"/>
                    </a:gs>
                  </a:gsLst>
                  <a:lin ang="5400000" scaled="0"/>
                </a:gradFill>
              </a:rPr>
              <a:t>) </a:t>
            </a:r>
            <a:endParaRPr lang="en-US" sz="2400" dirty="0" smtClean="0">
              <a:gradFill>
                <a:gsLst>
                  <a:gs pos="2917">
                    <a:schemeClr val="tx1"/>
                  </a:gs>
                  <a:gs pos="30000">
                    <a:schemeClr val="tx1"/>
                  </a:gs>
                </a:gsLst>
                <a:lin ang="5400000" scaled="0"/>
              </a:gradFill>
            </a:endParaRPr>
          </a:p>
          <a:p>
            <a:pPr marL="799705" lvl="1" indent="-342900">
              <a:lnSpc>
                <a:spcPct val="90000"/>
              </a:lnSpc>
              <a:buFontTx/>
              <a:buChar char="-"/>
            </a:pPr>
            <a:r>
              <a:rPr lang="en-US" sz="2400" dirty="0" smtClean="0">
                <a:gradFill>
                  <a:gsLst>
                    <a:gs pos="2917">
                      <a:schemeClr val="tx1"/>
                    </a:gs>
                    <a:gs pos="30000">
                      <a:schemeClr val="tx1"/>
                    </a:gs>
                  </a:gsLst>
                  <a:lin ang="5400000" scaled="0"/>
                </a:gradFill>
              </a:rPr>
              <a:t>$</a:t>
            </a:r>
            <a:r>
              <a:rPr lang="en-US" sz="2400" dirty="0">
                <a:gradFill>
                  <a:gsLst>
                    <a:gs pos="2917">
                      <a:schemeClr val="tx1"/>
                    </a:gs>
                    <a:gs pos="30000">
                      <a:schemeClr val="tx1"/>
                    </a:gs>
                  </a:gsLst>
                  <a:lin ang="5400000" scaled="0"/>
                </a:gradFill>
              </a:rPr>
              <a:t>4.75 / </a:t>
            </a:r>
            <a:r>
              <a:rPr lang="en-US" sz="2400" dirty="0" smtClean="0">
                <a:gradFill>
                  <a:gsLst>
                    <a:gs pos="2917">
                      <a:schemeClr val="tx1"/>
                    </a:gs>
                    <a:gs pos="30000">
                      <a:schemeClr val="tx1"/>
                    </a:gs>
                  </a:gsLst>
                  <a:lin ang="5400000" scaled="0"/>
                </a:gradFill>
              </a:rPr>
              <a:t>month</a:t>
            </a:r>
            <a:endParaRPr lang="en-US" sz="2400" dirty="0">
              <a:gradFill>
                <a:gsLst>
                  <a:gs pos="2917">
                    <a:schemeClr val="tx1"/>
                  </a:gs>
                  <a:gs pos="30000">
                    <a:schemeClr val="tx1"/>
                  </a:gs>
                </a:gsLst>
                <a:lin ang="5400000" scaled="0"/>
              </a:gradFill>
            </a:endParaRPr>
          </a:p>
          <a:p>
            <a:pPr marL="342900" indent="-342900">
              <a:lnSpc>
                <a:spcPct val="90000"/>
              </a:lnSpc>
              <a:buFontTx/>
              <a:buChar char="-"/>
            </a:pPr>
            <a:r>
              <a:rPr lang="en-US" sz="2400" dirty="0" smtClean="0">
                <a:gradFill>
                  <a:gsLst>
                    <a:gs pos="2917">
                      <a:schemeClr val="tx1"/>
                    </a:gs>
                    <a:gs pos="30000">
                      <a:schemeClr val="tx1"/>
                    </a:gs>
                  </a:gsLst>
                  <a:lin ang="5400000" scaled="0"/>
                </a:gradFill>
              </a:rPr>
              <a:t>Storage </a:t>
            </a:r>
            <a:r>
              <a:rPr lang="en-US" sz="2400" dirty="0" err="1" smtClean="0">
                <a:gradFill>
                  <a:gsLst>
                    <a:gs pos="2917">
                      <a:schemeClr val="tx1"/>
                    </a:gs>
                    <a:gs pos="30000">
                      <a:schemeClr val="tx1"/>
                    </a:gs>
                  </a:gsLst>
                  <a:lin ang="5400000" scaled="0"/>
                </a:gradFill>
              </a:rPr>
              <a:t>txs</a:t>
            </a:r>
            <a:r>
              <a:rPr lang="en-US" sz="2400" dirty="0" smtClean="0">
                <a:gradFill>
                  <a:gsLst>
                    <a:gs pos="2917">
                      <a:schemeClr val="tx1"/>
                    </a:gs>
                    <a:gs pos="30000">
                      <a:schemeClr val="tx1"/>
                    </a:gs>
                  </a:gsLst>
                  <a:lin ang="5400000" scaled="0"/>
                </a:gradFill>
              </a:rPr>
              <a:t> for </a:t>
            </a:r>
            <a:r>
              <a:rPr lang="en-US" sz="2400" dirty="0">
                <a:gradFill>
                  <a:gsLst>
                    <a:gs pos="2917">
                      <a:schemeClr val="tx1"/>
                    </a:gs>
                    <a:gs pos="30000">
                      <a:schemeClr val="tx1"/>
                    </a:gs>
                  </a:gsLst>
                  <a:lin ang="5400000" scaled="0"/>
                </a:gradFill>
              </a:rPr>
              <a:t>VHDs </a:t>
            </a:r>
            <a:r>
              <a:rPr lang="en-US" sz="2400" dirty="0" smtClean="0">
                <a:gradFill>
                  <a:gsLst>
                    <a:gs pos="2917">
                      <a:schemeClr val="tx1"/>
                    </a:gs>
                    <a:gs pos="30000">
                      <a:schemeClr val="tx1"/>
                    </a:gs>
                  </a:gsLst>
                  <a:lin ang="5400000" scaled="0"/>
                </a:gradFill>
              </a:rPr>
              <a:t>(~10 </a:t>
            </a:r>
            <a:r>
              <a:rPr lang="en-US" sz="2400" dirty="0">
                <a:gradFill>
                  <a:gsLst>
                    <a:gs pos="2917">
                      <a:schemeClr val="tx1"/>
                    </a:gs>
                    <a:gs pos="30000">
                      <a:schemeClr val="tx1"/>
                    </a:gs>
                  </a:gsLst>
                  <a:lin ang="5400000" scaled="0"/>
                </a:gradFill>
              </a:rPr>
              <a:t>million</a:t>
            </a:r>
            <a:r>
              <a:rPr lang="en-US" sz="2400" dirty="0" smtClean="0">
                <a:gradFill>
                  <a:gsLst>
                    <a:gs pos="2917">
                      <a:schemeClr val="tx1"/>
                    </a:gs>
                    <a:gs pos="30000">
                      <a:schemeClr val="tx1"/>
                    </a:gs>
                  </a:gsLst>
                  <a:lin ang="5400000" scaled="0"/>
                </a:gradFill>
              </a:rPr>
              <a:t>) </a:t>
            </a:r>
          </a:p>
          <a:p>
            <a:pPr marL="799705" lvl="1" indent="-342900">
              <a:lnSpc>
                <a:spcPct val="90000"/>
              </a:lnSpc>
              <a:buFontTx/>
              <a:buChar char="-"/>
            </a:pPr>
            <a:r>
              <a:rPr lang="en-US" sz="2400" dirty="0" smtClean="0">
                <a:gradFill>
                  <a:gsLst>
                    <a:gs pos="2917">
                      <a:schemeClr val="tx1"/>
                    </a:gs>
                    <a:gs pos="30000">
                      <a:schemeClr val="tx1"/>
                    </a:gs>
                  </a:gsLst>
                  <a:lin ang="5400000" scaled="0"/>
                </a:gradFill>
              </a:rPr>
              <a:t>$</a:t>
            </a:r>
            <a:r>
              <a:rPr lang="en-US" sz="2400" dirty="0">
                <a:gradFill>
                  <a:gsLst>
                    <a:gs pos="2917">
                      <a:schemeClr val="tx1"/>
                    </a:gs>
                    <a:gs pos="30000">
                      <a:schemeClr val="tx1"/>
                    </a:gs>
                  </a:gsLst>
                  <a:lin ang="5400000" scaled="0"/>
                </a:gradFill>
              </a:rPr>
              <a:t>1.00 / </a:t>
            </a:r>
            <a:r>
              <a:rPr lang="en-US" sz="2400" dirty="0" smtClean="0">
                <a:gradFill>
                  <a:gsLst>
                    <a:gs pos="2917">
                      <a:schemeClr val="tx1"/>
                    </a:gs>
                    <a:gs pos="30000">
                      <a:schemeClr val="tx1"/>
                    </a:gs>
                  </a:gsLst>
                  <a:lin ang="5400000" scaled="0"/>
                </a:gradFill>
              </a:rPr>
              <a:t>month</a:t>
            </a:r>
            <a:endParaRPr lang="en-US" sz="2400" dirty="0">
              <a:gradFill>
                <a:gsLst>
                  <a:gs pos="2917">
                    <a:schemeClr val="tx1"/>
                  </a:gs>
                  <a:gs pos="30000">
                    <a:schemeClr val="tx1"/>
                  </a:gs>
                </a:gsLst>
                <a:lin ang="5400000" scaled="0"/>
              </a:gradFill>
            </a:endParaRPr>
          </a:p>
          <a:p>
            <a:pPr>
              <a:lnSpc>
                <a:spcPct val="90000"/>
              </a:lnSpc>
            </a:pPr>
            <a:endParaRPr lang="en-US" sz="2400" dirty="0" smtClean="0">
              <a:gradFill>
                <a:gsLst>
                  <a:gs pos="2917">
                    <a:schemeClr val="tx1"/>
                  </a:gs>
                  <a:gs pos="30000">
                    <a:schemeClr val="tx1"/>
                  </a:gs>
                </a:gsLst>
                <a:lin ang="5400000" scaled="0"/>
              </a:gradFill>
            </a:endParaRPr>
          </a:p>
          <a:p>
            <a:pPr>
              <a:lnSpc>
                <a:spcPct val="90000"/>
              </a:lnSpc>
            </a:pPr>
            <a:r>
              <a:rPr lang="en-US" sz="2400" b="1" dirty="0" smtClean="0">
                <a:gradFill>
                  <a:gsLst>
                    <a:gs pos="2917">
                      <a:schemeClr val="tx1"/>
                    </a:gs>
                    <a:gs pos="30000">
                      <a:schemeClr val="tx1"/>
                    </a:gs>
                  </a:gsLst>
                  <a:lin ang="5400000" scaled="0"/>
                </a:gradFill>
              </a:rPr>
              <a:t>Total</a:t>
            </a:r>
            <a:r>
              <a:rPr lang="en-US" sz="2400" b="1" dirty="0">
                <a:gradFill>
                  <a:gsLst>
                    <a:gs pos="2917">
                      <a:schemeClr val="tx1"/>
                    </a:gs>
                    <a:gs pos="30000">
                      <a:schemeClr val="tx1"/>
                    </a:gs>
                  </a:gsLst>
                  <a:lin ang="5400000" scaled="0"/>
                </a:gradFill>
              </a:rPr>
              <a:t>: About $466.55 / month</a:t>
            </a:r>
          </a:p>
          <a:p>
            <a:pPr>
              <a:lnSpc>
                <a:spcPct val="90000"/>
              </a:lnSpc>
            </a:pPr>
            <a:endParaRPr lang="en-US" sz="2400" dirty="0" smtClean="0">
              <a:gradFill>
                <a:gsLst>
                  <a:gs pos="2917">
                    <a:schemeClr val="tx1"/>
                  </a:gs>
                  <a:gs pos="30000">
                    <a:schemeClr val="tx1"/>
                  </a:gs>
                </a:gsLst>
                <a:lin ang="5400000" scaled="0"/>
              </a:gradFill>
            </a:endParaRPr>
          </a:p>
        </p:txBody>
      </p:sp>
      <p:grpSp>
        <p:nvGrpSpPr>
          <p:cNvPr id="53" name="Customers"/>
          <p:cNvGrpSpPr/>
          <p:nvPr/>
        </p:nvGrpSpPr>
        <p:grpSpPr>
          <a:xfrm>
            <a:off x="425196" y="2767584"/>
            <a:ext cx="2567298" cy="3828287"/>
            <a:chOff x="425196" y="2767584"/>
            <a:chExt cx="2567298" cy="3828287"/>
          </a:xfrm>
        </p:grpSpPr>
        <p:sp>
          <p:nvSpPr>
            <p:cNvPr id="54" name="Rectangle 53"/>
            <p:cNvSpPr/>
            <p:nvPr/>
          </p:nvSpPr>
          <p:spPr bwMode="auto">
            <a:xfrm>
              <a:off x="749808" y="3822192"/>
              <a:ext cx="1414272" cy="755904"/>
            </a:xfrm>
            <a:prstGeom prst="rect">
              <a:avLst/>
            </a:prstGeom>
            <a:solidFill>
              <a:srgbClr val="30303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Customer SQL</a:t>
              </a:r>
              <a:endParaRPr lang="en-US" sz="1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18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54"/>
            <p:cNvSpPr/>
            <p:nvPr/>
          </p:nvSpPr>
          <p:spPr bwMode="auto">
            <a:xfrm>
              <a:off x="749808" y="4727448"/>
              <a:ext cx="1414272" cy="755904"/>
            </a:xfrm>
            <a:prstGeom prst="rect">
              <a:avLst/>
            </a:prstGeom>
            <a:solidFill>
              <a:srgbClr val="30303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Customer SQL</a:t>
              </a:r>
              <a:endParaRPr lang="en-US" sz="1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18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6" name="Rectangle 55"/>
            <p:cNvSpPr/>
            <p:nvPr/>
          </p:nvSpPr>
          <p:spPr bwMode="auto">
            <a:xfrm>
              <a:off x="749808" y="5632704"/>
              <a:ext cx="1414272" cy="755904"/>
            </a:xfrm>
            <a:prstGeom prst="rect">
              <a:avLst/>
            </a:prstGeom>
            <a:solidFill>
              <a:srgbClr val="30303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Customer SQL</a:t>
              </a:r>
              <a:endParaRPr lang="en-US" sz="1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18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7" name="Rectangle 56"/>
            <p:cNvSpPr/>
            <p:nvPr/>
          </p:nvSpPr>
          <p:spPr bwMode="auto">
            <a:xfrm>
              <a:off x="425196" y="2767584"/>
              <a:ext cx="1946148" cy="3828287"/>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solidFill>
                    <a:schemeClr val="accent6"/>
                  </a:solidFill>
                  <a:ea typeface="Segoe UI" pitchFamily="34" charset="0"/>
                  <a:cs typeface="Segoe UI" pitchFamily="34" charset="0"/>
                </a:rPr>
                <a:t>Each customer’s datacenter</a:t>
              </a:r>
            </a:p>
          </p:txBody>
        </p:sp>
        <p:sp>
          <p:nvSpPr>
            <p:cNvPr id="58" name="Down Arrow 57"/>
            <p:cNvSpPr/>
            <p:nvPr/>
          </p:nvSpPr>
          <p:spPr bwMode="auto">
            <a:xfrm rot="16200000">
              <a:off x="2328030" y="4395215"/>
              <a:ext cx="755904" cy="573024"/>
            </a:xfrm>
            <a:prstGeom prst="down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59" name="Clients"/>
          <p:cNvGrpSpPr/>
          <p:nvPr/>
        </p:nvGrpSpPr>
        <p:grpSpPr>
          <a:xfrm>
            <a:off x="749808" y="67056"/>
            <a:ext cx="6038088" cy="2700525"/>
            <a:chOff x="2389632" y="67056"/>
            <a:chExt cx="6038088" cy="2700525"/>
          </a:xfrm>
        </p:grpSpPr>
        <p:sp>
          <p:nvSpPr>
            <p:cNvPr id="60" name="Freeform 59"/>
            <p:cNvSpPr/>
            <p:nvPr/>
          </p:nvSpPr>
          <p:spPr>
            <a:xfrm>
              <a:off x="3873860" y="191247"/>
              <a:ext cx="4480855" cy="880030"/>
            </a:xfrm>
            <a:custGeom>
              <a:avLst/>
              <a:gdLst>
                <a:gd name="connsiteX0" fmla="*/ 1152413 w 8734227"/>
                <a:gd name="connsiteY0" fmla="*/ 1636663 h 1715383"/>
                <a:gd name="connsiteX1" fmla="*/ 1152413 w 8734227"/>
                <a:gd name="connsiteY1" fmla="*/ 1663491 h 1715383"/>
                <a:gd name="connsiteX2" fmla="*/ 1188645 w 8734227"/>
                <a:gd name="connsiteY2" fmla="*/ 1668494 h 1715383"/>
                <a:gd name="connsiteX3" fmla="*/ 1188591 w 8734227"/>
                <a:gd name="connsiteY3" fmla="*/ 1636663 h 1715383"/>
                <a:gd name="connsiteX4" fmla="*/ 1121597 w 8734227"/>
                <a:gd name="connsiteY4" fmla="*/ 1636663 h 1715383"/>
                <a:gd name="connsiteX5" fmla="*/ 1121599 w 8734227"/>
                <a:gd name="connsiteY5" fmla="*/ 1659239 h 1715383"/>
                <a:gd name="connsiteX6" fmla="*/ 1149027 w 8734227"/>
                <a:gd name="connsiteY6" fmla="*/ 1663024 h 1715383"/>
                <a:gd name="connsiteX7" fmla="*/ 1149027 w 8734227"/>
                <a:gd name="connsiteY7" fmla="*/ 1636663 h 1715383"/>
                <a:gd name="connsiteX8" fmla="*/ 5975882 w 8734227"/>
                <a:gd name="connsiteY8" fmla="*/ 1616729 h 1715383"/>
                <a:gd name="connsiteX9" fmla="*/ 5975882 w 8734227"/>
                <a:gd name="connsiteY9" fmla="*/ 1629353 h 1715383"/>
                <a:gd name="connsiteX10" fmla="*/ 6053370 w 8734227"/>
                <a:gd name="connsiteY10" fmla="*/ 1629353 h 1715383"/>
                <a:gd name="connsiteX11" fmla="*/ 6053370 w 8734227"/>
                <a:gd name="connsiteY11" fmla="*/ 1616729 h 1715383"/>
                <a:gd name="connsiteX12" fmla="*/ 8268937 w 8734227"/>
                <a:gd name="connsiteY12" fmla="*/ 1608864 h 1715383"/>
                <a:gd name="connsiteX13" fmla="*/ 8268937 w 8734227"/>
                <a:gd name="connsiteY13" fmla="*/ 1614441 h 1715383"/>
                <a:gd name="connsiteX14" fmla="*/ 8303165 w 8734227"/>
                <a:gd name="connsiteY14" fmla="*/ 1614441 h 1715383"/>
                <a:gd name="connsiteX15" fmla="*/ 8303165 w 8734227"/>
                <a:gd name="connsiteY15" fmla="*/ 1608864 h 1715383"/>
                <a:gd name="connsiteX16" fmla="*/ 1149027 w 8734227"/>
                <a:gd name="connsiteY16" fmla="*/ 1606864 h 1715383"/>
                <a:gd name="connsiteX17" fmla="*/ 1121599 w 8734227"/>
                <a:gd name="connsiteY17" fmla="*/ 1610703 h 1715383"/>
                <a:gd name="connsiteX18" fmla="*/ 1121602 w 8734227"/>
                <a:gd name="connsiteY18" fmla="*/ 1633277 h 1715383"/>
                <a:gd name="connsiteX19" fmla="*/ 1149027 w 8734227"/>
                <a:gd name="connsiteY19" fmla="*/ 1633277 h 1715383"/>
                <a:gd name="connsiteX20" fmla="*/ 4027721 w 8734227"/>
                <a:gd name="connsiteY20" fmla="*/ 1601447 h 1715383"/>
                <a:gd name="connsiteX21" fmla="*/ 3987043 w 8734227"/>
                <a:gd name="connsiteY21" fmla="*/ 1642124 h 1715383"/>
                <a:gd name="connsiteX22" fmla="*/ 4027721 w 8734227"/>
                <a:gd name="connsiteY22" fmla="*/ 1682801 h 1715383"/>
                <a:gd name="connsiteX23" fmla="*/ 4068398 w 8734227"/>
                <a:gd name="connsiteY23" fmla="*/ 1642124 h 1715383"/>
                <a:gd name="connsiteX24" fmla="*/ 4027721 w 8734227"/>
                <a:gd name="connsiteY24" fmla="*/ 1601447 h 1715383"/>
                <a:gd name="connsiteX25" fmla="*/ 1188532 w 8734227"/>
                <a:gd name="connsiteY25" fmla="*/ 1601335 h 1715383"/>
                <a:gd name="connsiteX26" fmla="*/ 1152413 w 8734227"/>
                <a:gd name="connsiteY26" fmla="*/ 1606390 h 1715383"/>
                <a:gd name="connsiteX27" fmla="*/ 1152413 w 8734227"/>
                <a:gd name="connsiteY27" fmla="*/ 1633277 h 1715383"/>
                <a:gd name="connsiteX28" fmla="*/ 1188586 w 8734227"/>
                <a:gd name="connsiteY28" fmla="*/ 1633277 h 1715383"/>
                <a:gd name="connsiteX29" fmla="*/ 8268937 w 8734227"/>
                <a:gd name="connsiteY29" fmla="*/ 1596942 h 1715383"/>
                <a:gd name="connsiteX30" fmla="*/ 8268937 w 8734227"/>
                <a:gd name="connsiteY30" fmla="*/ 1602519 h 1715383"/>
                <a:gd name="connsiteX31" fmla="*/ 8303165 w 8734227"/>
                <a:gd name="connsiteY31" fmla="*/ 1602519 h 1715383"/>
                <a:gd name="connsiteX32" fmla="*/ 8303165 w 8734227"/>
                <a:gd name="connsiteY32" fmla="*/ 1596942 h 1715383"/>
                <a:gd name="connsiteX33" fmla="*/ 2818847 w 8734227"/>
                <a:gd name="connsiteY33" fmla="*/ 1594679 h 1715383"/>
                <a:gd name="connsiteX34" fmla="*/ 2818847 w 8734227"/>
                <a:gd name="connsiteY34" fmla="*/ 1625793 h 1715383"/>
                <a:gd name="connsiteX35" fmla="*/ 2860864 w 8734227"/>
                <a:gd name="connsiteY35" fmla="*/ 1631591 h 1715383"/>
                <a:gd name="connsiteX36" fmla="*/ 2860802 w 8734227"/>
                <a:gd name="connsiteY36" fmla="*/ 1594679 h 1715383"/>
                <a:gd name="connsiteX37" fmla="*/ 2783108 w 8734227"/>
                <a:gd name="connsiteY37" fmla="*/ 1594679 h 1715383"/>
                <a:gd name="connsiteX38" fmla="*/ 2783110 w 8734227"/>
                <a:gd name="connsiteY38" fmla="*/ 1620860 h 1715383"/>
                <a:gd name="connsiteX39" fmla="*/ 2814919 w 8734227"/>
                <a:gd name="connsiteY39" fmla="*/ 1625251 h 1715383"/>
                <a:gd name="connsiteX40" fmla="*/ 2814919 w 8734227"/>
                <a:gd name="connsiteY40" fmla="*/ 1594679 h 1715383"/>
                <a:gd name="connsiteX41" fmla="*/ 8460169 w 8734227"/>
                <a:gd name="connsiteY41" fmla="*/ 1594535 h 1715383"/>
                <a:gd name="connsiteX42" fmla="*/ 8460169 w 8734227"/>
                <a:gd name="connsiteY42" fmla="*/ 1609826 h 1715383"/>
                <a:gd name="connsiteX43" fmla="*/ 8439786 w 8734227"/>
                <a:gd name="connsiteY43" fmla="*/ 1609826 h 1715383"/>
                <a:gd name="connsiteX44" fmla="*/ 8439786 w 8734227"/>
                <a:gd name="connsiteY44" fmla="*/ 1595380 h 1715383"/>
                <a:gd name="connsiteX45" fmla="*/ 8435075 w 8734227"/>
                <a:gd name="connsiteY45" fmla="*/ 1600091 h 1715383"/>
                <a:gd name="connsiteX46" fmla="*/ 8435075 w 8734227"/>
                <a:gd name="connsiteY46" fmla="*/ 1614633 h 1715383"/>
                <a:gd name="connsiteX47" fmla="*/ 8464880 w 8734227"/>
                <a:gd name="connsiteY47" fmla="*/ 1614633 h 1715383"/>
                <a:gd name="connsiteX48" fmla="*/ 8464880 w 8734227"/>
                <a:gd name="connsiteY48" fmla="*/ 1599246 h 1715383"/>
                <a:gd name="connsiteX49" fmla="*/ 6240640 w 8734227"/>
                <a:gd name="connsiteY49" fmla="*/ 1591376 h 1715383"/>
                <a:gd name="connsiteX50" fmla="*/ 6240640 w 8734227"/>
                <a:gd name="connsiteY50" fmla="*/ 1624080 h 1715383"/>
                <a:gd name="connsiteX51" fmla="*/ 6197045 w 8734227"/>
                <a:gd name="connsiteY51" fmla="*/ 1624080 h 1715383"/>
                <a:gd name="connsiteX52" fmla="*/ 6197045 w 8734227"/>
                <a:gd name="connsiteY52" fmla="*/ 1593184 h 1715383"/>
                <a:gd name="connsiteX53" fmla="*/ 6186968 w 8734227"/>
                <a:gd name="connsiteY53" fmla="*/ 1603261 h 1715383"/>
                <a:gd name="connsiteX54" fmla="*/ 6186968 w 8734227"/>
                <a:gd name="connsiteY54" fmla="*/ 1634363 h 1715383"/>
                <a:gd name="connsiteX55" fmla="*/ 6250715 w 8734227"/>
                <a:gd name="connsiteY55" fmla="*/ 1634363 h 1715383"/>
                <a:gd name="connsiteX56" fmla="*/ 6250715 w 8734227"/>
                <a:gd name="connsiteY56" fmla="*/ 1601453 h 1715383"/>
                <a:gd name="connsiteX57" fmla="*/ 5975882 w 8734227"/>
                <a:gd name="connsiteY57" fmla="*/ 1589739 h 1715383"/>
                <a:gd name="connsiteX58" fmla="*/ 5975882 w 8734227"/>
                <a:gd name="connsiteY58" fmla="*/ 1602364 h 1715383"/>
                <a:gd name="connsiteX59" fmla="*/ 6053370 w 8734227"/>
                <a:gd name="connsiteY59" fmla="*/ 1602364 h 1715383"/>
                <a:gd name="connsiteX60" fmla="*/ 6053370 w 8734227"/>
                <a:gd name="connsiteY60" fmla="*/ 1589739 h 1715383"/>
                <a:gd name="connsiteX61" fmla="*/ 8268937 w 8734227"/>
                <a:gd name="connsiteY61" fmla="*/ 1585020 h 1715383"/>
                <a:gd name="connsiteX62" fmla="*/ 8268937 w 8734227"/>
                <a:gd name="connsiteY62" fmla="*/ 1590597 h 1715383"/>
                <a:gd name="connsiteX63" fmla="*/ 8303165 w 8734227"/>
                <a:gd name="connsiteY63" fmla="*/ 1590597 h 1715383"/>
                <a:gd name="connsiteX64" fmla="*/ 8303165 w 8734227"/>
                <a:gd name="connsiteY64" fmla="*/ 1585020 h 1715383"/>
                <a:gd name="connsiteX65" fmla="*/ 8612398 w 8734227"/>
                <a:gd name="connsiteY65" fmla="*/ 1579252 h 1715383"/>
                <a:gd name="connsiteX66" fmla="*/ 8621916 w 8734227"/>
                <a:gd name="connsiteY66" fmla="*/ 1588770 h 1715383"/>
                <a:gd name="connsiteX67" fmla="*/ 8612398 w 8734227"/>
                <a:gd name="connsiteY67" fmla="*/ 1598288 h 1715383"/>
                <a:gd name="connsiteX68" fmla="*/ 8602880 w 8734227"/>
                <a:gd name="connsiteY68" fmla="*/ 1588770 h 1715383"/>
                <a:gd name="connsiteX69" fmla="*/ 8612398 w 8734227"/>
                <a:gd name="connsiteY69" fmla="*/ 1579252 h 1715383"/>
                <a:gd name="connsiteX70" fmla="*/ 8612398 w 8734227"/>
                <a:gd name="connsiteY70" fmla="*/ 1573932 h 1715383"/>
                <a:gd name="connsiteX71" fmla="*/ 8597559 w 8734227"/>
                <a:gd name="connsiteY71" fmla="*/ 1588770 h 1715383"/>
                <a:gd name="connsiteX72" fmla="*/ 8612398 w 8734227"/>
                <a:gd name="connsiteY72" fmla="*/ 1603608 h 1715383"/>
                <a:gd name="connsiteX73" fmla="*/ 8620988 w 8734227"/>
                <a:gd name="connsiteY73" fmla="*/ 1600545 h 1715383"/>
                <a:gd name="connsiteX74" fmla="*/ 8633111 w 8734227"/>
                <a:gd name="connsiteY74" fmla="*/ 1612668 h 1715383"/>
                <a:gd name="connsiteX75" fmla="*/ 8636873 w 8734227"/>
                <a:gd name="connsiteY75" fmla="*/ 1608907 h 1715383"/>
                <a:gd name="connsiteX76" fmla="*/ 8624637 w 8734227"/>
                <a:gd name="connsiteY76" fmla="*/ 1596671 h 1715383"/>
                <a:gd name="connsiteX77" fmla="*/ 8627236 w 8734227"/>
                <a:gd name="connsiteY77" fmla="*/ 1588770 h 1715383"/>
                <a:gd name="connsiteX78" fmla="*/ 8612398 w 8734227"/>
                <a:gd name="connsiteY78" fmla="*/ 1573932 h 1715383"/>
                <a:gd name="connsiteX79" fmla="*/ 8104689 w 8734227"/>
                <a:gd name="connsiteY79" fmla="*/ 1573371 h 1715383"/>
                <a:gd name="connsiteX80" fmla="*/ 8094578 w 8734227"/>
                <a:gd name="connsiteY80" fmla="*/ 1583482 h 1715383"/>
                <a:gd name="connsiteX81" fmla="*/ 8104865 w 8734227"/>
                <a:gd name="connsiteY81" fmla="*/ 1593770 h 1715383"/>
                <a:gd name="connsiteX82" fmla="*/ 8112479 w 8734227"/>
                <a:gd name="connsiteY82" fmla="*/ 1593770 h 1715383"/>
                <a:gd name="connsiteX83" fmla="*/ 8104788 w 8734227"/>
                <a:gd name="connsiteY83" fmla="*/ 1586078 h 1715383"/>
                <a:gd name="connsiteX84" fmla="*/ 8117510 w 8734227"/>
                <a:gd name="connsiteY84" fmla="*/ 1586078 h 1715383"/>
                <a:gd name="connsiteX85" fmla="*/ 8129144 w 8734227"/>
                <a:gd name="connsiteY85" fmla="*/ 1597712 h 1715383"/>
                <a:gd name="connsiteX86" fmla="*/ 8117510 w 8734227"/>
                <a:gd name="connsiteY86" fmla="*/ 1609345 h 1715383"/>
                <a:gd name="connsiteX87" fmla="*/ 8101646 w 8734227"/>
                <a:gd name="connsiteY87" fmla="*/ 1609345 h 1715383"/>
                <a:gd name="connsiteX88" fmla="*/ 8101646 w 8734227"/>
                <a:gd name="connsiteY88" fmla="*/ 1614633 h 1715383"/>
                <a:gd name="connsiteX89" fmla="*/ 8118183 w 8734227"/>
                <a:gd name="connsiteY89" fmla="*/ 1614633 h 1715383"/>
                <a:gd name="connsiteX90" fmla="*/ 8135104 w 8734227"/>
                <a:gd name="connsiteY90" fmla="*/ 1597711 h 1715383"/>
                <a:gd name="connsiteX91" fmla="*/ 8118183 w 8734227"/>
                <a:gd name="connsiteY91" fmla="*/ 1580790 h 1715383"/>
                <a:gd name="connsiteX92" fmla="*/ 8104884 w 8734227"/>
                <a:gd name="connsiteY92" fmla="*/ 1580790 h 1715383"/>
                <a:gd name="connsiteX93" fmla="*/ 8112303 w 8734227"/>
                <a:gd name="connsiteY93" fmla="*/ 1573371 h 1715383"/>
                <a:gd name="connsiteX94" fmla="*/ 8255477 w 8734227"/>
                <a:gd name="connsiteY94" fmla="*/ 1573098 h 1715383"/>
                <a:gd name="connsiteX95" fmla="*/ 8255477 w 8734227"/>
                <a:gd name="connsiteY95" fmla="*/ 1578675 h 1715383"/>
                <a:gd name="connsiteX96" fmla="*/ 8303165 w 8734227"/>
                <a:gd name="connsiteY96" fmla="*/ 1578675 h 1715383"/>
                <a:gd name="connsiteX97" fmla="*/ 8303165 w 8734227"/>
                <a:gd name="connsiteY97" fmla="*/ 1573098 h 1715383"/>
                <a:gd name="connsiteX98" fmla="*/ 8450362 w 8734227"/>
                <a:gd name="connsiteY98" fmla="*/ 1572906 h 1715383"/>
                <a:gd name="connsiteX99" fmla="*/ 8439786 w 8734227"/>
                <a:gd name="connsiteY99" fmla="*/ 1583482 h 1715383"/>
                <a:gd name="connsiteX100" fmla="*/ 8439786 w 8734227"/>
                <a:gd name="connsiteY100" fmla="*/ 1583447 h 1715383"/>
                <a:gd name="connsiteX101" fmla="*/ 8435075 w 8734227"/>
                <a:gd name="connsiteY101" fmla="*/ 1588158 h 1715383"/>
                <a:gd name="connsiteX102" fmla="*/ 8435075 w 8734227"/>
                <a:gd name="connsiteY102" fmla="*/ 1588193 h 1715383"/>
                <a:gd name="connsiteX103" fmla="*/ 8425148 w 8734227"/>
                <a:gd name="connsiteY103" fmla="*/ 1598120 h 1715383"/>
                <a:gd name="connsiteX104" fmla="*/ 8429121 w 8734227"/>
                <a:gd name="connsiteY104" fmla="*/ 1602092 h 1715383"/>
                <a:gd name="connsiteX105" fmla="*/ 8450362 w 8734227"/>
                <a:gd name="connsiteY105" fmla="*/ 1580852 h 1715383"/>
                <a:gd name="connsiteX106" fmla="*/ 8450418 w 8734227"/>
                <a:gd name="connsiteY106" fmla="*/ 1580908 h 1715383"/>
                <a:gd name="connsiteX107" fmla="*/ 8450438 w 8734227"/>
                <a:gd name="connsiteY107" fmla="*/ 1580888 h 1715383"/>
                <a:gd name="connsiteX108" fmla="*/ 8471671 w 8734227"/>
                <a:gd name="connsiteY108" fmla="*/ 1602122 h 1715383"/>
                <a:gd name="connsiteX109" fmla="*/ 8475624 w 8734227"/>
                <a:gd name="connsiteY109" fmla="*/ 1598168 h 1715383"/>
                <a:gd name="connsiteX110" fmla="*/ 8464880 w 8734227"/>
                <a:gd name="connsiteY110" fmla="*/ 1587424 h 1715383"/>
                <a:gd name="connsiteX111" fmla="*/ 8464880 w 8734227"/>
                <a:gd name="connsiteY111" fmla="*/ 1574444 h 1715383"/>
                <a:gd name="connsiteX112" fmla="*/ 8460169 w 8734227"/>
                <a:gd name="connsiteY112" fmla="*/ 1574444 h 1715383"/>
                <a:gd name="connsiteX113" fmla="*/ 8460169 w 8734227"/>
                <a:gd name="connsiteY113" fmla="*/ 1582713 h 1715383"/>
                <a:gd name="connsiteX114" fmla="*/ 3085285 w 8734227"/>
                <a:gd name="connsiteY114" fmla="*/ 1568490 h 1715383"/>
                <a:gd name="connsiteX115" fmla="*/ 3102553 w 8734227"/>
                <a:gd name="connsiteY115" fmla="*/ 1585759 h 1715383"/>
                <a:gd name="connsiteX116" fmla="*/ 3085285 w 8734227"/>
                <a:gd name="connsiteY116" fmla="*/ 1603029 h 1715383"/>
                <a:gd name="connsiteX117" fmla="*/ 3068014 w 8734227"/>
                <a:gd name="connsiteY117" fmla="*/ 1585759 h 1715383"/>
                <a:gd name="connsiteX118" fmla="*/ 3085285 w 8734227"/>
                <a:gd name="connsiteY118" fmla="*/ 1568490 h 1715383"/>
                <a:gd name="connsiteX119" fmla="*/ 5975882 w 8734227"/>
                <a:gd name="connsiteY119" fmla="*/ 1562748 h 1715383"/>
                <a:gd name="connsiteX120" fmla="*/ 5975882 w 8734227"/>
                <a:gd name="connsiteY120" fmla="*/ 1575374 h 1715383"/>
                <a:gd name="connsiteX121" fmla="*/ 6053370 w 8734227"/>
                <a:gd name="connsiteY121" fmla="*/ 1575374 h 1715383"/>
                <a:gd name="connsiteX122" fmla="*/ 6053370 w 8734227"/>
                <a:gd name="connsiteY122" fmla="*/ 1562748 h 1715383"/>
                <a:gd name="connsiteX123" fmla="*/ 2566537 w 8734227"/>
                <a:gd name="connsiteY123" fmla="*/ 1561821 h 1715383"/>
                <a:gd name="connsiteX124" fmla="*/ 2541313 w 8734227"/>
                <a:gd name="connsiteY124" fmla="*/ 1590869 h 1715383"/>
                <a:gd name="connsiteX125" fmla="*/ 2566537 w 8734227"/>
                <a:gd name="connsiteY125" fmla="*/ 1621153 h 1715383"/>
                <a:gd name="connsiteX126" fmla="*/ 2582362 w 8734227"/>
                <a:gd name="connsiteY126" fmla="*/ 1621153 h 1715383"/>
                <a:gd name="connsiteX127" fmla="*/ 2563569 w 8734227"/>
                <a:gd name="connsiteY127" fmla="*/ 1598903 h 1715383"/>
                <a:gd name="connsiteX128" fmla="*/ 2606103 w 8734227"/>
                <a:gd name="connsiteY128" fmla="*/ 1598903 h 1715383"/>
                <a:gd name="connsiteX129" fmla="*/ 2606103 w 8734227"/>
                <a:gd name="connsiteY129" fmla="*/ 1583453 h 1715383"/>
                <a:gd name="connsiteX130" fmla="*/ 2563569 w 8734227"/>
                <a:gd name="connsiteY130" fmla="*/ 1583453 h 1715383"/>
                <a:gd name="connsiteX131" fmla="*/ 2582362 w 8734227"/>
                <a:gd name="connsiteY131" fmla="*/ 1561821 h 1715383"/>
                <a:gd name="connsiteX132" fmla="*/ 2814919 w 8734227"/>
                <a:gd name="connsiteY132" fmla="*/ 1560122 h 1715383"/>
                <a:gd name="connsiteX133" fmla="*/ 2783110 w 8734227"/>
                <a:gd name="connsiteY133" fmla="*/ 1564573 h 1715383"/>
                <a:gd name="connsiteX134" fmla="*/ 2783116 w 8734227"/>
                <a:gd name="connsiteY134" fmla="*/ 1590755 h 1715383"/>
                <a:gd name="connsiteX135" fmla="*/ 2814919 w 8734227"/>
                <a:gd name="connsiteY135" fmla="*/ 1590755 h 1715383"/>
                <a:gd name="connsiteX136" fmla="*/ 3085194 w 8734227"/>
                <a:gd name="connsiteY136" fmla="*/ 1559855 h 1715383"/>
                <a:gd name="connsiteX137" fmla="*/ 3059291 w 8734227"/>
                <a:gd name="connsiteY137" fmla="*/ 1585759 h 1715383"/>
                <a:gd name="connsiteX138" fmla="*/ 3062416 w 8734227"/>
                <a:gd name="connsiteY138" fmla="*/ 1597850 h 1715383"/>
                <a:gd name="connsiteX139" fmla="*/ 3038712 w 8734227"/>
                <a:gd name="connsiteY139" fmla="*/ 1621553 h 1715383"/>
                <a:gd name="connsiteX140" fmla="*/ 3038712 w 8734227"/>
                <a:gd name="connsiteY140" fmla="*/ 1625623 h 1715383"/>
                <a:gd name="connsiteX141" fmla="*/ 3046852 w 8734227"/>
                <a:gd name="connsiteY141" fmla="*/ 1633764 h 1715383"/>
                <a:gd name="connsiteX142" fmla="*/ 3050925 w 8734227"/>
                <a:gd name="connsiteY142" fmla="*/ 1633764 h 1715383"/>
                <a:gd name="connsiteX143" fmla="*/ 3075079 w 8734227"/>
                <a:gd name="connsiteY143" fmla="*/ 1609610 h 1715383"/>
                <a:gd name="connsiteX144" fmla="*/ 3085194 w 8734227"/>
                <a:gd name="connsiteY144" fmla="*/ 1611663 h 1715383"/>
                <a:gd name="connsiteX145" fmla="*/ 3111099 w 8734227"/>
                <a:gd name="connsiteY145" fmla="*/ 1585759 h 1715383"/>
                <a:gd name="connsiteX146" fmla="*/ 3085194 w 8734227"/>
                <a:gd name="connsiteY146" fmla="*/ 1559855 h 1715383"/>
                <a:gd name="connsiteX147" fmla="*/ 2860734 w 8734227"/>
                <a:gd name="connsiteY147" fmla="*/ 1553710 h 1715383"/>
                <a:gd name="connsiteX148" fmla="*/ 2818847 w 8734227"/>
                <a:gd name="connsiteY148" fmla="*/ 1559572 h 1715383"/>
                <a:gd name="connsiteX149" fmla="*/ 2818847 w 8734227"/>
                <a:gd name="connsiteY149" fmla="*/ 1590755 h 1715383"/>
                <a:gd name="connsiteX150" fmla="*/ 2860797 w 8734227"/>
                <a:gd name="connsiteY150" fmla="*/ 1590755 h 1715383"/>
                <a:gd name="connsiteX151" fmla="*/ 6408449 w 8734227"/>
                <a:gd name="connsiteY151" fmla="*/ 1550368 h 1715383"/>
                <a:gd name="connsiteX152" fmla="*/ 6434588 w 8734227"/>
                <a:gd name="connsiteY152" fmla="*/ 1576506 h 1715383"/>
                <a:gd name="connsiteX153" fmla="*/ 6408449 w 8734227"/>
                <a:gd name="connsiteY153" fmla="*/ 1602645 h 1715383"/>
                <a:gd name="connsiteX154" fmla="*/ 6382311 w 8734227"/>
                <a:gd name="connsiteY154" fmla="*/ 1576506 h 1715383"/>
                <a:gd name="connsiteX155" fmla="*/ 6408449 w 8734227"/>
                <a:gd name="connsiteY155" fmla="*/ 1550368 h 1715383"/>
                <a:gd name="connsiteX156" fmla="*/ 6219663 w 8734227"/>
                <a:gd name="connsiteY156" fmla="*/ 1545115 h 1715383"/>
                <a:gd name="connsiteX157" fmla="*/ 6197045 w 8734227"/>
                <a:gd name="connsiteY157" fmla="*/ 1567734 h 1715383"/>
                <a:gd name="connsiteX158" fmla="*/ 6197045 w 8734227"/>
                <a:gd name="connsiteY158" fmla="*/ 1567661 h 1715383"/>
                <a:gd name="connsiteX159" fmla="*/ 6186968 w 8734227"/>
                <a:gd name="connsiteY159" fmla="*/ 1577738 h 1715383"/>
                <a:gd name="connsiteX160" fmla="*/ 6186968 w 8734227"/>
                <a:gd name="connsiteY160" fmla="*/ 1577811 h 1715383"/>
                <a:gd name="connsiteX161" fmla="*/ 6165737 w 8734227"/>
                <a:gd name="connsiteY161" fmla="*/ 1599043 h 1715383"/>
                <a:gd name="connsiteX162" fmla="*/ 6174233 w 8734227"/>
                <a:gd name="connsiteY162" fmla="*/ 1607540 h 1715383"/>
                <a:gd name="connsiteX163" fmla="*/ 6219663 w 8734227"/>
                <a:gd name="connsiteY163" fmla="*/ 1562110 h 1715383"/>
                <a:gd name="connsiteX164" fmla="*/ 6219784 w 8734227"/>
                <a:gd name="connsiteY164" fmla="*/ 1562231 h 1715383"/>
                <a:gd name="connsiteX165" fmla="*/ 6219828 w 8734227"/>
                <a:gd name="connsiteY165" fmla="*/ 1562188 h 1715383"/>
                <a:gd name="connsiteX166" fmla="*/ 6265241 w 8734227"/>
                <a:gd name="connsiteY166" fmla="*/ 1607603 h 1715383"/>
                <a:gd name="connsiteX167" fmla="*/ 6273696 w 8734227"/>
                <a:gd name="connsiteY167" fmla="*/ 1599147 h 1715383"/>
                <a:gd name="connsiteX168" fmla="*/ 6250715 w 8734227"/>
                <a:gd name="connsiteY168" fmla="*/ 1576167 h 1715383"/>
                <a:gd name="connsiteX169" fmla="*/ 6250715 w 8734227"/>
                <a:gd name="connsiteY169" fmla="*/ 1548405 h 1715383"/>
                <a:gd name="connsiteX170" fmla="*/ 6240640 w 8734227"/>
                <a:gd name="connsiteY170" fmla="*/ 1548405 h 1715383"/>
                <a:gd name="connsiteX171" fmla="*/ 6240640 w 8734227"/>
                <a:gd name="connsiteY171" fmla="*/ 1566092 h 1715383"/>
                <a:gd name="connsiteX172" fmla="*/ 6408449 w 8734227"/>
                <a:gd name="connsiteY172" fmla="*/ 1535759 h 1715383"/>
                <a:gd name="connsiteX173" fmla="*/ 6367702 w 8734227"/>
                <a:gd name="connsiteY173" fmla="*/ 1576506 h 1715383"/>
                <a:gd name="connsiteX174" fmla="*/ 6408449 w 8734227"/>
                <a:gd name="connsiteY174" fmla="*/ 1617255 h 1715383"/>
                <a:gd name="connsiteX175" fmla="*/ 6432040 w 8734227"/>
                <a:gd name="connsiteY175" fmla="*/ 1608842 h 1715383"/>
                <a:gd name="connsiteX176" fmla="*/ 6465332 w 8734227"/>
                <a:gd name="connsiteY176" fmla="*/ 1642134 h 1715383"/>
                <a:gd name="connsiteX177" fmla="*/ 6475661 w 8734227"/>
                <a:gd name="connsiteY177" fmla="*/ 1631804 h 1715383"/>
                <a:gd name="connsiteX178" fmla="*/ 6442062 w 8734227"/>
                <a:gd name="connsiteY178" fmla="*/ 1598203 h 1715383"/>
                <a:gd name="connsiteX179" fmla="*/ 6449198 w 8734227"/>
                <a:gd name="connsiteY179" fmla="*/ 1576506 h 1715383"/>
                <a:gd name="connsiteX180" fmla="*/ 6408449 w 8734227"/>
                <a:gd name="connsiteY180" fmla="*/ 1535759 h 1715383"/>
                <a:gd name="connsiteX181" fmla="*/ 5945410 w 8734227"/>
                <a:gd name="connsiteY181" fmla="*/ 1535759 h 1715383"/>
                <a:gd name="connsiteX182" fmla="*/ 5945410 w 8734227"/>
                <a:gd name="connsiteY182" fmla="*/ 1548383 h 1715383"/>
                <a:gd name="connsiteX183" fmla="*/ 6053370 w 8734227"/>
                <a:gd name="connsiteY183" fmla="*/ 1548383 h 1715383"/>
                <a:gd name="connsiteX184" fmla="*/ 6053370 w 8734227"/>
                <a:gd name="connsiteY184" fmla="*/ 1535759 h 1715383"/>
                <a:gd name="connsiteX185" fmla="*/ 5791471 w 8734227"/>
                <a:gd name="connsiteY185" fmla="*/ 1535759 h 1715383"/>
                <a:gd name="connsiteX186" fmla="*/ 5765016 w 8734227"/>
                <a:gd name="connsiteY186" fmla="*/ 1562214 h 1715383"/>
                <a:gd name="connsiteX187" fmla="*/ 5791932 w 8734227"/>
                <a:gd name="connsiteY187" fmla="*/ 1589132 h 1715383"/>
                <a:gd name="connsiteX188" fmla="*/ 5811855 w 8734227"/>
                <a:gd name="connsiteY188" fmla="*/ 1589132 h 1715383"/>
                <a:gd name="connsiteX189" fmla="*/ 5791731 w 8734227"/>
                <a:gd name="connsiteY189" fmla="*/ 1569006 h 1715383"/>
                <a:gd name="connsiteX190" fmla="*/ 5825016 w 8734227"/>
                <a:gd name="connsiteY190" fmla="*/ 1569006 h 1715383"/>
                <a:gd name="connsiteX191" fmla="*/ 5855455 w 8734227"/>
                <a:gd name="connsiteY191" fmla="*/ 1599445 h 1715383"/>
                <a:gd name="connsiteX192" fmla="*/ 5825016 w 8734227"/>
                <a:gd name="connsiteY192" fmla="*/ 1629884 h 1715383"/>
                <a:gd name="connsiteX193" fmla="*/ 5783509 w 8734227"/>
                <a:gd name="connsiteY193" fmla="*/ 1629884 h 1715383"/>
                <a:gd name="connsiteX194" fmla="*/ 5783509 w 8734227"/>
                <a:gd name="connsiteY194" fmla="*/ 1643718 h 1715383"/>
                <a:gd name="connsiteX195" fmla="*/ 5826777 w 8734227"/>
                <a:gd name="connsiteY195" fmla="*/ 1643718 h 1715383"/>
                <a:gd name="connsiteX196" fmla="*/ 5871050 w 8734227"/>
                <a:gd name="connsiteY196" fmla="*/ 1599445 h 1715383"/>
                <a:gd name="connsiteX197" fmla="*/ 5826777 w 8734227"/>
                <a:gd name="connsiteY197" fmla="*/ 1555170 h 1715383"/>
                <a:gd name="connsiteX198" fmla="*/ 5791982 w 8734227"/>
                <a:gd name="connsiteY198" fmla="*/ 1555170 h 1715383"/>
                <a:gd name="connsiteX199" fmla="*/ 5811394 w 8734227"/>
                <a:gd name="connsiteY199" fmla="*/ 1535759 h 1715383"/>
                <a:gd name="connsiteX200" fmla="*/ 5136541 w 8734227"/>
                <a:gd name="connsiteY200" fmla="*/ 1520601 h 1715383"/>
                <a:gd name="connsiteX201" fmla="*/ 5066061 w 8734227"/>
                <a:gd name="connsiteY201" fmla="*/ 1591081 h 1715383"/>
                <a:gd name="connsiteX202" fmla="*/ 5136541 w 8734227"/>
                <a:gd name="connsiteY202" fmla="*/ 1661562 h 1715383"/>
                <a:gd name="connsiteX203" fmla="*/ 5207022 w 8734227"/>
                <a:gd name="connsiteY203" fmla="*/ 1591081 h 1715383"/>
                <a:gd name="connsiteX204" fmla="*/ 5136541 w 8734227"/>
                <a:gd name="connsiteY204" fmla="*/ 1520601 h 1715383"/>
                <a:gd name="connsiteX205" fmla="*/ 2804155 w 8734227"/>
                <a:gd name="connsiteY205" fmla="*/ 1019973 h 1715383"/>
                <a:gd name="connsiteX206" fmla="*/ 3072374 w 8734227"/>
                <a:gd name="connsiteY206" fmla="*/ 1019973 h 1715383"/>
                <a:gd name="connsiteX207" fmla="*/ 3072771 w 8734227"/>
                <a:gd name="connsiteY207" fmla="*/ 1255954 h 1715383"/>
                <a:gd name="connsiteX208" fmla="*/ 2804155 w 8734227"/>
                <a:gd name="connsiteY208" fmla="*/ 1218873 h 1715383"/>
                <a:gd name="connsiteX209" fmla="*/ 2575684 w 8734227"/>
                <a:gd name="connsiteY209" fmla="*/ 1019973 h 1715383"/>
                <a:gd name="connsiteX210" fmla="*/ 2779051 w 8734227"/>
                <a:gd name="connsiteY210" fmla="*/ 1019973 h 1715383"/>
                <a:gd name="connsiteX211" fmla="*/ 2779051 w 8734227"/>
                <a:gd name="connsiteY211" fmla="*/ 1215407 h 1715383"/>
                <a:gd name="connsiteX212" fmla="*/ 2575706 w 8734227"/>
                <a:gd name="connsiteY212" fmla="*/ 1187336 h 1715383"/>
                <a:gd name="connsiteX213" fmla="*/ 2575684 w 8734227"/>
                <a:gd name="connsiteY213" fmla="*/ 1019973 h 1715383"/>
                <a:gd name="connsiteX214" fmla="*/ 1127626 w 8734227"/>
                <a:gd name="connsiteY214" fmla="*/ 1017379 h 1715383"/>
                <a:gd name="connsiteX215" fmla="*/ 1496190 w 8734227"/>
                <a:gd name="connsiteY215" fmla="*/ 1017379 h 1715383"/>
                <a:gd name="connsiteX216" fmla="*/ 1496735 w 8734227"/>
                <a:gd name="connsiteY216" fmla="*/ 1341644 h 1715383"/>
                <a:gd name="connsiteX217" fmla="*/ 1127626 w 8734227"/>
                <a:gd name="connsiteY217" fmla="*/ 1290690 h 1715383"/>
                <a:gd name="connsiteX218" fmla="*/ 813680 w 8734227"/>
                <a:gd name="connsiteY218" fmla="*/ 1017379 h 1715383"/>
                <a:gd name="connsiteX219" fmla="*/ 1093130 w 8734227"/>
                <a:gd name="connsiteY219" fmla="*/ 1017379 h 1715383"/>
                <a:gd name="connsiteX220" fmla="*/ 1093130 w 8734227"/>
                <a:gd name="connsiteY220" fmla="*/ 1285928 h 1715383"/>
                <a:gd name="connsiteX221" fmla="*/ 813711 w 8734227"/>
                <a:gd name="connsiteY221" fmla="*/ 1247355 h 1715383"/>
                <a:gd name="connsiteX222" fmla="*/ 813680 w 8734227"/>
                <a:gd name="connsiteY222" fmla="*/ 1017379 h 1715383"/>
                <a:gd name="connsiteX223" fmla="*/ 8200722 w 8734227"/>
                <a:gd name="connsiteY223" fmla="*/ 882974 h 1715383"/>
                <a:gd name="connsiteX224" fmla="*/ 8221059 w 8734227"/>
                <a:gd name="connsiteY224" fmla="*/ 882974 h 1715383"/>
                <a:gd name="connsiteX225" fmla="*/ 8511008 w 8734227"/>
                <a:gd name="connsiteY225" fmla="*/ 882974 h 1715383"/>
                <a:gd name="connsiteX226" fmla="*/ 8531346 w 8734227"/>
                <a:gd name="connsiteY226" fmla="*/ 882974 h 1715383"/>
                <a:gd name="connsiteX227" fmla="*/ 8531346 w 8734227"/>
                <a:gd name="connsiteY227" fmla="*/ 1018677 h 1715383"/>
                <a:gd name="connsiteX228" fmla="*/ 8530729 w 8734227"/>
                <a:gd name="connsiteY228" fmla="*/ 1018677 h 1715383"/>
                <a:gd name="connsiteX229" fmla="*/ 8530729 w 8734227"/>
                <a:gd name="connsiteY229" fmla="*/ 1161453 h 1715383"/>
                <a:gd name="connsiteX230" fmla="*/ 8529496 w 8734227"/>
                <a:gd name="connsiteY230" fmla="*/ 1167628 h 1715383"/>
                <a:gd name="connsiteX231" fmla="*/ 8527031 w 8734227"/>
                <a:gd name="connsiteY231" fmla="*/ 1173185 h 1715383"/>
                <a:gd name="connsiteX232" fmla="*/ 8522717 w 8734227"/>
                <a:gd name="connsiteY232" fmla="*/ 1177508 h 1715383"/>
                <a:gd name="connsiteX233" fmla="*/ 8517171 w 8734227"/>
                <a:gd name="connsiteY233" fmla="*/ 1180286 h 1715383"/>
                <a:gd name="connsiteX234" fmla="*/ 8511008 w 8734227"/>
                <a:gd name="connsiteY234" fmla="*/ 1181521 h 1715383"/>
                <a:gd name="connsiteX235" fmla="*/ 8468428 w 8734227"/>
                <a:gd name="connsiteY235" fmla="*/ 1181521 h 1715383"/>
                <a:gd name="connsiteX236" fmla="*/ 8468428 w 8734227"/>
                <a:gd name="connsiteY236" fmla="*/ 1268851 h 1715383"/>
                <a:gd name="connsiteX237" fmla="*/ 8467189 w 8734227"/>
                <a:gd name="connsiteY237" fmla="*/ 1277782 h 1715383"/>
                <a:gd name="connsiteX238" fmla="*/ 8463782 w 8734227"/>
                <a:gd name="connsiteY238" fmla="*/ 1286098 h 1715383"/>
                <a:gd name="connsiteX239" fmla="*/ 8458516 w 8734227"/>
                <a:gd name="connsiteY239" fmla="*/ 1293182 h 1715383"/>
                <a:gd name="connsiteX240" fmla="*/ 8451391 w 8734227"/>
                <a:gd name="connsiteY240" fmla="*/ 1299034 h 1715383"/>
                <a:gd name="connsiteX241" fmla="*/ 8443027 w 8734227"/>
                <a:gd name="connsiteY241" fmla="*/ 1302422 h 1715383"/>
                <a:gd name="connsiteX242" fmla="*/ 8433424 w 8734227"/>
                <a:gd name="connsiteY242" fmla="*/ 1303654 h 1715383"/>
                <a:gd name="connsiteX243" fmla="*/ 8424131 w 8734227"/>
                <a:gd name="connsiteY243" fmla="*/ 1302422 h 1715383"/>
                <a:gd name="connsiteX244" fmla="*/ 8415767 w 8734227"/>
                <a:gd name="connsiteY244" fmla="*/ 1299034 h 1715383"/>
                <a:gd name="connsiteX245" fmla="*/ 8408642 w 8734227"/>
                <a:gd name="connsiteY245" fmla="*/ 1293182 h 1715383"/>
                <a:gd name="connsiteX246" fmla="*/ 8403066 w 8734227"/>
                <a:gd name="connsiteY246" fmla="*/ 1286098 h 1715383"/>
                <a:gd name="connsiteX247" fmla="*/ 8399349 w 8734227"/>
                <a:gd name="connsiteY247" fmla="*/ 1277782 h 1715383"/>
                <a:gd name="connsiteX248" fmla="*/ 8398109 w 8734227"/>
                <a:gd name="connsiteY248" fmla="*/ 1268851 h 1715383"/>
                <a:gd name="connsiteX249" fmla="*/ 8398109 w 8734227"/>
                <a:gd name="connsiteY249" fmla="*/ 1181521 h 1715383"/>
                <a:gd name="connsiteX250" fmla="*/ 8332725 w 8734227"/>
                <a:gd name="connsiteY250" fmla="*/ 1181521 h 1715383"/>
                <a:gd name="connsiteX251" fmla="*/ 8332725 w 8734227"/>
                <a:gd name="connsiteY251" fmla="*/ 1268851 h 1715383"/>
                <a:gd name="connsiteX252" fmla="*/ 8331196 w 8734227"/>
                <a:gd name="connsiteY252" fmla="*/ 1277782 h 1715383"/>
                <a:gd name="connsiteX253" fmla="*/ 8328139 w 8734227"/>
                <a:gd name="connsiteY253" fmla="*/ 1286098 h 1715383"/>
                <a:gd name="connsiteX254" fmla="*/ 8322636 w 8734227"/>
                <a:gd name="connsiteY254" fmla="*/ 1293182 h 1715383"/>
                <a:gd name="connsiteX255" fmla="*/ 8315605 w 8734227"/>
                <a:gd name="connsiteY255" fmla="*/ 1299034 h 1715383"/>
                <a:gd name="connsiteX256" fmla="*/ 8307351 w 8734227"/>
                <a:gd name="connsiteY256" fmla="*/ 1302422 h 1715383"/>
                <a:gd name="connsiteX257" fmla="*/ 8297874 w 8734227"/>
                <a:gd name="connsiteY257" fmla="*/ 1303654 h 1715383"/>
                <a:gd name="connsiteX258" fmla="*/ 8288702 w 8734227"/>
                <a:gd name="connsiteY258" fmla="*/ 1302422 h 1715383"/>
                <a:gd name="connsiteX259" fmla="*/ 8280448 w 8734227"/>
                <a:gd name="connsiteY259" fmla="*/ 1299034 h 1715383"/>
                <a:gd name="connsiteX260" fmla="*/ 8273417 w 8734227"/>
                <a:gd name="connsiteY260" fmla="*/ 1293182 h 1715383"/>
                <a:gd name="connsiteX261" fmla="*/ 8267914 w 8734227"/>
                <a:gd name="connsiteY261" fmla="*/ 1286098 h 1715383"/>
                <a:gd name="connsiteX262" fmla="*/ 8264245 w 8734227"/>
                <a:gd name="connsiteY262" fmla="*/ 1277782 h 1715383"/>
                <a:gd name="connsiteX263" fmla="*/ 8263023 w 8734227"/>
                <a:gd name="connsiteY263" fmla="*/ 1268851 h 1715383"/>
                <a:gd name="connsiteX264" fmla="*/ 8263023 w 8734227"/>
                <a:gd name="connsiteY264" fmla="*/ 1181521 h 1715383"/>
                <a:gd name="connsiteX265" fmla="*/ 8221059 w 8734227"/>
                <a:gd name="connsiteY265" fmla="*/ 1181521 h 1715383"/>
                <a:gd name="connsiteX266" fmla="*/ 8214589 w 8734227"/>
                <a:gd name="connsiteY266" fmla="*/ 1180286 h 1715383"/>
                <a:gd name="connsiteX267" fmla="*/ 8209350 w 8734227"/>
                <a:gd name="connsiteY267" fmla="*/ 1177508 h 1715383"/>
                <a:gd name="connsiteX268" fmla="*/ 8205037 w 8734227"/>
                <a:gd name="connsiteY268" fmla="*/ 1173185 h 1715383"/>
                <a:gd name="connsiteX269" fmla="*/ 8202263 w 8734227"/>
                <a:gd name="connsiteY269" fmla="*/ 1167628 h 1715383"/>
                <a:gd name="connsiteX270" fmla="*/ 8201339 w 8734227"/>
                <a:gd name="connsiteY270" fmla="*/ 1161453 h 1715383"/>
                <a:gd name="connsiteX271" fmla="*/ 8201339 w 8734227"/>
                <a:gd name="connsiteY271" fmla="*/ 1018677 h 1715383"/>
                <a:gd name="connsiteX272" fmla="*/ 8200722 w 8734227"/>
                <a:gd name="connsiteY272" fmla="*/ 1018677 h 1715383"/>
                <a:gd name="connsiteX273" fmla="*/ 5227484 w 8734227"/>
                <a:gd name="connsiteY273" fmla="*/ 878578 h 1715383"/>
                <a:gd name="connsiteX274" fmla="*/ 5323885 w 8734227"/>
                <a:gd name="connsiteY274" fmla="*/ 928253 h 1715383"/>
                <a:gd name="connsiteX275" fmla="*/ 5270531 w 8734227"/>
                <a:gd name="connsiteY275" fmla="*/ 1022696 h 1715383"/>
                <a:gd name="connsiteX276" fmla="*/ 5337223 w 8734227"/>
                <a:gd name="connsiteY276" fmla="*/ 1123886 h 1715383"/>
                <a:gd name="connsiteX277" fmla="*/ 5228091 w 8734227"/>
                <a:gd name="connsiteY277" fmla="*/ 1255739 h 1715383"/>
                <a:gd name="connsiteX278" fmla="*/ 5146848 w 8734227"/>
                <a:gd name="connsiteY278" fmla="*/ 1236114 h 1715383"/>
                <a:gd name="connsiteX279" fmla="*/ 5064998 w 8734227"/>
                <a:gd name="connsiteY279" fmla="*/ 1256965 h 1715383"/>
                <a:gd name="connsiteX280" fmla="*/ 4935858 w 8734227"/>
                <a:gd name="connsiteY280" fmla="*/ 1031282 h 1715383"/>
                <a:gd name="connsiteX281" fmla="*/ 5054085 w 8734227"/>
                <a:gd name="connsiteY281" fmla="*/ 879805 h 1715383"/>
                <a:gd name="connsiteX282" fmla="*/ 5140179 w 8734227"/>
                <a:gd name="connsiteY282" fmla="*/ 901882 h 1715383"/>
                <a:gd name="connsiteX283" fmla="*/ 5227484 w 8734227"/>
                <a:gd name="connsiteY283" fmla="*/ 878578 h 1715383"/>
                <a:gd name="connsiteX284" fmla="*/ 8583622 w 8734227"/>
                <a:gd name="connsiteY284" fmla="*/ 871871 h 1715383"/>
                <a:gd name="connsiteX285" fmla="*/ 8592915 w 8734227"/>
                <a:gd name="connsiteY285" fmla="*/ 873105 h 1715383"/>
                <a:gd name="connsiteX286" fmla="*/ 8601898 w 8734227"/>
                <a:gd name="connsiteY286" fmla="*/ 876806 h 1715383"/>
                <a:gd name="connsiteX287" fmla="*/ 8609023 w 8734227"/>
                <a:gd name="connsiteY287" fmla="*/ 882357 h 1715383"/>
                <a:gd name="connsiteX288" fmla="*/ 8614289 w 8734227"/>
                <a:gd name="connsiteY288" fmla="*/ 889451 h 1715383"/>
                <a:gd name="connsiteX289" fmla="*/ 8617697 w 8734227"/>
                <a:gd name="connsiteY289" fmla="*/ 897778 h 1715383"/>
                <a:gd name="connsiteX290" fmla="*/ 8618936 w 8734227"/>
                <a:gd name="connsiteY290" fmla="*/ 907339 h 1715383"/>
                <a:gd name="connsiteX291" fmla="*/ 8618936 w 8734227"/>
                <a:gd name="connsiteY291" fmla="*/ 1064631 h 1715383"/>
                <a:gd name="connsiteX292" fmla="*/ 8617697 w 8734227"/>
                <a:gd name="connsiteY292" fmla="*/ 1073884 h 1715383"/>
                <a:gd name="connsiteX293" fmla="*/ 8614289 w 8734227"/>
                <a:gd name="connsiteY293" fmla="*/ 1082520 h 1715383"/>
                <a:gd name="connsiteX294" fmla="*/ 8609023 w 8734227"/>
                <a:gd name="connsiteY294" fmla="*/ 1089613 h 1715383"/>
                <a:gd name="connsiteX295" fmla="*/ 8601898 w 8734227"/>
                <a:gd name="connsiteY295" fmla="*/ 1095165 h 1715383"/>
                <a:gd name="connsiteX296" fmla="*/ 8592915 w 8734227"/>
                <a:gd name="connsiteY296" fmla="*/ 1098249 h 1715383"/>
                <a:gd name="connsiteX297" fmla="*/ 8583622 w 8734227"/>
                <a:gd name="connsiteY297" fmla="*/ 1099482 h 1715383"/>
                <a:gd name="connsiteX298" fmla="*/ 8574638 w 8734227"/>
                <a:gd name="connsiteY298" fmla="*/ 1098249 h 1715383"/>
                <a:gd name="connsiteX299" fmla="*/ 8566274 w 8734227"/>
                <a:gd name="connsiteY299" fmla="*/ 1095165 h 1715383"/>
                <a:gd name="connsiteX300" fmla="*/ 8559149 w 8734227"/>
                <a:gd name="connsiteY300" fmla="*/ 1089613 h 1715383"/>
                <a:gd name="connsiteX301" fmla="*/ 8553264 w 8734227"/>
                <a:gd name="connsiteY301" fmla="*/ 1082520 h 1715383"/>
                <a:gd name="connsiteX302" fmla="*/ 8549856 w 8734227"/>
                <a:gd name="connsiteY302" fmla="*/ 1073884 h 1715383"/>
                <a:gd name="connsiteX303" fmla="*/ 8548617 w 8734227"/>
                <a:gd name="connsiteY303" fmla="*/ 1064631 h 1715383"/>
                <a:gd name="connsiteX304" fmla="*/ 8548617 w 8734227"/>
                <a:gd name="connsiteY304" fmla="*/ 907339 h 1715383"/>
                <a:gd name="connsiteX305" fmla="*/ 8549856 w 8734227"/>
                <a:gd name="connsiteY305" fmla="*/ 897778 h 1715383"/>
                <a:gd name="connsiteX306" fmla="*/ 8553264 w 8734227"/>
                <a:gd name="connsiteY306" fmla="*/ 889451 h 1715383"/>
                <a:gd name="connsiteX307" fmla="*/ 8559149 w 8734227"/>
                <a:gd name="connsiteY307" fmla="*/ 882357 h 1715383"/>
                <a:gd name="connsiteX308" fmla="*/ 8566274 w 8734227"/>
                <a:gd name="connsiteY308" fmla="*/ 876806 h 1715383"/>
                <a:gd name="connsiteX309" fmla="*/ 8574638 w 8734227"/>
                <a:gd name="connsiteY309" fmla="*/ 873105 h 1715383"/>
                <a:gd name="connsiteX310" fmla="*/ 8147521 w 8734227"/>
                <a:gd name="connsiteY310" fmla="*/ 871871 h 1715383"/>
                <a:gd name="connsiteX311" fmla="*/ 8157040 w 8734227"/>
                <a:gd name="connsiteY311" fmla="*/ 873105 h 1715383"/>
                <a:gd name="connsiteX312" fmla="*/ 8165331 w 8734227"/>
                <a:gd name="connsiteY312" fmla="*/ 876806 h 1715383"/>
                <a:gd name="connsiteX313" fmla="*/ 8172394 w 8734227"/>
                <a:gd name="connsiteY313" fmla="*/ 882357 h 1715383"/>
                <a:gd name="connsiteX314" fmla="*/ 8177921 w 8734227"/>
                <a:gd name="connsiteY314" fmla="*/ 889451 h 1715383"/>
                <a:gd name="connsiteX315" fmla="*/ 8181606 w 8734227"/>
                <a:gd name="connsiteY315" fmla="*/ 897778 h 1715383"/>
                <a:gd name="connsiteX316" fmla="*/ 8182834 w 8734227"/>
                <a:gd name="connsiteY316" fmla="*/ 907339 h 1715383"/>
                <a:gd name="connsiteX317" fmla="*/ 8182834 w 8734227"/>
                <a:gd name="connsiteY317" fmla="*/ 1064631 h 1715383"/>
                <a:gd name="connsiteX318" fmla="*/ 8181606 w 8734227"/>
                <a:gd name="connsiteY318" fmla="*/ 1073884 h 1715383"/>
                <a:gd name="connsiteX319" fmla="*/ 8177921 w 8734227"/>
                <a:gd name="connsiteY319" fmla="*/ 1082520 h 1715383"/>
                <a:gd name="connsiteX320" fmla="*/ 8172394 w 8734227"/>
                <a:gd name="connsiteY320" fmla="*/ 1089613 h 1715383"/>
                <a:gd name="connsiteX321" fmla="*/ 8165331 w 8734227"/>
                <a:gd name="connsiteY321" fmla="*/ 1095165 h 1715383"/>
                <a:gd name="connsiteX322" fmla="*/ 8157040 w 8734227"/>
                <a:gd name="connsiteY322" fmla="*/ 1098249 h 1715383"/>
                <a:gd name="connsiteX323" fmla="*/ 8147521 w 8734227"/>
                <a:gd name="connsiteY323" fmla="*/ 1099482 h 1715383"/>
                <a:gd name="connsiteX324" fmla="*/ 8138309 w 8734227"/>
                <a:gd name="connsiteY324" fmla="*/ 1098249 h 1715383"/>
                <a:gd name="connsiteX325" fmla="*/ 8130018 w 8734227"/>
                <a:gd name="connsiteY325" fmla="*/ 1095165 h 1715383"/>
                <a:gd name="connsiteX326" fmla="*/ 8122956 w 8734227"/>
                <a:gd name="connsiteY326" fmla="*/ 1089613 h 1715383"/>
                <a:gd name="connsiteX327" fmla="*/ 8117428 w 8734227"/>
                <a:gd name="connsiteY327" fmla="*/ 1082520 h 1715383"/>
                <a:gd name="connsiteX328" fmla="*/ 8113743 w 8734227"/>
                <a:gd name="connsiteY328" fmla="*/ 1073884 h 1715383"/>
                <a:gd name="connsiteX329" fmla="*/ 8112515 w 8734227"/>
                <a:gd name="connsiteY329" fmla="*/ 1064631 h 1715383"/>
                <a:gd name="connsiteX330" fmla="*/ 8112515 w 8734227"/>
                <a:gd name="connsiteY330" fmla="*/ 907339 h 1715383"/>
                <a:gd name="connsiteX331" fmla="*/ 8113743 w 8734227"/>
                <a:gd name="connsiteY331" fmla="*/ 897778 h 1715383"/>
                <a:gd name="connsiteX332" fmla="*/ 8117428 w 8734227"/>
                <a:gd name="connsiteY332" fmla="*/ 889451 h 1715383"/>
                <a:gd name="connsiteX333" fmla="*/ 8122956 w 8734227"/>
                <a:gd name="connsiteY333" fmla="*/ 882357 h 1715383"/>
                <a:gd name="connsiteX334" fmla="*/ 8130018 w 8734227"/>
                <a:gd name="connsiteY334" fmla="*/ 876806 h 1715383"/>
                <a:gd name="connsiteX335" fmla="*/ 8138309 w 8734227"/>
                <a:gd name="connsiteY335" fmla="*/ 873105 h 1715383"/>
                <a:gd name="connsiteX336" fmla="*/ 2779051 w 8734227"/>
                <a:gd name="connsiteY336" fmla="*/ 799046 h 1715383"/>
                <a:gd name="connsiteX337" fmla="*/ 2779051 w 8734227"/>
                <a:gd name="connsiteY337" fmla="*/ 994869 h 1715383"/>
                <a:gd name="connsiteX338" fmla="*/ 2575728 w 8734227"/>
                <a:gd name="connsiteY338" fmla="*/ 994869 h 1715383"/>
                <a:gd name="connsiteX339" fmla="*/ 2575706 w 8734227"/>
                <a:gd name="connsiteY339" fmla="*/ 827507 h 1715383"/>
                <a:gd name="connsiteX340" fmla="*/ 6545761 w 8734227"/>
                <a:gd name="connsiteY340" fmla="*/ 779646 h 1715383"/>
                <a:gd name="connsiteX341" fmla="*/ 6571241 w 8734227"/>
                <a:gd name="connsiteY341" fmla="*/ 779646 h 1715383"/>
                <a:gd name="connsiteX342" fmla="*/ 6934512 w 8734227"/>
                <a:gd name="connsiteY342" fmla="*/ 779646 h 1715383"/>
                <a:gd name="connsiteX343" fmla="*/ 6959993 w 8734227"/>
                <a:gd name="connsiteY343" fmla="*/ 779646 h 1715383"/>
                <a:gd name="connsiteX344" fmla="*/ 6959993 w 8734227"/>
                <a:gd name="connsiteY344" fmla="*/ 949666 h 1715383"/>
                <a:gd name="connsiteX345" fmla="*/ 6959220 w 8734227"/>
                <a:gd name="connsiteY345" fmla="*/ 949666 h 1715383"/>
                <a:gd name="connsiteX346" fmla="*/ 6959220 w 8734227"/>
                <a:gd name="connsiteY346" fmla="*/ 1128547 h 1715383"/>
                <a:gd name="connsiteX347" fmla="*/ 6957675 w 8734227"/>
                <a:gd name="connsiteY347" fmla="*/ 1136283 h 1715383"/>
                <a:gd name="connsiteX348" fmla="*/ 6954587 w 8734227"/>
                <a:gd name="connsiteY348" fmla="*/ 1143246 h 1715383"/>
                <a:gd name="connsiteX349" fmla="*/ 6949182 w 8734227"/>
                <a:gd name="connsiteY349" fmla="*/ 1148661 h 1715383"/>
                <a:gd name="connsiteX350" fmla="*/ 6942234 w 8734227"/>
                <a:gd name="connsiteY350" fmla="*/ 1152143 h 1715383"/>
                <a:gd name="connsiteX351" fmla="*/ 6934512 w 8734227"/>
                <a:gd name="connsiteY351" fmla="*/ 1153690 h 1715383"/>
                <a:gd name="connsiteX352" fmla="*/ 6881165 w 8734227"/>
                <a:gd name="connsiteY352" fmla="*/ 1153690 h 1715383"/>
                <a:gd name="connsiteX353" fmla="*/ 6881165 w 8734227"/>
                <a:gd name="connsiteY353" fmla="*/ 1263103 h 1715383"/>
                <a:gd name="connsiteX354" fmla="*/ 6879613 w 8734227"/>
                <a:gd name="connsiteY354" fmla="*/ 1274294 h 1715383"/>
                <a:gd name="connsiteX355" fmla="*/ 6875343 w 8734227"/>
                <a:gd name="connsiteY355" fmla="*/ 1284713 h 1715383"/>
                <a:gd name="connsiteX356" fmla="*/ 6868745 w 8734227"/>
                <a:gd name="connsiteY356" fmla="*/ 1293588 h 1715383"/>
                <a:gd name="connsiteX357" fmla="*/ 6859819 w 8734227"/>
                <a:gd name="connsiteY357" fmla="*/ 1300920 h 1715383"/>
                <a:gd name="connsiteX358" fmla="*/ 6849340 w 8734227"/>
                <a:gd name="connsiteY358" fmla="*/ 1305165 h 1715383"/>
                <a:gd name="connsiteX359" fmla="*/ 6837308 w 8734227"/>
                <a:gd name="connsiteY359" fmla="*/ 1306708 h 1715383"/>
                <a:gd name="connsiteX360" fmla="*/ 6825665 w 8734227"/>
                <a:gd name="connsiteY360" fmla="*/ 1305165 h 1715383"/>
                <a:gd name="connsiteX361" fmla="*/ 6815186 w 8734227"/>
                <a:gd name="connsiteY361" fmla="*/ 1300920 h 1715383"/>
                <a:gd name="connsiteX362" fmla="*/ 6806259 w 8734227"/>
                <a:gd name="connsiteY362" fmla="*/ 1293588 h 1715383"/>
                <a:gd name="connsiteX363" fmla="*/ 6799273 w 8734227"/>
                <a:gd name="connsiteY363" fmla="*/ 1284713 h 1715383"/>
                <a:gd name="connsiteX364" fmla="*/ 6794616 w 8734227"/>
                <a:gd name="connsiteY364" fmla="*/ 1274294 h 1715383"/>
                <a:gd name="connsiteX365" fmla="*/ 6793064 w 8734227"/>
                <a:gd name="connsiteY365" fmla="*/ 1263103 h 1715383"/>
                <a:gd name="connsiteX366" fmla="*/ 6793064 w 8734227"/>
                <a:gd name="connsiteY366" fmla="*/ 1153690 h 1715383"/>
                <a:gd name="connsiteX367" fmla="*/ 6711145 w 8734227"/>
                <a:gd name="connsiteY367" fmla="*/ 1153690 h 1715383"/>
                <a:gd name="connsiteX368" fmla="*/ 6711145 w 8734227"/>
                <a:gd name="connsiteY368" fmla="*/ 1263103 h 1715383"/>
                <a:gd name="connsiteX369" fmla="*/ 6709230 w 8734227"/>
                <a:gd name="connsiteY369" fmla="*/ 1274294 h 1715383"/>
                <a:gd name="connsiteX370" fmla="*/ 6705399 w 8734227"/>
                <a:gd name="connsiteY370" fmla="*/ 1284713 h 1715383"/>
                <a:gd name="connsiteX371" fmla="*/ 6698505 w 8734227"/>
                <a:gd name="connsiteY371" fmla="*/ 1293588 h 1715383"/>
                <a:gd name="connsiteX372" fmla="*/ 6689696 w 8734227"/>
                <a:gd name="connsiteY372" fmla="*/ 1300920 h 1715383"/>
                <a:gd name="connsiteX373" fmla="*/ 6679354 w 8734227"/>
                <a:gd name="connsiteY373" fmla="*/ 1305165 h 1715383"/>
                <a:gd name="connsiteX374" fmla="*/ 6667480 w 8734227"/>
                <a:gd name="connsiteY374" fmla="*/ 1306708 h 1715383"/>
                <a:gd name="connsiteX375" fmla="*/ 6655990 w 8734227"/>
                <a:gd name="connsiteY375" fmla="*/ 1305165 h 1715383"/>
                <a:gd name="connsiteX376" fmla="*/ 6645648 w 8734227"/>
                <a:gd name="connsiteY376" fmla="*/ 1300920 h 1715383"/>
                <a:gd name="connsiteX377" fmla="*/ 6636839 w 8734227"/>
                <a:gd name="connsiteY377" fmla="*/ 1293588 h 1715383"/>
                <a:gd name="connsiteX378" fmla="*/ 6629944 w 8734227"/>
                <a:gd name="connsiteY378" fmla="*/ 1284713 h 1715383"/>
                <a:gd name="connsiteX379" fmla="*/ 6625348 w 8734227"/>
                <a:gd name="connsiteY379" fmla="*/ 1274294 h 1715383"/>
                <a:gd name="connsiteX380" fmla="*/ 6623816 w 8734227"/>
                <a:gd name="connsiteY380" fmla="*/ 1263103 h 1715383"/>
                <a:gd name="connsiteX381" fmla="*/ 6623816 w 8734227"/>
                <a:gd name="connsiteY381" fmla="*/ 1153690 h 1715383"/>
                <a:gd name="connsiteX382" fmla="*/ 6571241 w 8734227"/>
                <a:gd name="connsiteY382" fmla="*/ 1153690 h 1715383"/>
                <a:gd name="connsiteX383" fmla="*/ 6563134 w 8734227"/>
                <a:gd name="connsiteY383" fmla="*/ 1152143 h 1715383"/>
                <a:gd name="connsiteX384" fmla="*/ 6556571 w 8734227"/>
                <a:gd name="connsiteY384" fmla="*/ 1148661 h 1715383"/>
                <a:gd name="connsiteX385" fmla="*/ 6551167 w 8734227"/>
                <a:gd name="connsiteY385" fmla="*/ 1143246 h 1715383"/>
                <a:gd name="connsiteX386" fmla="*/ 6547692 w 8734227"/>
                <a:gd name="connsiteY386" fmla="*/ 1136283 h 1715383"/>
                <a:gd name="connsiteX387" fmla="*/ 6546534 w 8734227"/>
                <a:gd name="connsiteY387" fmla="*/ 1128547 h 1715383"/>
                <a:gd name="connsiteX388" fmla="*/ 6546534 w 8734227"/>
                <a:gd name="connsiteY388" fmla="*/ 949666 h 1715383"/>
                <a:gd name="connsiteX389" fmla="*/ 6545761 w 8734227"/>
                <a:gd name="connsiteY389" fmla="*/ 949666 h 1715383"/>
                <a:gd name="connsiteX390" fmla="*/ 8437587 w 8734227"/>
                <a:gd name="connsiteY390" fmla="*/ 772562 h 1715383"/>
                <a:gd name="connsiteX391" fmla="*/ 8431419 w 8734227"/>
                <a:gd name="connsiteY391" fmla="*/ 774092 h 1715383"/>
                <a:gd name="connsiteX392" fmla="*/ 8425867 w 8734227"/>
                <a:gd name="connsiteY392" fmla="*/ 776846 h 1715383"/>
                <a:gd name="connsiteX393" fmla="*/ 8421858 w 8734227"/>
                <a:gd name="connsiteY393" fmla="*/ 780824 h 1715383"/>
                <a:gd name="connsiteX394" fmla="*/ 8418774 w 8734227"/>
                <a:gd name="connsiteY394" fmla="*/ 786333 h 1715383"/>
                <a:gd name="connsiteX395" fmla="*/ 8417848 w 8734227"/>
                <a:gd name="connsiteY395" fmla="*/ 792453 h 1715383"/>
                <a:gd name="connsiteX396" fmla="*/ 8418774 w 8734227"/>
                <a:gd name="connsiteY396" fmla="*/ 798880 h 1715383"/>
                <a:gd name="connsiteX397" fmla="*/ 8421858 w 8734227"/>
                <a:gd name="connsiteY397" fmla="*/ 804083 h 1715383"/>
                <a:gd name="connsiteX398" fmla="*/ 8425867 w 8734227"/>
                <a:gd name="connsiteY398" fmla="*/ 808367 h 1715383"/>
                <a:gd name="connsiteX399" fmla="*/ 8431419 w 8734227"/>
                <a:gd name="connsiteY399" fmla="*/ 811121 h 1715383"/>
                <a:gd name="connsiteX400" fmla="*/ 8437587 w 8734227"/>
                <a:gd name="connsiteY400" fmla="*/ 812039 h 1715383"/>
                <a:gd name="connsiteX401" fmla="*/ 8443755 w 8734227"/>
                <a:gd name="connsiteY401" fmla="*/ 811121 h 1715383"/>
                <a:gd name="connsiteX402" fmla="*/ 8449307 w 8734227"/>
                <a:gd name="connsiteY402" fmla="*/ 808367 h 1715383"/>
                <a:gd name="connsiteX403" fmla="*/ 8453316 w 8734227"/>
                <a:gd name="connsiteY403" fmla="*/ 804083 h 1715383"/>
                <a:gd name="connsiteX404" fmla="*/ 8456401 w 8734227"/>
                <a:gd name="connsiteY404" fmla="*/ 798880 h 1715383"/>
                <a:gd name="connsiteX405" fmla="*/ 8457326 w 8734227"/>
                <a:gd name="connsiteY405" fmla="*/ 792453 h 1715383"/>
                <a:gd name="connsiteX406" fmla="*/ 8456401 w 8734227"/>
                <a:gd name="connsiteY406" fmla="*/ 786333 h 1715383"/>
                <a:gd name="connsiteX407" fmla="*/ 8453316 w 8734227"/>
                <a:gd name="connsiteY407" fmla="*/ 780824 h 1715383"/>
                <a:gd name="connsiteX408" fmla="*/ 8449307 w 8734227"/>
                <a:gd name="connsiteY408" fmla="*/ 776846 h 1715383"/>
                <a:gd name="connsiteX409" fmla="*/ 8443755 w 8734227"/>
                <a:gd name="connsiteY409" fmla="*/ 774092 h 1715383"/>
                <a:gd name="connsiteX410" fmla="*/ 8293556 w 8734227"/>
                <a:gd name="connsiteY410" fmla="*/ 772562 h 1715383"/>
                <a:gd name="connsiteX411" fmla="*/ 8287388 w 8734227"/>
                <a:gd name="connsiteY411" fmla="*/ 774092 h 1715383"/>
                <a:gd name="connsiteX412" fmla="*/ 8281836 w 8734227"/>
                <a:gd name="connsiteY412" fmla="*/ 776846 h 1715383"/>
                <a:gd name="connsiteX413" fmla="*/ 8277827 w 8734227"/>
                <a:gd name="connsiteY413" fmla="*/ 780824 h 1715383"/>
                <a:gd name="connsiteX414" fmla="*/ 8275360 w 8734227"/>
                <a:gd name="connsiteY414" fmla="*/ 786333 h 1715383"/>
                <a:gd name="connsiteX415" fmla="*/ 8274126 w 8734227"/>
                <a:gd name="connsiteY415" fmla="*/ 792453 h 1715383"/>
                <a:gd name="connsiteX416" fmla="*/ 8275360 w 8734227"/>
                <a:gd name="connsiteY416" fmla="*/ 798880 h 1715383"/>
                <a:gd name="connsiteX417" fmla="*/ 8277827 w 8734227"/>
                <a:gd name="connsiteY417" fmla="*/ 804083 h 1715383"/>
                <a:gd name="connsiteX418" fmla="*/ 8281836 w 8734227"/>
                <a:gd name="connsiteY418" fmla="*/ 808367 h 1715383"/>
                <a:gd name="connsiteX419" fmla="*/ 8287388 w 8734227"/>
                <a:gd name="connsiteY419" fmla="*/ 811121 h 1715383"/>
                <a:gd name="connsiteX420" fmla="*/ 8293556 w 8734227"/>
                <a:gd name="connsiteY420" fmla="*/ 812039 h 1715383"/>
                <a:gd name="connsiteX421" fmla="*/ 8300033 w 8734227"/>
                <a:gd name="connsiteY421" fmla="*/ 811121 h 1715383"/>
                <a:gd name="connsiteX422" fmla="*/ 8305276 w 8734227"/>
                <a:gd name="connsiteY422" fmla="*/ 808367 h 1715383"/>
                <a:gd name="connsiteX423" fmla="*/ 8309902 w 8734227"/>
                <a:gd name="connsiteY423" fmla="*/ 804083 h 1715383"/>
                <a:gd name="connsiteX424" fmla="*/ 8312370 w 8734227"/>
                <a:gd name="connsiteY424" fmla="*/ 798880 h 1715383"/>
                <a:gd name="connsiteX425" fmla="*/ 8313603 w 8734227"/>
                <a:gd name="connsiteY425" fmla="*/ 792453 h 1715383"/>
                <a:gd name="connsiteX426" fmla="*/ 8312370 w 8734227"/>
                <a:gd name="connsiteY426" fmla="*/ 786333 h 1715383"/>
                <a:gd name="connsiteX427" fmla="*/ 8309902 w 8734227"/>
                <a:gd name="connsiteY427" fmla="*/ 780824 h 1715383"/>
                <a:gd name="connsiteX428" fmla="*/ 8305276 w 8734227"/>
                <a:gd name="connsiteY428" fmla="*/ 776846 h 1715383"/>
                <a:gd name="connsiteX429" fmla="*/ 8300033 w 8734227"/>
                <a:gd name="connsiteY429" fmla="*/ 774092 h 1715383"/>
                <a:gd name="connsiteX430" fmla="*/ 7025488 w 8734227"/>
                <a:gd name="connsiteY430" fmla="*/ 765735 h 1715383"/>
                <a:gd name="connsiteX431" fmla="*/ 7037131 w 8734227"/>
                <a:gd name="connsiteY431" fmla="*/ 767281 h 1715383"/>
                <a:gd name="connsiteX432" fmla="*/ 7048387 w 8734227"/>
                <a:gd name="connsiteY432" fmla="*/ 771918 h 1715383"/>
                <a:gd name="connsiteX433" fmla="*/ 7057313 w 8734227"/>
                <a:gd name="connsiteY433" fmla="*/ 778873 h 1715383"/>
                <a:gd name="connsiteX434" fmla="*/ 7063911 w 8734227"/>
                <a:gd name="connsiteY434" fmla="*/ 787761 h 1715383"/>
                <a:gd name="connsiteX435" fmla="*/ 7068181 w 8734227"/>
                <a:gd name="connsiteY435" fmla="*/ 798193 h 1715383"/>
                <a:gd name="connsiteX436" fmla="*/ 7069733 w 8734227"/>
                <a:gd name="connsiteY436" fmla="*/ 810172 h 1715383"/>
                <a:gd name="connsiteX437" fmla="*/ 7069733 w 8734227"/>
                <a:gd name="connsiteY437" fmla="*/ 1007241 h 1715383"/>
                <a:gd name="connsiteX438" fmla="*/ 7068181 w 8734227"/>
                <a:gd name="connsiteY438" fmla="*/ 1018833 h 1715383"/>
                <a:gd name="connsiteX439" fmla="*/ 7063911 w 8734227"/>
                <a:gd name="connsiteY439" fmla="*/ 1029653 h 1715383"/>
                <a:gd name="connsiteX440" fmla="*/ 7057313 w 8734227"/>
                <a:gd name="connsiteY440" fmla="*/ 1038540 h 1715383"/>
                <a:gd name="connsiteX441" fmla="*/ 7048387 w 8734227"/>
                <a:gd name="connsiteY441" fmla="*/ 1045496 h 1715383"/>
                <a:gd name="connsiteX442" fmla="*/ 7037131 w 8734227"/>
                <a:gd name="connsiteY442" fmla="*/ 1049360 h 1715383"/>
                <a:gd name="connsiteX443" fmla="*/ 7025488 w 8734227"/>
                <a:gd name="connsiteY443" fmla="*/ 1050905 h 1715383"/>
                <a:gd name="connsiteX444" fmla="*/ 7014233 w 8734227"/>
                <a:gd name="connsiteY444" fmla="*/ 1049360 h 1715383"/>
                <a:gd name="connsiteX445" fmla="*/ 7003754 w 8734227"/>
                <a:gd name="connsiteY445" fmla="*/ 1045496 h 1715383"/>
                <a:gd name="connsiteX446" fmla="*/ 6994827 w 8734227"/>
                <a:gd name="connsiteY446" fmla="*/ 1038540 h 1715383"/>
                <a:gd name="connsiteX447" fmla="*/ 6987453 w 8734227"/>
                <a:gd name="connsiteY447" fmla="*/ 1029653 h 1715383"/>
                <a:gd name="connsiteX448" fmla="*/ 6983184 w 8734227"/>
                <a:gd name="connsiteY448" fmla="*/ 1018833 h 1715383"/>
                <a:gd name="connsiteX449" fmla="*/ 6981632 w 8734227"/>
                <a:gd name="connsiteY449" fmla="*/ 1007241 h 1715383"/>
                <a:gd name="connsiteX450" fmla="*/ 6981632 w 8734227"/>
                <a:gd name="connsiteY450" fmla="*/ 810172 h 1715383"/>
                <a:gd name="connsiteX451" fmla="*/ 6983184 w 8734227"/>
                <a:gd name="connsiteY451" fmla="*/ 798193 h 1715383"/>
                <a:gd name="connsiteX452" fmla="*/ 6987453 w 8734227"/>
                <a:gd name="connsiteY452" fmla="*/ 787761 h 1715383"/>
                <a:gd name="connsiteX453" fmla="*/ 6994827 w 8734227"/>
                <a:gd name="connsiteY453" fmla="*/ 778873 h 1715383"/>
                <a:gd name="connsiteX454" fmla="*/ 7003754 w 8734227"/>
                <a:gd name="connsiteY454" fmla="*/ 771918 h 1715383"/>
                <a:gd name="connsiteX455" fmla="*/ 7014233 w 8734227"/>
                <a:gd name="connsiteY455" fmla="*/ 767281 h 1715383"/>
                <a:gd name="connsiteX456" fmla="*/ 6479106 w 8734227"/>
                <a:gd name="connsiteY456" fmla="*/ 765735 h 1715383"/>
                <a:gd name="connsiteX457" fmla="*/ 6491033 w 8734227"/>
                <a:gd name="connsiteY457" fmla="*/ 767281 h 1715383"/>
                <a:gd name="connsiteX458" fmla="*/ 6501421 w 8734227"/>
                <a:gd name="connsiteY458" fmla="*/ 771918 h 1715383"/>
                <a:gd name="connsiteX459" fmla="*/ 6510269 w 8734227"/>
                <a:gd name="connsiteY459" fmla="*/ 778873 h 1715383"/>
                <a:gd name="connsiteX460" fmla="*/ 6517194 w 8734227"/>
                <a:gd name="connsiteY460" fmla="*/ 787761 h 1715383"/>
                <a:gd name="connsiteX461" fmla="*/ 6521811 w 8734227"/>
                <a:gd name="connsiteY461" fmla="*/ 798193 h 1715383"/>
                <a:gd name="connsiteX462" fmla="*/ 6523349 w 8734227"/>
                <a:gd name="connsiteY462" fmla="*/ 810172 h 1715383"/>
                <a:gd name="connsiteX463" fmla="*/ 6523349 w 8734227"/>
                <a:gd name="connsiteY463" fmla="*/ 1007241 h 1715383"/>
                <a:gd name="connsiteX464" fmla="*/ 6521811 w 8734227"/>
                <a:gd name="connsiteY464" fmla="*/ 1018833 h 1715383"/>
                <a:gd name="connsiteX465" fmla="*/ 6517194 w 8734227"/>
                <a:gd name="connsiteY465" fmla="*/ 1029653 h 1715383"/>
                <a:gd name="connsiteX466" fmla="*/ 6510269 w 8734227"/>
                <a:gd name="connsiteY466" fmla="*/ 1038540 h 1715383"/>
                <a:gd name="connsiteX467" fmla="*/ 6501421 w 8734227"/>
                <a:gd name="connsiteY467" fmla="*/ 1045496 h 1715383"/>
                <a:gd name="connsiteX468" fmla="*/ 6491033 w 8734227"/>
                <a:gd name="connsiteY468" fmla="*/ 1049360 h 1715383"/>
                <a:gd name="connsiteX469" fmla="*/ 6479106 w 8734227"/>
                <a:gd name="connsiteY469" fmla="*/ 1050905 h 1715383"/>
                <a:gd name="connsiteX470" fmla="*/ 6467565 w 8734227"/>
                <a:gd name="connsiteY470" fmla="*/ 1049360 h 1715383"/>
                <a:gd name="connsiteX471" fmla="*/ 6457177 w 8734227"/>
                <a:gd name="connsiteY471" fmla="*/ 1045496 h 1715383"/>
                <a:gd name="connsiteX472" fmla="*/ 6448329 w 8734227"/>
                <a:gd name="connsiteY472" fmla="*/ 1038540 h 1715383"/>
                <a:gd name="connsiteX473" fmla="*/ 6441404 w 8734227"/>
                <a:gd name="connsiteY473" fmla="*/ 1029653 h 1715383"/>
                <a:gd name="connsiteX474" fmla="*/ 6436787 w 8734227"/>
                <a:gd name="connsiteY474" fmla="*/ 1018833 h 1715383"/>
                <a:gd name="connsiteX475" fmla="*/ 6435248 w 8734227"/>
                <a:gd name="connsiteY475" fmla="*/ 1007241 h 1715383"/>
                <a:gd name="connsiteX476" fmla="*/ 6435248 w 8734227"/>
                <a:gd name="connsiteY476" fmla="*/ 810172 h 1715383"/>
                <a:gd name="connsiteX477" fmla="*/ 6436787 w 8734227"/>
                <a:gd name="connsiteY477" fmla="*/ 798193 h 1715383"/>
                <a:gd name="connsiteX478" fmla="*/ 6441404 w 8734227"/>
                <a:gd name="connsiteY478" fmla="*/ 787761 h 1715383"/>
                <a:gd name="connsiteX479" fmla="*/ 6448329 w 8734227"/>
                <a:gd name="connsiteY479" fmla="*/ 778873 h 1715383"/>
                <a:gd name="connsiteX480" fmla="*/ 6457177 w 8734227"/>
                <a:gd name="connsiteY480" fmla="*/ 771918 h 1715383"/>
                <a:gd name="connsiteX481" fmla="*/ 6467565 w 8734227"/>
                <a:gd name="connsiteY481" fmla="*/ 767281 h 1715383"/>
                <a:gd name="connsiteX482" fmla="*/ 5234778 w 8734227"/>
                <a:gd name="connsiteY482" fmla="*/ 759063 h 1715383"/>
                <a:gd name="connsiteX483" fmla="*/ 5209318 w 8734227"/>
                <a:gd name="connsiteY483" fmla="*/ 838744 h 1715383"/>
                <a:gd name="connsiteX484" fmla="*/ 5135967 w 8734227"/>
                <a:gd name="connsiteY484" fmla="*/ 873682 h 1715383"/>
                <a:gd name="connsiteX485" fmla="*/ 5157184 w 8734227"/>
                <a:gd name="connsiteY485" fmla="*/ 802581 h 1715383"/>
                <a:gd name="connsiteX486" fmla="*/ 5234778 w 8734227"/>
                <a:gd name="connsiteY486" fmla="*/ 759063 h 1715383"/>
                <a:gd name="connsiteX487" fmla="*/ 3071934 w 8734227"/>
                <a:gd name="connsiteY487" fmla="*/ 758052 h 1715383"/>
                <a:gd name="connsiteX488" fmla="*/ 3072332 w 8734227"/>
                <a:gd name="connsiteY488" fmla="*/ 994869 h 1715383"/>
                <a:gd name="connsiteX489" fmla="*/ 2804155 w 8734227"/>
                <a:gd name="connsiteY489" fmla="*/ 994869 h 1715383"/>
                <a:gd name="connsiteX490" fmla="*/ 2804155 w 8734227"/>
                <a:gd name="connsiteY490" fmla="*/ 795532 h 1715383"/>
                <a:gd name="connsiteX491" fmla="*/ 1093130 w 8734227"/>
                <a:gd name="connsiteY491" fmla="*/ 713799 h 1715383"/>
                <a:gd name="connsiteX492" fmla="*/ 1093130 w 8734227"/>
                <a:gd name="connsiteY492" fmla="*/ 982883 h 1715383"/>
                <a:gd name="connsiteX493" fmla="*/ 813740 w 8734227"/>
                <a:gd name="connsiteY493" fmla="*/ 982883 h 1715383"/>
                <a:gd name="connsiteX494" fmla="*/ 813710 w 8734227"/>
                <a:gd name="connsiteY494" fmla="*/ 752908 h 1715383"/>
                <a:gd name="connsiteX495" fmla="*/ 8262676 w 8734227"/>
                <a:gd name="connsiteY495" fmla="*/ 695457 h 1715383"/>
                <a:gd name="connsiteX496" fmla="*/ 8263593 w 8734227"/>
                <a:gd name="connsiteY496" fmla="*/ 695770 h 1715383"/>
                <a:gd name="connsiteX497" fmla="*/ 8263899 w 8734227"/>
                <a:gd name="connsiteY497" fmla="*/ 695770 h 1715383"/>
                <a:gd name="connsiteX498" fmla="*/ 8292641 w 8734227"/>
                <a:gd name="connsiteY498" fmla="*/ 737285 h 1715383"/>
                <a:gd name="connsiteX499" fmla="*/ 8297874 w 8734227"/>
                <a:gd name="connsiteY499" fmla="*/ 735220 h 1715383"/>
                <a:gd name="connsiteX500" fmla="*/ 8312986 w 8734227"/>
                <a:gd name="connsiteY500" fmla="*/ 730912 h 1715383"/>
                <a:gd name="connsiteX501" fmla="*/ 8328715 w 8734227"/>
                <a:gd name="connsiteY501" fmla="*/ 727527 h 1715383"/>
                <a:gd name="connsiteX502" fmla="*/ 8346604 w 8734227"/>
                <a:gd name="connsiteY502" fmla="*/ 725681 h 1715383"/>
                <a:gd name="connsiteX503" fmla="*/ 8365726 w 8734227"/>
                <a:gd name="connsiteY503" fmla="*/ 725065 h 1715383"/>
                <a:gd name="connsiteX504" fmla="*/ 8385465 w 8734227"/>
                <a:gd name="connsiteY504" fmla="*/ 725988 h 1715383"/>
                <a:gd name="connsiteX505" fmla="*/ 8403661 w 8734227"/>
                <a:gd name="connsiteY505" fmla="*/ 728142 h 1715383"/>
                <a:gd name="connsiteX506" fmla="*/ 8420624 w 8734227"/>
                <a:gd name="connsiteY506" fmla="*/ 731835 h 1715383"/>
                <a:gd name="connsiteX507" fmla="*/ 8435428 w 8734227"/>
                <a:gd name="connsiteY507" fmla="*/ 736451 h 1715383"/>
                <a:gd name="connsiteX508" fmla="*/ 8438249 w 8734227"/>
                <a:gd name="connsiteY508" fmla="*/ 737667 h 1715383"/>
                <a:gd name="connsiteX509" fmla="*/ 8467449 w 8734227"/>
                <a:gd name="connsiteY509" fmla="*/ 695770 h 1715383"/>
                <a:gd name="connsiteX510" fmla="*/ 8468071 w 8734227"/>
                <a:gd name="connsiteY510" fmla="*/ 695770 h 1715383"/>
                <a:gd name="connsiteX511" fmla="*/ 8468693 w 8734227"/>
                <a:gd name="connsiteY511" fmla="*/ 695457 h 1715383"/>
                <a:gd name="connsiteX512" fmla="*/ 8469626 w 8734227"/>
                <a:gd name="connsiteY512" fmla="*/ 695770 h 1715383"/>
                <a:gd name="connsiteX513" fmla="*/ 8470870 w 8734227"/>
                <a:gd name="connsiteY513" fmla="*/ 695770 h 1715383"/>
                <a:gd name="connsiteX514" fmla="*/ 8471803 w 8734227"/>
                <a:gd name="connsiteY514" fmla="*/ 696707 h 1715383"/>
                <a:gd name="connsiteX515" fmla="*/ 8472736 w 8734227"/>
                <a:gd name="connsiteY515" fmla="*/ 697332 h 1715383"/>
                <a:gd name="connsiteX516" fmla="*/ 8473358 w 8734227"/>
                <a:gd name="connsiteY516" fmla="*/ 698268 h 1715383"/>
                <a:gd name="connsiteX517" fmla="*/ 8473980 w 8734227"/>
                <a:gd name="connsiteY517" fmla="*/ 699518 h 1715383"/>
                <a:gd name="connsiteX518" fmla="*/ 8473358 w 8734227"/>
                <a:gd name="connsiteY518" fmla="*/ 700143 h 1715383"/>
                <a:gd name="connsiteX519" fmla="*/ 8445137 w 8734227"/>
                <a:gd name="connsiteY519" fmla="*/ 740635 h 1715383"/>
                <a:gd name="connsiteX520" fmla="*/ 8448998 w 8734227"/>
                <a:gd name="connsiteY520" fmla="*/ 742298 h 1715383"/>
                <a:gd name="connsiteX521" fmla="*/ 8461335 w 8734227"/>
                <a:gd name="connsiteY521" fmla="*/ 748760 h 1715383"/>
                <a:gd name="connsiteX522" fmla="*/ 8472129 w 8734227"/>
                <a:gd name="connsiteY522" fmla="*/ 755838 h 1715383"/>
                <a:gd name="connsiteX523" fmla="*/ 8481691 w 8734227"/>
                <a:gd name="connsiteY523" fmla="*/ 763839 h 1715383"/>
                <a:gd name="connsiteX524" fmla="*/ 8490018 w 8734227"/>
                <a:gd name="connsiteY524" fmla="*/ 772456 h 1715383"/>
                <a:gd name="connsiteX525" fmla="*/ 8497728 w 8734227"/>
                <a:gd name="connsiteY525" fmla="*/ 781072 h 1715383"/>
                <a:gd name="connsiteX526" fmla="*/ 8504205 w 8734227"/>
                <a:gd name="connsiteY526" fmla="*/ 789997 h 1715383"/>
                <a:gd name="connsiteX527" fmla="*/ 8509757 w 8734227"/>
                <a:gd name="connsiteY527" fmla="*/ 799229 h 1715383"/>
                <a:gd name="connsiteX528" fmla="*/ 8514383 w 8734227"/>
                <a:gd name="connsiteY528" fmla="*/ 808153 h 1715383"/>
                <a:gd name="connsiteX529" fmla="*/ 8518084 w 8734227"/>
                <a:gd name="connsiteY529" fmla="*/ 817077 h 1715383"/>
                <a:gd name="connsiteX530" fmla="*/ 8521477 w 8734227"/>
                <a:gd name="connsiteY530" fmla="*/ 825386 h 1715383"/>
                <a:gd name="connsiteX531" fmla="*/ 8523944 w 8734227"/>
                <a:gd name="connsiteY531" fmla="*/ 833079 h 1715383"/>
                <a:gd name="connsiteX532" fmla="*/ 8526103 w 8734227"/>
                <a:gd name="connsiteY532" fmla="*/ 840773 h 1715383"/>
                <a:gd name="connsiteX533" fmla="*/ 8527336 w 8734227"/>
                <a:gd name="connsiteY533" fmla="*/ 846927 h 1715383"/>
                <a:gd name="connsiteX534" fmla="*/ 8528262 w 8734227"/>
                <a:gd name="connsiteY534" fmla="*/ 852774 h 1715383"/>
                <a:gd name="connsiteX535" fmla="*/ 8528879 w 8734227"/>
                <a:gd name="connsiteY535" fmla="*/ 857390 h 1715383"/>
                <a:gd name="connsiteX536" fmla="*/ 8529495 w 8734227"/>
                <a:gd name="connsiteY536" fmla="*/ 861083 h 1715383"/>
                <a:gd name="connsiteX537" fmla="*/ 8529495 w 8734227"/>
                <a:gd name="connsiteY537" fmla="*/ 862929 h 1715383"/>
                <a:gd name="connsiteX538" fmla="*/ 8529495 w 8734227"/>
                <a:gd name="connsiteY538" fmla="*/ 863853 h 1715383"/>
                <a:gd name="connsiteX539" fmla="*/ 8201956 w 8734227"/>
                <a:gd name="connsiteY539" fmla="*/ 863853 h 1715383"/>
                <a:gd name="connsiteX540" fmla="*/ 8201956 w 8734227"/>
                <a:gd name="connsiteY540" fmla="*/ 862929 h 1715383"/>
                <a:gd name="connsiteX541" fmla="*/ 8201956 w 8734227"/>
                <a:gd name="connsiteY541" fmla="*/ 861083 h 1715383"/>
                <a:gd name="connsiteX542" fmla="*/ 8202265 w 8734227"/>
                <a:gd name="connsiteY542" fmla="*/ 857698 h 1715383"/>
                <a:gd name="connsiteX543" fmla="*/ 8203190 w 8734227"/>
                <a:gd name="connsiteY543" fmla="*/ 853390 h 1715383"/>
                <a:gd name="connsiteX544" fmla="*/ 8204115 w 8734227"/>
                <a:gd name="connsiteY544" fmla="*/ 848158 h 1715383"/>
                <a:gd name="connsiteX545" fmla="*/ 8204732 w 8734227"/>
                <a:gd name="connsiteY545" fmla="*/ 842004 h 1715383"/>
                <a:gd name="connsiteX546" fmla="*/ 8206582 w 8734227"/>
                <a:gd name="connsiteY546" fmla="*/ 835233 h 1715383"/>
                <a:gd name="connsiteX547" fmla="*/ 8209050 w 8734227"/>
                <a:gd name="connsiteY547" fmla="*/ 827848 h 1715383"/>
                <a:gd name="connsiteX548" fmla="*/ 8211517 w 8734227"/>
                <a:gd name="connsiteY548" fmla="*/ 819847 h 1715383"/>
                <a:gd name="connsiteX549" fmla="*/ 8214910 w 8734227"/>
                <a:gd name="connsiteY549" fmla="*/ 811538 h 1715383"/>
                <a:gd name="connsiteX550" fmla="*/ 8218919 w 8734227"/>
                <a:gd name="connsiteY550" fmla="*/ 802922 h 1715383"/>
                <a:gd name="connsiteX551" fmla="*/ 8223546 w 8734227"/>
                <a:gd name="connsiteY551" fmla="*/ 793997 h 1715383"/>
                <a:gd name="connsiteX552" fmla="*/ 8229405 w 8734227"/>
                <a:gd name="connsiteY552" fmla="*/ 785688 h 1715383"/>
                <a:gd name="connsiteX553" fmla="*/ 8236190 w 8734227"/>
                <a:gd name="connsiteY553" fmla="*/ 777072 h 1715383"/>
                <a:gd name="connsiteX554" fmla="*/ 8243592 w 8734227"/>
                <a:gd name="connsiteY554" fmla="*/ 768763 h 1715383"/>
                <a:gd name="connsiteX555" fmla="*/ 8251920 w 8734227"/>
                <a:gd name="connsiteY555" fmla="*/ 760762 h 1715383"/>
                <a:gd name="connsiteX556" fmla="*/ 8261481 w 8734227"/>
                <a:gd name="connsiteY556" fmla="*/ 753376 h 1715383"/>
                <a:gd name="connsiteX557" fmla="*/ 8272275 w 8734227"/>
                <a:gd name="connsiteY557" fmla="*/ 746606 h 1715383"/>
                <a:gd name="connsiteX558" fmla="*/ 8284612 w 8734227"/>
                <a:gd name="connsiteY558" fmla="*/ 740452 h 1715383"/>
                <a:gd name="connsiteX559" fmla="*/ 8285699 w 8734227"/>
                <a:gd name="connsiteY559" fmla="*/ 740023 h 1715383"/>
                <a:gd name="connsiteX560" fmla="*/ 8258088 w 8734227"/>
                <a:gd name="connsiteY560" fmla="*/ 700143 h 1715383"/>
                <a:gd name="connsiteX561" fmla="*/ 8258088 w 8734227"/>
                <a:gd name="connsiteY561" fmla="*/ 699518 h 1715383"/>
                <a:gd name="connsiteX562" fmla="*/ 8258088 w 8734227"/>
                <a:gd name="connsiteY562" fmla="*/ 698268 h 1715383"/>
                <a:gd name="connsiteX563" fmla="*/ 8259006 w 8734227"/>
                <a:gd name="connsiteY563" fmla="*/ 697332 h 1715383"/>
                <a:gd name="connsiteX564" fmla="*/ 8260229 w 8734227"/>
                <a:gd name="connsiteY564" fmla="*/ 696707 h 1715383"/>
                <a:gd name="connsiteX565" fmla="*/ 8260841 w 8734227"/>
                <a:gd name="connsiteY565" fmla="*/ 695770 h 1715383"/>
                <a:gd name="connsiteX566" fmla="*/ 8261758 w 8734227"/>
                <a:gd name="connsiteY566" fmla="*/ 695770 h 1715383"/>
                <a:gd name="connsiteX567" fmla="*/ 1495584 w 8734227"/>
                <a:gd name="connsiteY567" fmla="*/ 657469 h 1715383"/>
                <a:gd name="connsiteX568" fmla="*/ 1496132 w 8734227"/>
                <a:gd name="connsiteY568" fmla="*/ 982883 h 1715383"/>
                <a:gd name="connsiteX569" fmla="*/ 1127626 w 8734227"/>
                <a:gd name="connsiteY569" fmla="*/ 982883 h 1715383"/>
                <a:gd name="connsiteX570" fmla="*/ 1127626 w 8734227"/>
                <a:gd name="connsiteY570" fmla="*/ 708970 h 1715383"/>
                <a:gd name="connsiteX571" fmla="*/ 4171486 w 8734227"/>
                <a:gd name="connsiteY571" fmla="*/ 652571 h 1715383"/>
                <a:gd name="connsiteX572" fmla="*/ 4323878 w 8734227"/>
                <a:gd name="connsiteY572" fmla="*/ 731098 h 1715383"/>
                <a:gd name="connsiteX573" fmla="*/ 4239535 w 8734227"/>
                <a:gd name="connsiteY573" fmla="*/ 880396 h 1715383"/>
                <a:gd name="connsiteX574" fmla="*/ 4344963 w 8734227"/>
                <a:gd name="connsiteY574" fmla="*/ 1040357 h 1715383"/>
                <a:gd name="connsiteX575" fmla="*/ 4172445 w 8734227"/>
                <a:gd name="connsiteY575" fmla="*/ 1248792 h 1715383"/>
                <a:gd name="connsiteX576" fmla="*/ 4044015 w 8734227"/>
                <a:gd name="connsiteY576" fmla="*/ 1217769 h 1715383"/>
                <a:gd name="connsiteX577" fmla="*/ 3914626 w 8734227"/>
                <a:gd name="connsiteY577" fmla="*/ 1250731 h 1715383"/>
                <a:gd name="connsiteX578" fmla="*/ 3710479 w 8734227"/>
                <a:gd name="connsiteY578" fmla="*/ 893968 h 1715383"/>
                <a:gd name="connsiteX579" fmla="*/ 3897374 w 8734227"/>
                <a:gd name="connsiteY579" fmla="*/ 654510 h 1715383"/>
                <a:gd name="connsiteX580" fmla="*/ 4033472 w 8734227"/>
                <a:gd name="connsiteY580" fmla="*/ 689411 h 1715383"/>
                <a:gd name="connsiteX581" fmla="*/ 4171486 w 8734227"/>
                <a:gd name="connsiteY581" fmla="*/ 652571 h 1715383"/>
                <a:gd name="connsiteX582" fmla="*/ 6842525 w 8734227"/>
                <a:gd name="connsiteY582" fmla="*/ 641312 h 1715383"/>
                <a:gd name="connsiteX583" fmla="*/ 6834796 w 8734227"/>
                <a:gd name="connsiteY583" fmla="*/ 643229 h 1715383"/>
                <a:gd name="connsiteX584" fmla="*/ 6827841 w 8734227"/>
                <a:gd name="connsiteY584" fmla="*/ 646680 h 1715383"/>
                <a:gd name="connsiteX585" fmla="*/ 6822818 w 8734227"/>
                <a:gd name="connsiteY585" fmla="*/ 651664 h 1715383"/>
                <a:gd name="connsiteX586" fmla="*/ 6818953 w 8734227"/>
                <a:gd name="connsiteY586" fmla="*/ 658566 h 1715383"/>
                <a:gd name="connsiteX587" fmla="*/ 6817794 w 8734227"/>
                <a:gd name="connsiteY587" fmla="*/ 666234 h 1715383"/>
                <a:gd name="connsiteX588" fmla="*/ 6818953 w 8734227"/>
                <a:gd name="connsiteY588" fmla="*/ 674286 h 1715383"/>
                <a:gd name="connsiteX589" fmla="*/ 6822818 w 8734227"/>
                <a:gd name="connsiteY589" fmla="*/ 680804 h 1715383"/>
                <a:gd name="connsiteX590" fmla="*/ 6827841 w 8734227"/>
                <a:gd name="connsiteY590" fmla="*/ 686172 h 1715383"/>
                <a:gd name="connsiteX591" fmla="*/ 6834796 w 8734227"/>
                <a:gd name="connsiteY591" fmla="*/ 689622 h 1715383"/>
                <a:gd name="connsiteX592" fmla="*/ 6842525 w 8734227"/>
                <a:gd name="connsiteY592" fmla="*/ 690772 h 1715383"/>
                <a:gd name="connsiteX593" fmla="*/ 6850253 w 8734227"/>
                <a:gd name="connsiteY593" fmla="*/ 689622 h 1715383"/>
                <a:gd name="connsiteX594" fmla="*/ 6857208 w 8734227"/>
                <a:gd name="connsiteY594" fmla="*/ 686172 h 1715383"/>
                <a:gd name="connsiteX595" fmla="*/ 6862231 w 8734227"/>
                <a:gd name="connsiteY595" fmla="*/ 680804 h 1715383"/>
                <a:gd name="connsiteX596" fmla="*/ 6866096 w 8734227"/>
                <a:gd name="connsiteY596" fmla="*/ 674286 h 1715383"/>
                <a:gd name="connsiteX597" fmla="*/ 6867255 w 8734227"/>
                <a:gd name="connsiteY597" fmla="*/ 666234 h 1715383"/>
                <a:gd name="connsiteX598" fmla="*/ 6866096 w 8734227"/>
                <a:gd name="connsiteY598" fmla="*/ 658566 h 1715383"/>
                <a:gd name="connsiteX599" fmla="*/ 6862231 w 8734227"/>
                <a:gd name="connsiteY599" fmla="*/ 651664 h 1715383"/>
                <a:gd name="connsiteX600" fmla="*/ 6857208 w 8734227"/>
                <a:gd name="connsiteY600" fmla="*/ 646680 h 1715383"/>
                <a:gd name="connsiteX601" fmla="*/ 6850253 w 8734227"/>
                <a:gd name="connsiteY601" fmla="*/ 643229 h 1715383"/>
                <a:gd name="connsiteX602" fmla="*/ 6662071 w 8734227"/>
                <a:gd name="connsiteY602" fmla="*/ 641312 h 1715383"/>
                <a:gd name="connsiteX603" fmla="*/ 6654343 w 8734227"/>
                <a:gd name="connsiteY603" fmla="*/ 643229 h 1715383"/>
                <a:gd name="connsiteX604" fmla="*/ 6647388 w 8734227"/>
                <a:gd name="connsiteY604" fmla="*/ 646680 h 1715383"/>
                <a:gd name="connsiteX605" fmla="*/ 6642364 w 8734227"/>
                <a:gd name="connsiteY605" fmla="*/ 651664 h 1715383"/>
                <a:gd name="connsiteX606" fmla="*/ 6639273 w 8734227"/>
                <a:gd name="connsiteY606" fmla="*/ 658566 h 1715383"/>
                <a:gd name="connsiteX607" fmla="*/ 6637727 w 8734227"/>
                <a:gd name="connsiteY607" fmla="*/ 666234 h 1715383"/>
                <a:gd name="connsiteX608" fmla="*/ 6639273 w 8734227"/>
                <a:gd name="connsiteY608" fmla="*/ 674286 h 1715383"/>
                <a:gd name="connsiteX609" fmla="*/ 6642364 w 8734227"/>
                <a:gd name="connsiteY609" fmla="*/ 680804 h 1715383"/>
                <a:gd name="connsiteX610" fmla="*/ 6647388 w 8734227"/>
                <a:gd name="connsiteY610" fmla="*/ 686172 h 1715383"/>
                <a:gd name="connsiteX611" fmla="*/ 6654343 w 8734227"/>
                <a:gd name="connsiteY611" fmla="*/ 689622 h 1715383"/>
                <a:gd name="connsiteX612" fmla="*/ 6662071 w 8734227"/>
                <a:gd name="connsiteY612" fmla="*/ 690772 h 1715383"/>
                <a:gd name="connsiteX613" fmla="*/ 6670186 w 8734227"/>
                <a:gd name="connsiteY613" fmla="*/ 689622 h 1715383"/>
                <a:gd name="connsiteX614" fmla="*/ 6676755 w 8734227"/>
                <a:gd name="connsiteY614" fmla="*/ 686172 h 1715383"/>
                <a:gd name="connsiteX615" fmla="*/ 6682551 w 8734227"/>
                <a:gd name="connsiteY615" fmla="*/ 680804 h 1715383"/>
                <a:gd name="connsiteX616" fmla="*/ 6685642 w 8734227"/>
                <a:gd name="connsiteY616" fmla="*/ 674286 h 1715383"/>
                <a:gd name="connsiteX617" fmla="*/ 6687188 w 8734227"/>
                <a:gd name="connsiteY617" fmla="*/ 666234 h 1715383"/>
                <a:gd name="connsiteX618" fmla="*/ 6685642 w 8734227"/>
                <a:gd name="connsiteY618" fmla="*/ 658566 h 1715383"/>
                <a:gd name="connsiteX619" fmla="*/ 6682551 w 8734227"/>
                <a:gd name="connsiteY619" fmla="*/ 651664 h 1715383"/>
                <a:gd name="connsiteX620" fmla="*/ 6676755 w 8734227"/>
                <a:gd name="connsiteY620" fmla="*/ 646680 h 1715383"/>
                <a:gd name="connsiteX621" fmla="*/ 6670186 w 8734227"/>
                <a:gd name="connsiteY621" fmla="*/ 643229 h 1715383"/>
                <a:gd name="connsiteX622" fmla="*/ 4828217 w 8734227"/>
                <a:gd name="connsiteY622" fmla="*/ 546687 h 1715383"/>
                <a:gd name="connsiteX623" fmla="*/ 4828217 w 8734227"/>
                <a:gd name="connsiteY623" fmla="*/ 1471905 h 1715383"/>
                <a:gd name="connsiteX624" fmla="*/ 5444866 w 8734227"/>
                <a:gd name="connsiteY624" fmla="*/ 1471905 h 1715383"/>
                <a:gd name="connsiteX625" fmla="*/ 5444866 w 8734227"/>
                <a:gd name="connsiteY625" fmla="*/ 546687 h 1715383"/>
                <a:gd name="connsiteX626" fmla="*/ 6623381 w 8734227"/>
                <a:gd name="connsiteY626" fmla="*/ 544709 h 1715383"/>
                <a:gd name="connsiteX627" fmla="*/ 6624531 w 8734227"/>
                <a:gd name="connsiteY627" fmla="*/ 545101 h 1715383"/>
                <a:gd name="connsiteX628" fmla="*/ 6624914 w 8734227"/>
                <a:gd name="connsiteY628" fmla="*/ 545101 h 1715383"/>
                <a:gd name="connsiteX629" fmla="*/ 6660924 w 8734227"/>
                <a:gd name="connsiteY629" fmla="*/ 597114 h 1715383"/>
                <a:gd name="connsiteX630" fmla="*/ 6667480 w 8734227"/>
                <a:gd name="connsiteY630" fmla="*/ 594528 h 1715383"/>
                <a:gd name="connsiteX631" fmla="*/ 6686415 w 8734227"/>
                <a:gd name="connsiteY631" fmla="*/ 589130 h 1715383"/>
                <a:gd name="connsiteX632" fmla="*/ 6706121 w 8734227"/>
                <a:gd name="connsiteY632" fmla="*/ 584889 h 1715383"/>
                <a:gd name="connsiteX633" fmla="*/ 6728533 w 8734227"/>
                <a:gd name="connsiteY633" fmla="*/ 582576 h 1715383"/>
                <a:gd name="connsiteX634" fmla="*/ 6752491 w 8734227"/>
                <a:gd name="connsiteY634" fmla="*/ 581804 h 1715383"/>
                <a:gd name="connsiteX635" fmla="*/ 6777221 w 8734227"/>
                <a:gd name="connsiteY635" fmla="*/ 582961 h 1715383"/>
                <a:gd name="connsiteX636" fmla="*/ 6800019 w 8734227"/>
                <a:gd name="connsiteY636" fmla="*/ 585660 h 1715383"/>
                <a:gd name="connsiteX637" fmla="*/ 6821272 w 8734227"/>
                <a:gd name="connsiteY637" fmla="*/ 590287 h 1715383"/>
                <a:gd name="connsiteX638" fmla="*/ 6839819 w 8734227"/>
                <a:gd name="connsiteY638" fmla="*/ 596070 h 1715383"/>
                <a:gd name="connsiteX639" fmla="*/ 6843354 w 8734227"/>
                <a:gd name="connsiteY639" fmla="*/ 597593 h 1715383"/>
                <a:gd name="connsiteX640" fmla="*/ 6879938 w 8734227"/>
                <a:gd name="connsiteY640" fmla="*/ 545101 h 1715383"/>
                <a:gd name="connsiteX641" fmla="*/ 6880717 w 8734227"/>
                <a:gd name="connsiteY641" fmla="*/ 545101 h 1715383"/>
                <a:gd name="connsiteX642" fmla="*/ 6881497 w 8734227"/>
                <a:gd name="connsiteY642" fmla="*/ 544709 h 1715383"/>
                <a:gd name="connsiteX643" fmla="*/ 6882665 w 8734227"/>
                <a:gd name="connsiteY643" fmla="*/ 545101 h 1715383"/>
                <a:gd name="connsiteX644" fmla="*/ 6884224 w 8734227"/>
                <a:gd name="connsiteY644" fmla="*/ 545101 h 1715383"/>
                <a:gd name="connsiteX645" fmla="*/ 6885393 w 8734227"/>
                <a:gd name="connsiteY645" fmla="*/ 546275 h 1715383"/>
                <a:gd name="connsiteX646" fmla="*/ 6886562 w 8734227"/>
                <a:gd name="connsiteY646" fmla="*/ 547058 h 1715383"/>
                <a:gd name="connsiteX647" fmla="*/ 6887341 w 8734227"/>
                <a:gd name="connsiteY647" fmla="*/ 548231 h 1715383"/>
                <a:gd name="connsiteX648" fmla="*/ 6888121 w 8734227"/>
                <a:gd name="connsiteY648" fmla="*/ 549797 h 1715383"/>
                <a:gd name="connsiteX649" fmla="*/ 6887341 w 8734227"/>
                <a:gd name="connsiteY649" fmla="*/ 550580 h 1715383"/>
                <a:gd name="connsiteX650" fmla="*/ 6851984 w 8734227"/>
                <a:gd name="connsiteY650" fmla="*/ 601312 h 1715383"/>
                <a:gd name="connsiteX651" fmla="*/ 6856821 w 8734227"/>
                <a:gd name="connsiteY651" fmla="*/ 603396 h 1715383"/>
                <a:gd name="connsiteX652" fmla="*/ 6872278 w 8734227"/>
                <a:gd name="connsiteY652" fmla="*/ 611492 h 1715383"/>
                <a:gd name="connsiteX653" fmla="*/ 6885802 w 8734227"/>
                <a:gd name="connsiteY653" fmla="*/ 620360 h 1715383"/>
                <a:gd name="connsiteX654" fmla="*/ 6897781 w 8734227"/>
                <a:gd name="connsiteY654" fmla="*/ 630384 h 1715383"/>
                <a:gd name="connsiteX655" fmla="*/ 6908214 w 8734227"/>
                <a:gd name="connsiteY655" fmla="*/ 641180 h 1715383"/>
                <a:gd name="connsiteX656" fmla="*/ 6917874 w 8734227"/>
                <a:gd name="connsiteY656" fmla="*/ 651975 h 1715383"/>
                <a:gd name="connsiteX657" fmla="*/ 6925989 w 8734227"/>
                <a:gd name="connsiteY657" fmla="*/ 663156 h 1715383"/>
                <a:gd name="connsiteX658" fmla="*/ 6932944 w 8734227"/>
                <a:gd name="connsiteY658" fmla="*/ 674723 h 1715383"/>
                <a:gd name="connsiteX659" fmla="*/ 6938740 w 8734227"/>
                <a:gd name="connsiteY659" fmla="*/ 685904 h 1715383"/>
                <a:gd name="connsiteX660" fmla="*/ 6943377 w 8734227"/>
                <a:gd name="connsiteY660" fmla="*/ 697084 h 1715383"/>
                <a:gd name="connsiteX661" fmla="*/ 6947628 w 8734227"/>
                <a:gd name="connsiteY661" fmla="*/ 707495 h 1715383"/>
                <a:gd name="connsiteX662" fmla="*/ 6950719 w 8734227"/>
                <a:gd name="connsiteY662" fmla="*/ 717133 h 1715383"/>
                <a:gd name="connsiteX663" fmla="*/ 6953424 w 8734227"/>
                <a:gd name="connsiteY663" fmla="*/ 726772 h 1715383"/>
                <a:gd name="connsiteX664" fmla="*/ 6954970 w 8734227"/>
                <a:gd name="connsiteY664" fmla="*/ 734484 h 1715383"/>
                <a:gd name="connsiteX665" fmla="*/ 6956129 w 8734227"/>
                <a:gd name="connsiteY665" fmla="*/ 741809 h 1715383"/>
                <a:gd name="connsiteX666" fmla="*/ 6956902 w 8734227"/>
                <a:gd name="connsiteY666" fmla="*/ 747592 h 1715383"/>
                <a:gd name="connsiteX667" fmla="*/ 6957674 w 8734227"/>
                <a:gd name="connsiteY667" fmla="*/ 752219 h 1715383"/>
                <a:gd name="connsiteX668" fmla="*/ 6957674 w 8734227"/>
                <a:gd name="connsiteY668" fmla="*/ 754532 h 1715383"/>
                <a:gd name="connsiteX669" fmla="*/ 6957674 w 8734227"/>
                <a:gd name="connsiteY669" fmla="*/ 755689 h 1715383"/>
                <a:gd name="connsiteX670" fmla="*/ 6547307 w 8734227"/>
                <a:gd name="connsiteY670" fmla="*/ 755689 h 1715383"/>
                <a:gd name="connsiteX671" fmla="*/ 6547307 w 8734227"/>
                <a:gd name="connsiteY671" fmla="*/ 754532 h 1715383"/>
                <a:gd name="connsiteX672" fmla="*/ 6547307 w 8734227"/>
                <a:gd name="connsiteY672" fmla="*/ 752219 h 1715383"/>
                <a:gd name="connsiteX673" fmla="*/ 6547694 w 8734227"/>
                <a:gd name="connsiteY673" fmla="*/ 747978 h 1715383"/>
                <a:gd name="connsiteX674" fmla="*/ 6548853 w 8734227"/>
                <a:gd name="connsiteY674" fmla="*/ 742580 h 1715383"/>
                <a:gd name="connsiteX675" fmla="*/ 6550012 w 8734227"/>
                <a:gd name="connsiteY675" fmla="*/ 736026 h 1715383"/>
                <a:gd name="connsiteX676" fmla="*/ 6550785 w 8734227"/>
                <a:gd name="connsiteY676" fmla="*/ 728315 h 1715383"/>
                <a:gd name="connsiteX677" fmla="*/ 6553103 w 8734227"/>
                <a:gd name="connsiteY677" fmla="*/ 719832 h 1715383"/>
                <a:gd name="connsiteX678" fmla="*/ 6556194 w 8734227"/>
                <a:gd name="connsiteY678" fmla="*/ 710579 h 1715383"/>
                <a:gd name="connsiteX679" fmla="*/ 6559286 w 8734227"/>
                <a:gd name="connsiteY679" fmla="*/ 700555 h 1715383"/>
                <a:gd name="connsiteX680" fmla="*/ 6563537 w 8734227"/>
                <a:gd name="connsiteY680" fmla="*/ 690145 h 1715383"/>
                <a:gd name="connsiteX681" fmla="*/ 6568559 w 8734227"/>
                <a:gd name="connsiteY681" fmla="*/ 679349 h 1715383"/>
                <a:gd name="connsiteX682" fmla="*/ 6574356 w 8734227"/>
                <a:gd name="connsiteY682" fmla="*/ 668168 h 1715383"/>
                <a:gd name="connsiteX683" fmla="*/ 6581698 w 8734227"/>
                <a:gd name="connsiteY683" fmla="*/ 657758 h 1715383"/>
                <a:gd name="connsiteX684" fmla="*/ 6590198 w 8734227"/>
                <a:gd name="connsiteY684" fmla="*/ 646963 h 1715383"/>
                <a:gd name="connsiteX685" fmla="*/ 6599472 w 8734227"/>
                <a:gd name="connsiteY685" fmla="*/ 636553 h 1715383"/>
                <a:gd name="connsiteX686" fmla="*/ 6609906 w 8734227"/>
                <a:gd name="connsiteY686" fmla="*/ 626529 h 1715383"/>
                <a:gd name="connsiteX687" fmla="*/ 6621884 w 8734227"/>
                <a:gd name="connsiteY687" fmla="*/ 617275 h 1715383"/>
                <a:gd name="connsiteX688" fmla="*/ 6635408 w 8734227"/>
                <a:gd name="connsiteY688" fmla="*/ 608793 h 1715383"/>
                <a:gd name="connsiteX689" fmla="*/ 6650865 w 8734227"/>
                <a:gd name="connsiteY689" fmla="*/ 601082 h 1715383"/>
                <a:gd name="connsiteX690" fmla="*/ 6652226 w 8734227"/>
                <a:gd name="connsiteY690" fmla="*/ 600545 h 1715383"/>
                <a:gd name="connsiteX691" fmla="*/ 6617634 w 8734227"/>
                <a:gd name="connsiteY691" fmla="*/ 550580 h 1715383"/>
                <a:gd name="connsiteX692" fmla="*/ 6617634 w 8734227"/>
                <a:gd name="connsiteY692" fmla="*/ 549797 h 1715383"/>
                <a:gd name="connsiteX693" fmla="*/ 6617634 w 8734227"/>
                <a:gd name="connsiteY693" fmla="*/ 548231 h 1715383"/>
                <a:gd name="connsiteX694" fmla="*/ 6618783 w 8734227"/>
                <a:gd name="connsiteY694" fmla="*/ 547058 h 1715383"/>
                <a:gd name="connsiteX695" fmla="*/ 6620316 w 8734227"/>
                <a:gd name="connsiteY695" fmla="*/ 546275 h 1715383"/>
                <a:gd name="connsiteX696" fmla="*/ 6621082 w 8734227"/>
                <a:gd name="connsiteY696" fmla="*/ 545101 h 1715383"/>
                <a:gd name="connsiteX697" fmla="*/ 6622232 w 8734227"/>
                <a:gd name="connsiteY697" fmla="*/ 545101 h 1715383"/>
                <a:gd name="connsiteX698" fmla="*/ 4183017 w 8734227"/>
                <a:gd name="connsiteY698" fmla="*/ 463640 h 1715383"/>
                <a:gd name="connsiteX699" fmla="*/ 4142768 w 8734227"/>
                <a:gd name="connsiteY699" fmla="*/ 589602 h 1715383"/>
                <a:gd name="connsiteX700" fmla="*/ 4026815 w 8734227"/>
                <a:gd name="connsiteY700" fmla="*/ 644831 h 1715383"/>
                <a:gd name="connsiteX701" fmla="*/ 4060355 w 8734227"/>
                <a:gd name="connsiteY701" fmla="*/ 532435 h 1715383"/>
                <a:gd name="connsiteX702" fmla="*/ 4183017 w 8734227"/>
                <a:gd name="connsiteY702" fmla="*/ 463640 h 1715383"/>
                <a:gd name="connsiteX703" fmla="*/ 142606 w 8734227"/>
                <a:gd name="connsiteY703" fmla="*/ 435886 h 1715383"/>
                <a:gd name="connsiteX704" fmla="*/ 142606 w 8734227"/>
                <a:gd name="connsiteY704" fmla="*/ 1564635 h 1715383"/>
                <a:gd name="connsiteX705" fmla="*/ 2167619 w 8734227"/>
                <a:gd name="connsiteY705" fmla="*/ 1564635 h 1715383"/>
                <a:gd name="connsiteX706" fmla="*/ 2167619 w 8734227"/>
                <a:gd name="connsiteY706" fmla="*/ 435886 h 1715383"/>
                <a:gd name="connsiteX707" fmla="*/ 5049402 w 8734227"/>
                <a:gd name="connsiteY707" fmla="*/ 408930 h 1715383"/>
                <a:gd name="connsiteX708" fmla="*/ 5033704 w 8734227"/>
                <a:gd name="connsiteY708" fmla="*/ 424628 h 1715383"/>
                <a:gd name="connsiteX709" fmla="*/ 5049402 w 8734227"/>
                <a:gd name="connsiteY709" fmla="*/ 440326 h 1715383"/>
                <a:gd name="connsiteX710" fmla="*/ 5223681 w 8734227"/>
                <a:gd name="connsiteY710" fmla="*/ 440326 h 1715383"/>
                <a:gd name="connsiteX711" fmla="*/ 5239379 w 8734227"/>
                <a:gd name="connsiteY711" fmla="*/ 424628 h 1715383"/>
                <a:gd name="connsiteX712" fmla="*/ 5223681 w 8734227"/>
                <a:gd name="connsiteY712" fmla="*/ 408930 h 1715383"/>
                <a:gd name="connsiteX713" fmla="*/ 2518597 w 8734227"/>
                <a:gd name="connsiteY713" fmla="*/ 402274 h 1715383"/>
                <a:gd name="connsiteX714" fmla="*/ 2481061 w 8734227"/>
                <a:gd name="connsiteY714" fmla="*/ 439810 h 1715383"/>
                <a:gd name="connsiteX715" fmla="*/ 2481061 w 8734227"/>
                <a:gd name="connsiteY715" fmla="*/ 1467497 h 1715383"/>
                <a:gd name="connsiteX716" fmla="*/ 2518597 w 8734227"/>
                <a:gd name="connsiteY716" fmla="*/ 1505033 h 1715383"/>
                <a:gd name="connsiteX717" fmla="*/ 3130747 w 8734227"/>
                <a:gd name="connsiteY717" fmla="*/ 1505033 h 1715383"/>
                <a:gd name="connsiteX718" fmla="*/ 3168284 w 8734227"/>
                <a:gd name="connsiteY718" fmla="*/ 1467497 h 1715383"/>
                <a:gd name="connsiteX719" fmla="*/ 3168284 w 8734227"/>
                <a:gd name="connsiteY719" fmla="*/ 439810 h 1715383"/>
                <a:gd name="connsiteX720" fmla="*/ 3130747 w 8734227"/>
                <a:gd name="connsiteY720" fmla="*/ 402274 h 1715383"/>
                <a:gd name="connsiteX721" fmla="*/ 2776017 w 8734227"/>
                <a:gd name="connsiteY721" fmla="*/ 362170 h 1715383"/>
                <a:gd name="connsiteX722" fmla="*/ 2771932 w 8734227"/>
                <a:gd name="connsiteY722" fmla="*/ 363863 h 1715383"/>
                <a:gd name="connsiteX723" fmla="*/ 2770239 w 8734227"/>
                <a:gd name="connsiteY723" fmla="*/ 367948 h 1715383"/>
                <a:gd name="connsiteX724" fmla="*/ 2771932 w 8734227"/>
                <a:gd name="connsiteY724" fmla="*/ 372033 h 1715383"/>
                <a:gd name="connsiteX725" fmla="*/ 2776017 w 8734227"/>
                <a:gd name="connsiteY725" fmla="*/ 373725 h 1715383"/>
                <a:gd name="connsiteX726" fmla="*/ 2872301 w 8734227"/>
                <a:gd name="connsiteY726" fmla="*/ 373725 h 1715383"/>
                <a:gd name="connsiteX727" fmla="*/ 2878078 w 8734227"/>
                <a:gd name="connsiteY727" fmla="*/ 367948 h 1715383"/>
                <a:gd name="connsiteX728" fmla="*/ 2872301 w 8734227"/>
                <a:gd name="connsiteY728" fmla="*/ 362170 h 1715383"/>
                <a:gd name="connsiteX729" fmla="*/ 8074277 w 8734227"/>
                <a:gd name="connsiteY729" fmla="*/ 335996 h 1715383"/>
                <a:gd name="connsiteX730" fmla="*/ 8029436 w 8734227"/>
                <a:gd name="connsiteY730" fmla="*/ 380837 h 1715383"/>
                <a:gd name="connsiteX731" fmla="*/ 8029436 w 8734227"/>
                <a:gd name="connsiteY731" fmla="*/ 1435314 h 1715383"/>
                <a:gd name="connsiteX732" fmla="*/ 8074277 w 8734227"/>
                <a:gd name="connsiteY732" fmla="*/ 1480155 h 1715383"/>
                <a:gd name="connsiteX733" fmla="*/ 8657174 w 8734227"/>
                <a:gd name="connsiteY733" fmla="*/ 1480155 h 1715383"/>
                <a:gd name="connsiteX734" fmla="*/ 8702015 w 8734227"/>
                <a:gd name="connsiteY734" fmla="*/ 1435314 h 1715383"/>
                <a:gd name="connsiteX735" fmla="*/ 8702015 w 8734227"/>
                <a:gd name="connsiteY735" fmla="*/ 380837 h 1715383"/>
                <a:gd name="connsiteX736" fmla="*/ 8657174 w 8734227"/>
                <a:gd name="connsiteY736" fmla="*/ 335996 h 1715383"/>
                <a:gd name="connsiteX737" fmla="*/ 5759891 w 8734227"/>
                <a:gd name="connsiteY737" fmla="*/ 305930 h 1715383"/>
                <a:gd name="connsiteX738" fmla="*/ 5759891 w 8734227"/>
                <a:gd name="connsiteY738" fmla="*/ 1478569 h 1715383"/>
                <a:gd name="connsiteX739" fmla="*/ 7741904 w 8734227"/>
                <a:gd name="connsiteY739" fmla="*/ 1478569 h 1715383"/>
                <a:gd name="connsiteX740" fmla="*/ 7741904 w 8734227"/>
                <a:gd name="connsiteY740" fmla="*/ 305930 h 1715383"/>
                <a:gd name="connsiteX741" fmla="*/ 4878987 w 8734227"/>
                <a:gd name="connsiteY741" fmla="*/ 300646 h 1715383"/>
                <a:gd name="connsiteX742" fmla="*/ 5394095 w 8734227"/>
                <a:gd name="connsiteY742" fmla="*/ 300646 h 1715383"/>
                <a:gd name="connsiteX743" fmla="*/ 5492672 w 8734227"/>
                <a:gd name="connsiteY743" fmla="*/ 399224 h 1715383"/>
                <a:gd name="connsiteX744" fmla="*/ 5492672 w 8734227"/>
                <a:gd name="connsiteY744" fmla="*/ 1616806 h 1715383"/>
                <a:gd name="connsiteX745" fmla="*/ 5394095 w 8734227"/>
                <a:gd name="connsiteY745" fmla="*/ 1715383 h 1715383"/>
                <a:gd name="connsiteX746" fmla="*/ 4878987 w 8734227"/>
                <a:gd name="connsiteY746" fmla="*/ 1715383 h 1715383"/>
                <a:gd name="connsiteX747" fmla="*/ 4780410 w 8734227"/>
                <a:gd name="connsiteY747" fmla="*/ 1616806 h 1715383"/>
                <a:gd name="connsiteX748" fmla="*/ 4780410 w 8734227"/>
                <a:gd name="connsiteY748" fmla="*/ 399224 h 1715383"/>
                <a:gd name="connsiteX749" fmla="*/ 4878987 w 8734227"/>
                <a:gd name="connsiteY749" fmla="*/ 300646 h 1715383"/>
                <a:gd name="connsiteX750" fmla="*/ 2442872 w 8734227"/>
                <a:gd name="connsiteY750" fmla="*/ 299635 h 1715383"/>
                <a:gd name="connsiteX751" fmla="*/ 3205445 w 8734227"/>
                <a:gd name="connsiteY751" fmla="*/ 299635 h 1715383"/>
                <a:gd name="connsiteX752" fmla="*/ 3205445 w 8734227"/>
                <a:gd name="connsiteY752" fmla="*/ 1714372 h 1715383"/>
                <a:gd name="connsiteX753" fmla="*/ 2442872 w 8734227"/>
                <a:gd name="connsiteY753" fmla="*/ 1714372 h 1715383"/>
                <a:gd name="connsiteX754" fmla="*/ 8046360 w 8734227"/>
                <a:gd name="connsiteY754" fmla="*/ 292188 h 1715383"/>
                <a:gd name="connsiteX755" fmla="*/ 8685091 w 8734227"/>
                <a:gd name="connsiteY755" fmla="*/ 292188 h 1715383"/>
                <a:gd name="connsiteX756" fmla="*/ 8734227 w 8734227"/>
                <a:gd name="connsiteY756" fmla="*/ 341324 h 1715383"/>
                <a:gd name="connsiteX757" fmla="*/ 8734227 w 8734227"/>
                <a:gd name="connsiteY757" fmla="*/ 1657789 h 1715383"/>
                <a:gd name="connsiteX758" fmla="*/ 8685091 w 8734227"/>
                <a:gd name="connsiteY758" fmla="*/ 1706925 h 1715383"/>
                <a:gd name="connsiteX759" fmla="*/ 8046360 w 8734227"/>
                <a:gd name="connsiteY759" fmla="*/ 1706925 h 1715383"/>
                <a:gd name="connsiteX760" fmla="*/ 7997224 w 8734227"/>
                <a:gd name="connsiteY760" fmla="*/ 1657789 h 1715383"/>
                <a:gd name="connsiteX761" fmla="*/ 7997224 w 8734227"/>
                <a:gd name="connsiteY761" fmla="*/ 341324 h 1715383"/>
                <a:gd name="connsiteX762" fmla="*/ 8046360 w 8734227"/>
                <a:gd name="connsiteY762" fmla="*/ 292188 h 1715383"/>
                <a:gd name="connsiteX763" fmla="*/ 31495 w 8734227"/>
                <a:gd name="connsiteY763" fmla="*/ 284741 h 1715383"/>
                <a:gd name="connsiteX764" fmla="*/ 2278731 w 8734227"/>
                <a:gd name="connsiteY764" fmla="*/ 284741 h 1715383"/>
                <a:gd name="connsiteX765" fmla="*/ 2310225 w 8734227"/>
                <a:gd name="connsiteY765" fmla="*/ 316235 h 1715383"/>
                <a:gd name="connsiteX766" fmla="*/ 2310225 w 8734227"/>
                <a:gd name="connsiteY766" fmla="*/ 1682878 h 1715383"/>
                <a:gd name="connsiteX767" fmla="*/ 2278731 w 8734227"/>
                <a:gd name="connsiteY767" fmla="*/ 1714372 h 1715383"/>
                <a:gd name="connsiteX768" fmla="*/ 31495 w 8734227"/>
                <a:gd name="connsiteY768" fmla="*/ 1714372 h 1715383"/>
                <a:gd name="connsiteX769" fmla="*/ 0 w 8734227"/>
                <a:gd name="connsiteY769" fmla="*/ 1682878 h 1715383"/>
                <a:gd name="connsiteX770" fmla="*/ 0 w 8734227"/>
                <a:gd name="connsiteY770" fmla="*/ 316235 h 1715383"/>
                <a:gd name="connsiteX771" fmla="*/ 31495 w 8734227"/>
                <a:gd name="connsiteY771" fmla="*/ 284741 h 1715383"/>
                <a:gd name="connsiteX772" fmla="*/ 3506920 w 8734227"/>
                <a:gd name="connsiteY772" fmla="*/ 153677 h 1715383"/>
                <a:gd name="connsiteX773" fmla="*/ 3506920 w 8734227"/>
                <a:gd name="connsiteY773" fmla="*/ 1550448 h 1715383"/>
                <a:gd name="connsiteX774" fmla="*/ 4548522 w 8734227"/>
                <a:gd name="connsiteY774" fmla="*/ 1550448 h 1715383"/>
                <a:gd name="connsiteX775" fmla="*/ 4548522 w 8734227"/>
                <a:gd name="connsiteY775" fmla="*/ 153677 h 1715383"/>
                <a:gd name="connsiteX776" fmla="*/ 5691386 w 8734227"/>
                <a:gd name="connsiteY776" fmla="*/ 137045 h 1715383"/>
                <a:gd name="connsiteX777" fmla="*/ 7813595 w 8734227"/>
                <a:gd name="connsiteY777" fmla="*/ 137045 h 1715383"/>
                <a:gd name="connsiteX778" fmla="*/ 7907603 w 8734227"/>
                <a:gd name="connsiteY778" fmla="*/ 231053 h 1715383"/>
                <a:gd name="connsiteX779" fmla="*/ 7907603 w 8734227"/>
                <a:gd name="connsiteY779" fmla="*/ 1620364 h 1715383"/>
                <a:gd name="connsiteX780" fmla="*/ 7813595 w 8734227"/>
                <a:gd name="connsiteY780" fmla="*/ 1714372 h 1715383"/>
                <a:gd name="connsiteX781" fmla="*/ 5691386 w 8734227"/>
                <a:gd name="connsiteY781" fmla="*/ 1714372 h 1715383"/>
                <a:gd name="connsiteX782" fmla="*/ 5597378 w 8734227"/>
                <a:gd name="connsiteY782" fmla="*/ 1620364 h 1715383"/>
                <a:gd name="connsiteX783" fmla="*/ 5597378 w 8734227"/>
                <a:gd name="connsiteY783" fmla="*/ 231053 h 1715383"/>
                <a:gd name="connsiteX784" fmla="*/ 5691386 w 8734227"/>
                <a:gd name="connsiteY784" fmla="*/ 137045 h 1715383"/>
                <a:gd name="connsiteX785" fmla="*/ 3445917 w 8734227"/>
                <a:gd name="connsiteY785" fmla="*/ 0 h 1715383"/>
                <a:gd name="connsiteX786" fmla="*/ 4609525 w 8734227"/>
                <a:gd name="connsiteY786" fmla="*/ 0 h 1715383"/>
                <a:gd name="connsiteX787" fmla="*/ 4697076 w 8734227"/>
                <a:gd name="connsiteY787" fmla="*/ 87551 h 1715383"/>
                <a:gd name="connsiteX788" fmla="*/ 4697076 w 8734227"/>
                <a:gd name="connsiteY788" fmla="*/ 1626821 h 1715383"/>
                <a:gd name="connsiteX789" fmla="*/ 4609525 w 8734227"/>
                <a:gd name="connsiteY789" fmla="*/ 1714372 h 1715383"/>
                <a:gd name="connsiteX790" fmla="*/ 3445917 w 8734227"/>
                <a:gd name="connsiteY790" fmla="*/ 1714372 h 1715383"/>
                <a:gd name="connsiteX791" fmla="*/ 3358365 w 8734227"/>
                <a:gd name="connsiteY791" fmla="*/ 1626821 h 1715383"/>
                <a:gd name="connsiteX792" fmla="*/ 3358365 w 8734227"/>
                <a:gd name="connsiteY792" fmla="*/ 87551 h 1715383"/>
                <a:gd name="connsiteX793" fmla="*/ 3445917 w 8734227"/>
                <a:gd name="connsiteY793" fmla="*/ 0 h 1715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Lst>
              <a:rect l="l" t="t" r="r" b="b"/>
              <a:pathLst>
                <a:path w="8734227" h="1715383">
                  <a:moveTo>
                    <a:pt x="1152413" y="1636663"/>
                  </a:moveTo>
                  <a:lnTo>
                    <a:pt x="1152413" y="1663491"/>
                  </a:lnTo>
                  <a:lnTo>
                    <a:pt x="1188645" y="1668494"/>
                  </a:lnTo>
                  <a:cubicBezTo>
                    <a:pt x="1188629" y="1657883"/>
                    <a:pt x="1188610" y="1647273"/>
                    <a:pt x="1188591" y="1636663"/>
                  </a:cubicBezTo>
                  <a:close/>
                  <a:moveTo>
                    <a:pt x="1121597" y="1636663"/>
                  </a:moveTo>
                  <a:cubicBezTo>
                    <a:pt x="1121579" y="1646324"/>
                    <a:pt x="1121565" y="1655665"/>
                    <a:pt x="1121599" y="1659239"/>
                  </a:cubicBezTo>
                  <a:lnTo>
                    <a:pt x="1149027" y="1663024"/>
                  </a:lnTo>
                  <a:lnTo>
                    <a:pt x="1149027" y="1636663"/>
                  </a:lnTo>
                  <a:close/>
                  <a:moveTo>
                    <a:pt x="5975882" y="1616729"/>
                  </a:moveTo>
                  <a:lnTo>
                    <a:pt x="5975882" y="1629353"/>
                  </a:lnTo>
                  <a:lnTo>
                    <a:pt x="6053370" y="1629353"/>
                  </a:lnTo>
                  <a:lnTo>
                    <a:pt x="6053370" y="1616729"/>
                  </a:lnTo>
                  <a:close/>
                  <a:moveTo>
                    <a:pt x="8268937" y="1608864"/>
                  </a:moveTo>
                  <a:lnTo>
                    <a:pt x="8268937" y="1614441"/>
                  </a:lnTo>
                  <a:lnTo>
                    <a:pt x="8303165" y="1614441"/>
                  </a:lnTo>
                  <a:lnTo>
                    <a:pt x="8303165" y="1608864"/>
                  </a:lnTo>
                  <a:close/>
                  <a:moveTo>
                    <a:pt x="1149027" y="1606864"/>
                  </a:moveTo>
                  <a:lnTo>
                    <a:pt x="1121599" y="1610703"/>
                  </a:lnTo>
                  <a:cubicBezTo>
                    <a:pt x="1121635" y="1614275"/>
                    <a:pt x="1121621" y="1623618"/>
                    <a:pt x="1121602" y="1633277"/>
                  </a:cubicBezTo>
                  <a:lnTo>
                    <a:pt x="1149027" y="1633277"/>
                  </a:lnTo>
                  <a:close/>
                  <a:moveTo>
                    <a:pt x="4027721" y="1601447"/>
                  </a:moveTo>
                  <a:cubicBezTo>
                    <a:pt x="4005255" y="1601447"/>
                    <a:pt x="3987043" y="1619659"/>
                    <a:pt x="3987043" y="1642124"/>
                  </a:cubicBezTo>
                  <a:cubicBezTo>
                    <a:pt x="3987043" y="1664589"/>
                    <a:pt x="4005255" y="1682801"/>
                    <a:pt x="4027721" y="1682801"/>
                  </a:cubicBezTo>
                  <a:cubicBezTo>
                    <a:pt x="4050186" y="1682801"/>
                    <a:pt x="4068398" y="1664589"/>
                    <a:pt x="4068398" y="1642124"/>
                  </a:cubicBezTo>
                  <a:cubicBezTo>
                    <a:pt x="4068398" y="1619659"/>
                    <a:pt x="4050186" y="1601447"/>
                    <a:pt x="4027721" y="1601447"/>
                  </a:cubicBezTo>
                  <a:close/>
                  <a:moveTo>
                    <a:pt x="1188532" y="1601335"/>
                  </a:moveTo>
                  <a:lnTo>
                    <a:pt x="1152413" y="1606390"/>
                  </a:lnTo>
                  <a:lnTo>
                    <a:pt x="1152413" y="1633277"/>
                  </a:lnTo>
                  <a:lnTo>
                    <a:pt x="1188586" y="1633277"/>
                  </a:lnTo>
                  <a:close/>
                  <a:moveTo>
                    <a:pt x="8268937" y="1596942"/>
                  </a:moveTo>
                  <a:lnTo>
                    <a:pt x="8268937" y="1602519"/>
                  </a:lnTo>
                  <a:lnTo>
                    <a:pt x="8303165" y="1602519"/>
                  </a:lnTo>
                  <a:lnTo>
                    <a:pt x="8303165" y="1596942"/>
                  </a:lnTo>
                  <a:close/>
                  <a:moveTo>
                    <a:pt x="2818847" y="1594679"/>
                  </a:moveTo>
                  <a:lnTo>
                    <a:pt x="2818847" y="1625793"/>
                  </a:lnTo>
                  <a:lnTo>
                    <a:pt x="2860864" y="1631591"/>
                  </a:lnTo>
                  <a:cubicBezTo>
                    <a:pt x="2860844" y="1619288"/>
                    <a:pt x="2860823" y="1606986"/>
                    <a:pt x="2860802" y="1594679"/>
                  </a:cubicBezTo>
                  <a:close/>
                  <a:moveTo>
                    <a:pt x="2783108" y="1594679"/>
                  </a:moveTo>
                  <a:lnTo>
                    <a:pt x="2783110" y="1620860"/>
                  </a:lnTo>
                  <a:lnTo>
                    <a:pt x="2814919" y="1625251"/>
                  </a:lnTo>
                  <a:lnTo>
                    <a:pt x="2814919" y="1594679"/>
                  </a:lnTo>
                  <a:close/>
                  <a:moveTo>
                    <a:pt x="8460169" y="1594535"/>
                  </a:moveTo>
                  <a:lnTo>
                    <a:pt x="8460169" y="1609826"/>
                  </a:lnTo>
                  <a:lnTo>
                    <a:pt x="8439786" y="1609826"/>
                  </a:lnTo>
                  <a:lnTo>
                    <a:pt x="8439786" y="1595380"/>
                  </a:lnTo>
                  <a:lnTo>
                    <a:pt x="8435075" y="1600091"/>
                  </a:lnTo>
                  <a:lnTo>
                    <a:pt x="8435075" y="1614633"/>
                  </a:lnTo>
                  <a:lnTo>
                    <a:pt x="8464880" y="1614633"/>
                  </a:lnTo>
                  <a:lnTo>
                    <a:pt x="8464880" y="1599246"/>
                  </a:lnTo>
                  <a:close/>
                  <a:moveTo>
                    <a:pt x="6240640" y="1591376"/>
                  </a:moveTo>
                  <a:lnTo>
                    <a:pt x="6240640" y="1624080"/>
                  </a:lnTo>
                  <a:lnTo>
                    <a:pt x="6197045" y="1624080"/>
                  </a:lnTo>
                  <a:lnTo>
                    <a:pt x="6197045" y="1593184"/>
                  </a:lnTo>
                  <a:lnTo>
                    <a:pt x="6186968" y="1603261"/>
                  </a:lnTo>
                  <a:lnTo>
                    <a:pt x="6186968" y="1634363"/>
                  </a:lnTo>
                  <a:lnTo>
                    <a:pt x="6250715" y="1634363"/>
                  </a:lnTo>
                  <a:lnTo>
                    <a:pt x="6250715" y="1601453"/>
                  </a:lnTo>
                  <a:close/>
                  <a:moveTo>
                    <a:pt x="5975882" y="1589739"/>
                  </a:moveTo>
                  <a:lnTo>
                    <a:pt x="5975882" y="1602364"/>
                  </a:lnTo>
                  <a:lnTo>
                    <a:pt x="6053370" y="1602364"/>
                  </a:lnTo>
                  <a:lnTo>
                    <a:pt x="6053370" y="1589739"/>
                  </a:lnTo>
                  <a:close/>
                  <a:moveTo>
                    <a:pt x="8268937" y="1585020"/>
                  </a:moveTo>
                  <a:lnTo>
                    <a:pt x="8268937" y="1590597"/>
                  </a:lnTo>
                  <a:lnTo>
                    <a:pt x="8303165" y="1590597"/>
                  </a:lnTo>
                  <a:lnTo>
                    <a:pt x="8303165" y="1585020"/>
                  </a:lnTo>
                  <a:close/>
                  <a:moveTo>
                    <a:pt x="8612398" y="1579252"/>
                  </a:moveTo>
                  <a:cubicBezTo>
                    <a:pt x="8617655" y="1579252"/>
                    <a:pt x="8621916" y="1583513"/>
                    <a:pt x="8621916" y="1588770"/>
                  </a:cubicBezTo>
                  <a:cubicBezTo>
                    <a:pt x="8621916" y="1594027"/>
                    <a:pt x="8617655" y="1598288"/>
                    <a:pt x="8612398" y="1598288"/>
                  </a:cubicBezTo>
                  <a:cubicBezTo>
                    <a:pt x="8607141" y="1598288"/>
                    <a:pt x="8602879" y="1594027"/>
                    <a:pt x="8602880" y="1588770"/>
                  </a:cubicBezTo>
                  <a:cubicBezTo>
                    <a:pt x="8602879" y="1583513"/>
                    <a:pt x="8607141" y="1579252"/>
                    <a:pt x="8612398" y="1579252"/>
                  </a:cubicBezTo>
                  <a:close/>
                  <a:moveTo>
                    <a:pt x="8612398" y="1573932"/>
                  </a:moveTo>
                  <a:cubicBezTo>
                    <a:pt x="8604203" y="1573932"/>
                    <a:pt x="8597559" y="1580575"/>
                    <a:pt x="8597559" y="1588770"/>
                  </a:cubicBezTo>
                  <a:cubicBezTo>
                    <a:pt x="8597559" y="1596965"/>
                    <a:pt x="8604203" y="1603608"/>
                    <a:pt x="8612398" y="1603608"/>
                  </a:cubicBezTo>
                  <a:cubicBezTo>
                    <a:pt x="8615668" y="1603608"/>
                    <a:pt x="8618691" y="1602551"/>
                    <a:pt x="8620988" y="1600545"/>
                  </a:cubicBezTo>
                  <a:lnTo>
                    <a:pt x="8633111" y="1612668"/>
                  </a:lnTo>
                  <a:lnTo>
                    <a:pt x="8636873" y="1608907"/>
                  </a:lnTo>
                  <a:lnTo>
                    <a:pt x="8624637" y="1596671"/>
                  </a:lnTo>
                  <a:cubicBezTo>
                    <a:pt x="8626365" y="1594500"/>
                    <a:pt x="8627236" y="1591737"/>
                    <a:pt x="8627236" y="1588770"/>
                  </a:cubicBezTo>
                  <a:cubicBezTo>
                    <a:pt x="8627236" y="1580575"/>
                    <a:pt x="8620593" y="1573932"/>
                    <a:pt x="8612398" y="1573932"/>
                  </a:cubicBezTo>
                  <a:close/>
                  <a:moveTo>
                    <a:pt x="8104689" y="1573371"/>
                  </a:moveTo>
                  <a:lnTo>
                    <a:pt x="8094578" y="1583482"/>
                  </a:lnTo>
                  <a:lnTo>
                    <a:pt x="8104865" y="1593770"/>
                  </a:lnTo>
                  <a:lnTo>
                    <a:pt x="8112479" y="1593770"/>
                  </a:lnTo>
                  <a:lnTo>
                    <a:pt x="8104788" y="1586078"/>
                  </a:lnTo>
                  <a:lnTo>
                    <a:pt x="8117510" y="1586078"/>
                  </a:lnTo>
                  <a:cubicBezTo>
                    <a:pt x="8123935" y="1586078"/>
                    <a:pt x="8129144" y="1591287"/>
                    <a:pt x="8129144" y="1597712"/>
                  </a:cubicBezTo>
                  <a:cubicBezTo>
                    <a:pt x="8129144" y="1604137"/>
                    <a:pt x="8123935" y="1609345"/>
                    <a:pt x="8117510" y="1609345"/>
                  </a:cubicBezTo>
                  <a:lnTo>
                    <a:pt x="8101646" y="1609345"/>
                  </a:lnTo>
                  <a:lnTo>
                    <a:pt x="8101646" y="1614633"/>
                  </a:lnTo>
                  <a:lnTo>
                    <a:pt x="8118183" y="1614633"/>
                  </a:lnTo>
                  <a:cubicBezTo>
                    <a:pt x="8127528" y="1614633"/>
                    <a:pt x="8135104" y="1607057"/>
                    <a:pt x="8135104" y="1597711"/>
                  </a:cubicBezTo>
                  <a:cubicBezTo>
                    <a:pt x="8135104" y="1588366"/>
                    <a:pt x="8127528" y="1580790"/>
                    <a:pt x="8118183" y="1580790"/>
                  </a:cubicBezTo>
                  <a:lnTo>
                    <a:pt x="8104884" y="1580790"/>
                  </a:lnTo>
                  <a:lnTo>
                    <a:pt x="8112303" y="1573371"/>
                  </a:lnTo>
                  <a:close/>
                  <a:moveTo>
                    <a:pt x="8255477" y="1573098"/>
                  </a:moveTo>
                  <a:lnTo>
                    <a:pt x="8255477" y="1578675"/>
                  </a:lnTo>
                  <a:lnTo>
                    <a:pt x="8303165" y="1578675"/>
                  </a:lnTo>
                  <a:lnTo>
                    <a:pt x="8303165" y="1573098"/>
                  </a:lnTo>
                  <a:close/>
                  <a:moveTo>
                    <a:pt x="8450362" y="1572906"/>
                  </a:moveTo>
                  <a:lnTo>
                    <a:pt x="8439786" y="1583482"/>
                  </a:lnTo>
                  <a:lnTo>
                    <a:pt x="8439786" y="1583447"/>
                  </a:lnTo>
                  <a:lnTo>
                    <a:pt x="8435075" y="1588158"/>
                  </a:lnTo>
                  <a:lnTo>
                    <a:pt x="8435075" y="1588193"/>
                  </a:lnTo>
                  <a:lnTo>
                    <a:pt x="8425148" y="1598120"/>
                  </a:lnTo>
                  <a:lnTo>
                    <a:pt x="8429121" y="1602092"/>
                  </a:lnTo>
                  <a:lnTo>
                    <a:pt x="8450362" y="1580852"/>
                  </a:lnTo>
                  <a:lnTo>
                    <a:pt x="8450418" y="1580908"/>
                  </a:lnTo>
                  <a:lnTo>
                    <a:pt x="8450438" y="1580888"/>
                  </a:lnTo>
                  <a:lnTo>
                    <a:pt x="8471671" y="1602122"/>
                  </a:lnTo>
                  <a:lnTo>
                    <a:pt x="8475624" y="1598168"/>
                  </a:lnTo>
                  <a:lnTo>
                    <a:pt x="8464880" y="1587424"/>
                  </a:lnTo>
                  <a:lnTo>
                    <a:pt x="8464880" y="1574444"/>
                  </a:lnTo>
                  <a:lnTo>
                    <a:pt x="8460169" y="1574444"/>
                  </a:lnTo>
                  <a:lnTo>
                    <a:pt x="8460169" y="1582713"/>
                  </a:lnTo>
                  <a:close/>
                  <a:moveTo>
                    <a:pt x="3085285" y="1568490"/>
                  </a:moveTo>
                  <a:cubicBezTo>
                    <a:pt x="3094821" y="1568490"/>
                    <a:pt x="3102553" y="1576222"/>
                    <a:pt x="3102553" y="1585759"/>
                  </a:cubicBezTo>
                  <a:cubicBezTo>
                    <a:pt x="3102553" y="1595295"/>
                    <a:pt x="3094821" y="1603029"/>
                    <a:pt x="3085285" y="1603029"/>
                  </a:cubicBezTo>
                  <a:cubicBezTo>
                    <a:pt x="3075745" y="1603029"/>
                    <a:pt x="3068014" y="1595295"/>
                    <a:pt x="3068014" y="1585759"/>
                  </a:cubicBezTo>
                  <a:cubicBezTo>
                    <a:pt x="3068014" y="1576222"/>
                    <a:pt x="3075745" y="1568490"/>
                    <a:pt x="3085285" y="1568490"/>
                  </a:cubicBezTo>
                  <a:close/>
                  <a:moveTo>
                    <a:pt x="5975882" y="1562748"/>
                  </a:moveTo>
                  <a:lnTo>
                    <a:pt x="5975882" y="1575374"/>
                  </a:lnTo>
                  <a:lnTo>
                    <a:pt x="6053370" y="1575374"/>
                  </a:lnTo>
                  <a:lnTo>
                    <a:pt x="6053370" y="1562748"/>
                  </a:lnTo>
                  <a:close/>
                  <a:moveTo>
                    <a:pt x="2566537" y="1561821"/>
                  </a:moveTo>
                  <a:lnTo>
                    <a:pt x="2541313" y="1590869"/>
                  </a:lnTo>
                  <a:lnTo>
                    <a:pt x="2566537" y="1621153"/>
                  </a:lnTo>
                  <a:lnTo>
                    <a:pt x="2582362" y="1621153"/>
                  </a:lnTo>
                  <a:lnTo>
                    <a:pt x="2563569" y="1598903"/>
                  </a:lnTo>
                  <a:lnTo>
                    <a:pt x="2606103" y="1598903"/>
                  </a:lnTo>
                  <a:lnTo>
                    <a:pt x="2606103" y="1583453"/>
                  </a:lnTo>
                  <a:lnTo>
                    <a:pt x="2563569" y="1583453"/>
                  </a:lnTo>
                  <a:lnTo>
                    <a:pt x="2582362" y="1561821"/>
                  </a:lnTo>
                  <a:close/>
                  <a:moveTo>
                    <a:pt x="2814919" y="1560122"/>
                  </a:moveTo>
                  <a:lnTo>
                    <a:pt x="2783110" y="1564573"/>
                  </a:lnTo>
                  <a:cubicBezTo>
                    <a:pt x="2783153" y="1568719"/>
                    <a:pt x="2783136" y="1579552"/>
                    <a:pt x="2783116" y="1590755"/>
                  </a:cubicBezTo>
                  <a:lnTo>
                    <a:pt x="2814919" y="1590755"/>
                  </a:lnTo>
                  <a:close/>
                  <a:moveTo>
                    <a:pt x="3085194" y="1559855"/>
                  </a:moveTo>
                  <a:cubicBezTo>
                    <a:pt x="3070889" y="1559855"/>
                    <a:pt x="3059291" y="1571452"/>
                    <a:pt x="3059291" y="1585759"/>
                  </a:cubicBezTo>
                  <a:cubicBezTo>
                    <a:pt x="3059291" y="1590148"/>
                    <a:pt x="3060382" y="1594283"/>
                    <a:pt x="3062416" y="1597850"/>
                  </a:cubicBezTo>
                  <a:lnTo>
                    <a:pt x="3038712" y="1621553"/>
                  </a:lnTo>
                  <a:cubicBezTo>
                    <a:pt x="3037588" y="1622676"/>
                    <a:pt x="3037588" y="1624498"/>
                    <a:pt x="3038712" y="1625623"/>
                  </a:cubicBezTo>
                  <a:lnTo>
                    <a:pt x="3046852" y="1633764"/>
                  </a:lnTo>
                  <a:cubicBezTo>
                    <a:pt x="3047978" y="1634888"/>
                    <a:pt x="3049799" y="1634888"/>
                    <a:pt x="3050925" y="1633764"/>
                  </a:cubicBezTo>
                  <a:lnTo>
                    <a:pt x="3075079" y="1609610"/>
                  </a:lnTo>
                  <a:cubicBezTo>
                    <a:pt x="3078186" y="1610931"/>
                    <a:pt x="3081604" y="1611663"/>
                    <a:pt x="3085194" y="1611663"/>
                  </a:cubicBezTo>
                  <a:cubicBezTo>
                    <a:pt x="3099501" y="1611663"/>
                    <a:pt x="3111099" y="1600065"/>
                    <a:pt x="3111099" y="1585759"/>
                  </a:cubicBezTo>
                  <a:cubicBezTo>
                    <a:pt x="3111099" y="1571452"/>
                    <a:pt x="3099501" y="1559855"/>
                    <a:pt x="3085194" y="1559855"/>
                  </a:cubicBezTo>
                  <a:close/>
                  <a:moveTo>
                    <a:pt x="2860734" y="1553710"/>
                  </a:moveTo>
                  <a:lnTo>
                    <a:pt x="2818847" y="1559572"/>
                  </a:lnTo>
                  <a:lnTo>
                    <a:pt x="2818847" y="1590755"/>
                  </a:lnTo>
                  <a:lnTo>
                    <a:pt x="2860797" y="1590755"/>
                  </a:lnTo>
                  <a:close/>
                  <a:moveTo>
                    <a:pt x="6408449" y="1550368"/>
                  </a:moveTo>
                  <a:cubicBezTo>
                    <a:pt x="6422885" y="1550368"/>
                    <a:pt x="6434588" y="1562071"/>
                    <a:pt x="6434588" y="1576506"/>
                  </a:cubicBezTo>
                  <a:cubicBezTo>
                    <a:pt x="6434588" y="1590942"/>
                    <a:pt x="6422885" y="1602645"/>
                    <a:pt x="6408449" y="1602645"/>
                  </a:cubicBezTo>
                  <a:cubicBezTo>
                    <a:pt x="6394014" y="1602645"/>
                    <a:pt x="6382311" y="1590942"/>
                    <a:pt x="6382311" y="1576506"/>
                  </a:cubicBezTo>
                  <a:cubicBezTo>
                    <a:pt x="6382311" y="1562071"/>
                    <a:pt x="6394014" y="1550368"/>
                    <a:pt x="6408449" y="1550368"/>
                  </a:cubicBezTo>
                  <a:close/>
                  <a:moveTo>
                    <a:pt x="6219663" y="1545115"/>
                  </a:moveTo>
                  <a:lnTo>
                    <a:pt x="6197045" y="1567734"/>
                  </a:lnTo>
                  <a:lnTo>
                    <a:pt x="6197045" y="1567661"/>
                  </a:lnTo>
                  <a:lnTo>
                    <a:pt x="6186968" y="1577738"/>
                  </a:lnTo>
                  <a:lnTo>
                    <a:pt x="6186968" y="1577811"/>
                  </a:lnTo>
                  <a:lnTo>
                    <a:pt x="6165737" y="1599043"/>
                  </a:lnTo>
                  <a:lnTo>
                    <a:pt x="6174233" y="1607540"/>
                  </a:lnTo>
                  <a:lnTo>
                    <a:pt x="6219663" y="1562110"/>
                  </a:lnTo>
                  <a:lnTo>
                    <a:pt x="6219784" y="1562231"/>
                  </a:lnTo>
                  <a:lnTo>
                    <a:pt x="6219828" y="1562188"/>
                  </a:lnTo>
                  <a:lnTo>
                    <a:pt x="6265241" y="1607603"/>
                  </a:lnTo>
                  <a:lnTo>
                    <a:pt x="6273696" y="1599147"/>
                  </a:lnTo>
                  <a:lnTo>
                    <a:pt x="6250715" y="1576167"/>
                  </a:lnTo>
                  <a:lnTo>
                    <a:pt x="6250715" y="1548405"/>
                  </a:lnTo>
                  <a:lnTo>
                    <a:pt x="6240640" y="1548405"/>
                  </a:lnTo>
                  <a:lnTo>
                    <a:pt x="6240640" y="1566092"/>
                  </a:lnTo>
                  <a:close/>
                  <a:moveTo>
                    <a:pt x="6408449" y="1535759"/>
                  </a:moveTo>
                  <a:cubicBezTo>
                    <a:pt x="6385946" y="1535759"/>
                    <a:pt x="6367702" y="1554003"/>
                    <a:pt x="6367702" y="1576506"/>
                  </a:cubicBezTo>
                  <a:cubicBezTo>
                    <a:pt x="6367702" y="1599011"/>
                    <a:pt x="6385946" y="1617255"/>
                    <a:pt x="6408449" y="1617255"/>
                  </a:cubicBezTo>
                  <a:cubicBezTo>
                    <a:pt x="6417430" y="1617255"/>
                    <a:pt x="6425732" y="1614350"/>
                    <a:pt x="6432040" y="1608842"/>
                  </a:cubicBezTo>
                  <a:lnTo>
                    <a:pt x="6465332" y="1642134"/>
                  </a:lnTo>
                  <a:lnTo>
                    <a:pt x="6475661" y="1631804"/>
                  </a:lnTo>
                  <a:lnTo>
                    <a:pt x="6442062" y="1598203"/>
                  </a:lnTo>
                  <a:cubicBezTo>
                    <a:pt x="6446807" y="1592243"/>
                    <a:pt x="6449198" y="1584655"/>
                    <a:pt x="6449198" y="1576506"/>
                  </a:cubicBezTo>
                  <a:cubicBezTo>
                    <a:pt x="6449198" y="1554003"/>
                    <a:pt x="6430954" y="1535759"/>
                    <a:pt x="6408449" y="1535759"/>
                  </a:cubicBezTo>
                  <a:close/>
                  <a:moveTo>
                    <a:pt x="5945410" y="1535759"/>
                  </a:moveTo>
                  <a:lnTo>
                    <a:pt x="5945410" y="1548383"/>
                  </a:lnTo>
                  <a:lnTo>
                    <a:pt x="6053370" y="1548383"/>
                  </a:lnTo>
                  <a:lnTo>
                    <a:pt x="6053370" y="1535759"/>
                  </a:lnTo>
                  <a:close/>
                  <a:moveTo>
                    <a:pt x="5791471" y="1535759"/>
                  </a:moveTo>
                  <a:lnTo>
                    <a:pt x="5765016" y="1562214"/>
                  </a:lnTo>
                  <a:lnTo>
                    <a:pt x="5791932" y="1589132"/>
                  </a:lnTo>
                  <a:lnTo>
                    <a:pt x="5811855" y="1589132"/>
                  </a:lnTo>
                  <a:lnTo>
                    <a:pt x="5791731" y="1569006"/>
                  </a:lnTo>
                  <a:lnTo>
                    <a:pt x="5825016" y="1569006"/>
                  </a:lnTo>
                  <a:cubicBezTo>
                    <a:pt x="5841827" y="1569006"/>
                    <a:pt x="5855455" y="1582634"/>
                    <a:pt x="5855455" y="1599445"/>
                  </a:cubicBezTo>
                  <a:cubicBezTo>
                    <a:pt x="5855455" y="1616255"/>
                    <a:pt x="5841827" y="1629884"/>
                    <a:pt x="5825016" y="1629884"/>
                  </a:cubicBezTo>
                  <a:lnTo>
                    <a:pt x="5783509" y="1629884"/>
                  </a:lnTo>
                  <a:lnTo>
                    <a:pt x="5783509" y="1643718"/>
                  </a:lnTo>
                  <a:lnTo>
                    <a:pt x="5826777" y="1643718"/>
                  </a:lnTo>
                  <a:cubicBezTo>
                    <a:pt x="5851228" y="1643718"/>
                    <a:pt x="5871050" y="1623897"/>
                    <a:pt x="5871050" y="1599445"/>
                  </a:cubicBezTo>
                  <a:cubicBezTo>
                    <a:pt x="5871050" y="1574993"/>
                    <a:pt x="5851228" y="1555170"/>
                    <a:pt x="5826777" y="1555170"/>
                  </a:cubicBezTo>
                  <a:lnTo>
                    <a:pt x="5791982" y="1555170"/>
                  </a:lnTo>
                  <a:lnTo>
                    <a:pt x="5811394" y="1535759"/>
                  </a:lnTo>
                  <a:close/>
                  <a:moveTo>
                    <a:pt x="5136541" y="1520601"/>
                  </a:moveTo>
                  <a:cubicBezTo>
                    <a:pt x="5097616" y="1520601"/>
                    <a:pt x="5066061" y="1552156"/>
                    <a:pt x="5066061" y="1591081"/>
                  </a:cubicBezTo>
                  <a:cubicBezTo>
                    <a:pt x="5066061" y="1630006"/>
                    <a:pt x="5097616" y="1661562"/>
                    <a:pt x="5136541" y="1661562"/>
                  </a:cubicBezTo>
                  <a:cubicBezTo>
                    <a:pt x="5175466" y="1661562"/>
                    <a:pt x="5207022" y="1630006"/>
                    <a:pt x="5207022" y="1591081"/>
                  </a:cubicBezTo>
                  <a:cubicBezTo>
                    <a:pt x="5207022" y="1552156"/>
                    <a:pt x="5175466" y="1520601"/>
                    <a:pt x="5136541" y="1520601"/>
                  </a:cubicBezTo>
                  <a:close/>
                  <a:moveTo>
                    <a:pt x="2804155" y="1019973"/>
                  </a:moveTo>
                  <a:lnTo>
                    <a:pt x="3072374" y="1019973"/>
                  </a:lnTo>
                  <a:cubicBezTo>
                    <a:pt x="3072507" y="1098634"/>
                    <a:pt x="3072639" y="1177294"/>
                    <a:pt x="3072771" y="1255954"/>
                  </a:cubicBezTo>
                  <a:lnTo>
                    <a:pt x="2804155" y="1218873"/>
                  </a:lnTo>
                  <a:close/>
                  <a:moveTo>
                    <a:pt x="2575684" y="1019973"/>
                  </a:moveTo>
                  <a:lnTo>
                    <a:pt x="2779051" y="1019973"/>
                  </a:lnTo>
                  <a:lnTo>
                    <a:pt x="2779051" y="1215407"/>
                  </a:lnTo>
                  <a:lnTo>
                    <a:pt x="2575706" y="1187336"/>
                  </a:lnTo>
                  <a:cubicBezTo>
                    <a:pt x="2575443" y="1160848"/>
                    <a:pt x="2575553" y="1091590"/>
                    <a:pt x="2575684" y="1019973"/>
                  </a:cubicBezTo>
                  <a:close/>
                  <a:moveTo>
                    <a:pt x="1127626" y="1017379"/>
                  </a:moveTo>
                  <a:lnTo>
                    <a:pt x="1496190" y="1017379"/>
                  </a:lnTo>
                  <a:cubicBezTo>
                    <a:pt x="1496372" y="1125468"/>
                    <a:pt x="1496554" y="1233556"/>
                    <a:pt x="1496735" y="1341644"/>
                  </a:cubicBezTo>
                  <a:lnTo>
                    <a:pt x="1127626" y="1290690"/>
                  </a:lnTo>
                  <a:close/>
                  <a:moveTo>
                    <a:pt x="813680" y="1017379"/>
                  </a:moveTo>
                  <a:lnTo>
                    <a:pt x="1093130" y="1017379"/>
                  </a:lnTo>
                  <a:lnTo>
                    <a:pt x="1093130" y="1285928"/>
                  </a:lnTo>
                  <a:lnTo>
                    <a:pt x="813711" y="1247355"/>
                  </a:lnTo>
                  <a:cubicBezTo>
                    <a:pt x="813348" y="1210958"/>
                    <a:pt x="813500" y="1115789"/>
                    <a:pt x="813680" y="1017379"/>
                  </a:cubicBezTo>
                  <a:close/>
                  <a:moveTo>
                    <a:pt x="8200722" y="882974"/>
                  </a:moveTo>
                  <a:lnTo>
                    <a:pt x="8221059" y="882974"/>
                  </a:lnTo>
                  <a:lnTo>
                    <a:pt x="8511008" y="882974"/>
                  </a:lnTo>
                  <a:lnTo>
                    <a:pt x="8531346" y="882974"/>
                  </a:lnTo>
                  <a:lnTo>
                    <a:pt x="8531346" y="1018677"/>
                  </a:lnTo>
                  <a:lnTo>
                    <a:pt x="8530729" y="1018677"/>
                  </a:lnTo>
                  <a:lnTo>
                    <a:pt x="8530729" y="1161453"/>
                  </a:lnTo>
                  <a:lnTo>
                    <a:pt x="8529496" y="1167628"/>
                  </a:lnTo>
                  <a:lnTo>
                    <a:pt x="8527031" y="1173185"/>
                  </a:lnTo>
                  <a:lnTo>
                    <a:pt x="8522717" y="1177508"/>
                  </a:lnTo>
                  <a:lnTo>
                    <a:pt x="8517171" y="1180286"/>
                  </a:lnTo>
                  <a:lnTo>
                    <a:pt x="8511008" y="1181521"/>
                  </a:lnTo>
                  <a:lnTo>
                    <a:pt x="8468428" y="1181521"/>
                  </a:lnTo>
                  <a:lnTo>
                    <a:pt x="8468428" y="1268851"/>
                  </a:lnTo>
                  <a:lnTo>
                    <a:pt x="8467189" y="1277782"/>
                  </a:lnTo>
                  <a:lnTo>
                    <a:pt x="8463782" y="1286098"/>
                  </a:lnTo>
                  <a:lnTo>
                    <a:pt x="8458516" y="1293182"/>
                  </a:lnTo>
                  <a:lnTo>
                    <a:pt x="8451391" y="1299034"/>
                  </a:lnTo>
                  <a:lnTo>
                    <a:pt x="8443027" y="1302422"/>
                  </a:lnTo>
                  <a:lnTo>
                    <a:pt x="8433424" y="1303654"/>
                  </a:lnTo>
                  <a:lnTo>
                    <a:pt x="8424131" y="1302422"/>
                  </a:lnTo>
                  <a:lnTo>
                    <a:pt x="8415767" y="1299034"/>
                  </a:lnTo>
                  <a:lnTo>
                    <a:pt x="8408642" y="1293182"/>
                  </a:lnTo>
                  <a:lnTo>
                    <a:pt x="8403066" y="1286098"/>
                  </a:lnTo>
                  <a:lnTo>
                    <a:pt x="8399349" y="1277782"/>
                  </a:lnTo>
                  <a:lnTo>
                    <a:pt x="8398109" y="1268851"/>
                  </a:lnTo>
                  <a:lnTo>
                    <a:pt x="8398109" y="1181521"/>
                  </a:lnTo>
                  <a:lnTo>
                    <a:pt x="8332725" y="1181521"/>
                  </a:lnTo>
                  <a:lnTo>
                    <a:pt x="8332725" y="1268851"/>
                  </a:lnTo>
                  <a:lnTo>
                    <a:pt x="8331196" y="1277782"/>
                  </a:lnTo>
                  <a:lnTo>
                    <a:pt x="8328139" y="1286098"/>
                  </a:lnTo>
                  <a:lnTo>
                    <a:pt x="8322636" y="1293182"/>
                  </a:lnTo>
                  <a:lnTo>
                    <a:pt x="8315605" y="1299034"/>
                  </a:lnTo>
                  <a:lnTo>
                    <a:pt x="8307351" y="1302422"/>
                  </a:lnTo>
                  <a:lnTo>
                    <a:pt x="8297874" y="1303654"/>
                  </a:lnTo>
                  <a:lnTo>
                    <a:pt x="8288702" y="1302422"/>
                  </a:lnTo>
                  <a:lnTo>
                    <a:pt x="8280448" y="1299034"/>
                  </a:lnTo>
                  <a:lnTo>
                    <a:pt x="8273417" y="1293182"/>
                  </a:lnTo>
                  <a:lnTo>
                    <a:pt x="8267914" y="1286098"/>
                  </a:lnTo>
                  <a:lnTo>
                    <a:pt x="8264245" y="1277782"/>
                  </a:lnTo>
                  <a:lnTo>
                    <a:pt x="8263023" y="1268851"/>
                  </a:lnTo>
                  <a:lnTo>
                    <a:pt x="8263023" y="1181521"/>
                  </a:lnTo>
                  <a:lnTo>
                    <a:pt x="8221059" y="1181521"/>
                  </a:lnTo>
                  <a:lnTo>
                    <a:pt x="8214589" y="1180286"/>
                  </a:lnTo>
                  <a:lnTo>
                    <a:pt x="8209350" y="1177508"/>
                  </a:lnTo>
                  <a:lnTo>
                    <a:pt x="8205037" y="1173185"/>
                  </a:lnTo>
                  <a:lnTo>
                    <a:pt x="8202263" y="1167628"/>
                  </a:lnTo>
                  <a:lnTo>
                    <a:pt x="8201339" y="1161453"/>
                  </a:lnTo>
                  <a:lnTo>
                    <a:pt x="8201339" y="1018677"/>
                  </a:lnTo>
                  <a:lnTo>
                    <a:pt x="8200722" y="1018677"/>
                  </a:lnTo>
                  <a:close/>
                  <a:moveTo>
                    <a:pt x="5227484" y="878578"/>
                  </a:moveTo>
                  <a:cubicBezTo>
                    <a:pt x="5296602" y="878578"/>
                    <a:pt x="5323885" y="928253"/>
                    <a:pt x="5323885" y="928253"/>
                  </a:cubicBezTo>
                  <a:cubicBezTo>
                    <a:pt x="5323885" y="928253"/>
                    <a:pt x="5270531" y="955850"/>
                    <a:pt x="5270531" y="1022696"/>
                  </a:cubicBezTo>
                  <a:cubicBezTo>
                    <a:pt x="5270531" y="1098128"/>
                    <a:pt x="5337223" y="1123886"/>
                    <a:pt x="5337223" y="1123886"/>
                  </a:cubicBezTo>
                  <a:cubicBezTo>
                    <a:pt x="5337223" y="1123886"/>
                    <a:pt x="5290539" y="1255739"/>
                    <a:pt x="5228091" y="1255739"/>
                  </a:cubicBezTo>
                  <a:cubicBezTo>
                    <a:pt x="5199595" y="1255739"/>
                    <a:pt x="5177162" y="1236114"/>
                    <a:pt x="5146848" y="1236114"/>
                  </a:cubicBezTo>
                  <a:cubicBezTo>
                    <a:pt x="5115927" y="1236114"/>
                    <a:pt x="5085006" y="1256965"/>
                    <a:pt x="5064998" y="1256965"/>
                  </a:cubicBezTo>
                  <a:cubicBezTo>
                    <a:pt x="5008007" y="1256965"/>
                    <a:pt x="4935858" y="1131858"/>
                    <a:pt x="4935858" y="1031282"/>
                  </a:cubicBezTo>
                  <a:cubicBezTo>
                    <a:pt x="4935858" y="931932"/>
                    <a:pt x="4997094" y="879805"/>
                    <a:pt x="5054085" y="879805"/>
                  </a:cubicBezTo>
                  <a:cubicBezTo>
                    <a:pt x="5091675" y="879805"/>
                    <a:pt x="5120777" y="901882"/>
                    <a:pt x="5140179" y="901882"/>
                  </a:cubicBezTo>
                  <a:cubicBezTo>
                    <a:pt x="5156548" y="901882"/>
                    <a:pt x="5187469" y="878578"/>
                    <a:pt x="5227484" y="878578"/>
                  </a:cubicBezTo>
                  <a:close/>
                  <a:moveTo>
                    <a:pt x="8583622" y="871871"/>
                  </a:moveTo>
                  <a:lnTo>
                    <a:pt x="8592915" y="873105"/>
                  </a:lnTo>
                  <a:lnTo>
                    <a:pt x="8601898" y="876806"/>
                  </a:lnTo>
                  <a:lnTo>
                    <a:pt x="8609023" y="882357"/>
                  </a:lnTo>
                  <a:lnTo>
                    <a:pt x="8614289" y="889451"/>
                  </a:lnTo>
                  <a:lnTo>
                    <a:pt x="8617697" y="897778"/>
                  </a:lnTo>
                  <a:lnTo>
                    <a:pt x="8618936" y="907339"/>
                  </a:lnTo>
                  <a:lnTo>
                    <a:pt x="8618936" y="1064631"/>
                  </a:lnTo>
                  <a:lnTo>
                    <a:pt x="8617697" y="1073884"/>
                  </a:lnTo>
                  <a:lnTo>
                    <a:pt x="8614289" y="1082520"/>
                  </a:lnTo>
                  <a:lnTo>
                    <a:pt x="8609023" y="1089613"/>
                  </a:lnTo>
                  <a:lnTo>
                    <a:pt x="8601898" y="1095165"/>
                  </a:lnTo>
                  <a:lnTo>
                    <a:pt x="8592915" y="1098249"/>
                  </a:lnTo>
                  <a:lnTo>
                    <a:pt x="8583622" y="1099482"/>
                  </a:lnTo>
                  <a:lnTo>
                    <a:pt x="8574638" y="1098249"/>
                  </a:lnTo>
                  <a:lnTo>
                    <a:pt x="8566274" y="1095165"/>
                  </a:lnTo>
                  <a:lnTo>
                    <a:pt x="8559149" y="1089613"/>
                  </a:lnTo>
                  <a:lnTo>
                    <a:pt x="8553264" y="1082520"/>
                  </a:lnTo>
                  <a:lnTo>
                    <a:pt x="8549856" y="1073884"/>
                  </a:lnTo>
                  <a:lnTo>
                    <a:pt x="8548617" y="1064631"/>
                  </a:lnTo>
                  <a:lnTo>
                    <a:pt x="8548617" y="907339"/>
                  </a:lnTo>
                  <a:lnTo>
                    <a:pt x="8549856" y="897778"/>
                  </a:lnTo>
                  <a:lnTo>
                    <a:pt x="8553264" y="889451"/>
                  </a:lnTo>
                  <a:lnTo>
                    <a:pt x="8559149" y="882357"/>
                  </a:lnTo>
                  <a:lnTo>
                    <a:pt x="8566274" y="876806"/>
                  </a:lnTo>
                  <a:lnTo>
                    <a:pt x="8574638" y="873105"/>
                  </a:lnTo>
                  <a:close/>
                  <a:moveTo>
                    <a:pt x="8147521" y="871871"/>
                  </a:moveTo>
                  <a:lnTo>
                    <a:pt x="8157040" y="873105"/>
                  </a:lnTo>
                  <a:lnTo>
                    <a:pt x="8165331" y="876806"/>
                  </a:lnTo>
                  <a:lnTo>
                    <a:pt x="8172394" y="882357"/>
                  </a:lnTo>
                  <a:lnTo>
                    <a:pt x="8177921" y="889451"/>
                  </a:lnTo>
                  <a:lnTo>
                    <a:pt x="8181606" y="897778"/>
                  </a:lnTo>
                  <a:lnTo>
                    <a:pt x="8182834" y="907339"/>
                  </a:lnTo>
                  <a:lnTo>
                    <a:pt x="8182834" y="1064631"/>
                  </a:lnTo>
                  <a:lnTo>
                    <a:pt x="8181606" y="1073884"/>
                  </a:lnTo>
                  <a:lnTo>
                    <a:pt x="8177921" y="1082520"/>
                  </a:lnTo>
                  <a:lnTo>
                    <a:pt x="8172394" y="1089613"/>
                  </a:lnTo>
                  <a:lnTo>
                    <a:pt x="8165331" y="1095165"/>
                  </a:lnTo>
                  <a:lnTo>
                    <a:pt x="8157040" y="1098249"/>
                  </a:lnTo>
                  <a:lnTo>
                    <a:pt x="8147521" y="1099482"/>
                  </a:lnTo>
                  <a:lnTo>
                    <a:pt x="8138309" y="1098249"/>
                  </a:lnTo>
                  <a:lnTo>
                    <a:pt x="8130018" y="1095165"/>
                  </a:lnTo>
                  <a:lnTo>
                    <a:pt x="8122956" y="1089613"/>
                  </a:lnTo>
                  <a:lnTo>
                    <a:pt x="8117428" y="1082520"/>
                  </a:lnTo>
                  <a:lnTo>
                    <a:pt x="8113743" y="1073884"/>
                  </a:lnTo>
                  <a:lnTo>
                    <a:pt x="8112515" y="1064631"/>
                  </a:lnTo>
                  <a:lnTo>
                    <a:pt x="8112515" y="907339"/>
                  </a:lnTo>
                  <a:lnTo>
                    <a:pt x="8113743" y="897778"/>
                  </a:lnTo>
                  <a:lnTo>
                    <a:pt x="8117428" y="889451"/>
                  </a:lnTo>
                  <a:lnTo>
                    <a:pt x="8122956" y="882357"/>
                  </a:lnTo>
                  <a:lnTo>
                    <a:pt x="8130018" y="876806"/>
                  </a:lnTo>
                  <a:lnTo>
                    <a:pt x="8138309" y="873105"/>
                  </a:lnTo>
                  <a:close/>
                  <a:moveTo>
                    <a:pt x="2779051" y="799046"/>
                  </a:moveTo>
                  <a:lnTo>
                    <a:pt x="2779051" y="994869"/>
                  </a:lnTo>
                  <a:lnTo>
                    <a:pt x="2575728" y="994869"/>
                  </a:lnTo>
                  <a:cubicBezTo>
                    <a:pt x="2575859" y="923253"/>
                    <a:pt x="2575969" y="853994"/>
                    <a:pt x="2575706" y="827507"/>
                  </a:cubicBezTo>
                  <a:close/>
                  <a:moveTo>
                    <a:pt x="6545761" y="779646"/>
                  </a:moveTo>
                  <a:lnTo>
                    <a:pt x="6571241" y="779646"/>
                  </a:lnTo>
                  <a:lnTo>
                    <a:pt x="6934512" y="779646"/>
                  </a:lnTo>
                  <a:lnTo>
                    <a:pt x="6959993" y="779646"/>
                  </a:lnTo>
                  <a:lnTo>
                    <a:pt x="6959993" y="949666"/>
                  </a:lnTo>
                  <a:lnTo>
                    <a:pt x="6959220" y="949666"/>
                  </a:lnTo>
                  <a:lnTo>
                    <a:pt x="6959220" y="1128547"/>
                  </a:lnTo>
                  <a:lnTo>
                    <a:pt x="6957675" y="1136283"/>
                  </a:lnTo>
                  <a:lnTo>
                    <a:pt x="6954587" y="1143246"/>
                  </a:lnTo>
                  <a:lnTo>
                    <a:pt x="6949182" y="1148661"/>
                  </a:lnTo>
                  <a:lnTo>
                    <a:pt x="6942234" y="1152143"/>
                  </a:lnTo>
                  <a:lnTo>
                    <a:pt x="6934512" y="1153690"/>
                  </a:lnTo>
                  <a:lnTo>
                    <a:pt x="6881165" y="1153690"/>
                  </a:lnTo>
                  <a:lnTo>
                    <a:pt x="6881165" y="1263103"/>
                  </a:lnTo>
                  <a:lnTo>
                    <a:pt x="6879613" y="1274294"/>
                  </a:lnTo>
                  <a:lnTo>
                    <a:pt x="6875343" y="1284713"/>
                  </a:lnTo>
                  <a:lnTo>
                    <a:pt x="6868745" y="1293588"/>
                  </a:lnTo>
                  <a:lnTo>
                    <a:pt x="6859819" y="1300920"/>
                  </a:lnTo>
                  <a:lnTo>
                    <a:pt x="6849340" y="1305165"/>
                  </a:lnTo>
                  <a:lnTo>
                    <a:pt x="6837308" y="1306708"/>
                  </a:lnTo>
                  <a:lnTo>
                    <a:pt x="6825665" y="1305165"/>
                  </a:lnTo>
                  <a:lnTo>
                    <a:pt x="6815186" y="1300920"/>
                  </a:lnTo>
                  <a:lnTo>
                    <a:pt x="6806259" y="1293588"/>
                  </a:lnTo>
                  <a:lnTo>
                    <a:pt x="6799273" y="1284713"/>
                  </a:lnTo>
                  <a:lnTo>
                    <a:pt x="6794616" y="1274294"/>
                  </a:lnTo>
                  <a:lnTo>
                    <a:pt x="6793064" y="1263103"/>
                  </a:lnTo>
                  <a:lnTo>
                    <a:pt x="6793064" y="1153690"/>
                  </a:lnTo>
                  <a:lnTo>
                    <a:pt x="6711145" y="1153690"/>
                  </a:lnTo>
                  <a:lnTo>
                    <a:pt x="6711145" y="1263103"/>
                  </a:lnTo>
                  <a:lnTo>
                    <a:pt x="6709230" y="1274294"/>
                  </a:lnTo>
                  <a:lnTo>
                    <a:pt x="6705399" y="1284713"/>
                  </a:lnTo>
                  <a:lnTo>
                    <a:pt x="6698505" y="1293588"/>
                  </a:lnTo>
                  <a:lnTo>
                    <a:pt x="6689696" y="1300920"/>
                  </a:lnTo>
                  <a:lnTo>
                    <a:pt x="6679354" y="1305165"/>
                  </a:lnTo>
                  <a:lnTo>
                    <a:pt x="6667480" y="1306708"/>
                  </a:lnTo>
                  <a:lnTo>
                    <a:pt x="6655990" y="1305165"/>
                  </a:lnTo>
                  <a:lnTo>
                    <a:pt x="6645648" y="1300920"/>
                  </a:lnTo>
                  <a:lnTo>
                    <a:pt x="6636839" y="1293588"/>
                  </a:lnTo>
                  <a:lnTo>
                    <a:pt x="6629944" y="1284713"/>
                  </a:lnTo>
                  <a:lnTo>
                    <a:pt x="6625348" y="1274294"/>
                  </a:lnTo>
                  <a:lnTo>
                    <a:pt x="6623816" y="1263103"/>
                  </a:lnTo>
                  <a:lnTo>
                    <a:pt x="6623816" y="1153690"/>
                  </a:lnTo>
                  <a:lnTo>
                    <a:pt x="6571241" y="1153690"/>
                  </a:lnTo>
                  <a:lnTo>
                    <a:pt x="6563134" y="1152143"/>
                  </a:lnTo>
                  <a:lnTo>
                    <a:pt x="6556571" y="1148661"/>
                  </a:lnTo>
                  <a:lnTo>
                    <a:pt x="6551167" y="1143246"/>
                  </a:lnTo>
                  <a:lnTo>
                    <a:pt x="6547692" y="1136283"/>
                  </a:lnTo>
                  <a:lnTo>
                    <a:pt x="6546534" y="1128547"/>
                  </a:lnTo>
                  <a:lnTo>
                    <a:pt x="6546534" y="949666"/>
                  </a:lnTo>
                  <a:lnTo>
                    <a:pt x="6545761" y="949666"/>
                  </a:lnTo>
                  <a:close/>
                  <a:moveTo>
                    <a:pt x="8437587" y="772562"/>
                  </a:moveTo>
                  <a:lnTo>
                    <a:pt x="8431419" y="774092"/>
                  </a:lnTo>
                  <a:lnTo>
                    <a:pt x="8425867" y="776846"/>
                  </a:lnTo>
                  <a:lnTo>
                    <a:pt x="8421858" y="780824"/>
                  </a:lnTo>
                  <a:lnTo>
                    <a:pt x="8418774" y="786333"/>
                  </a:lnTo>
                  <a:lnTo>
                    <a:pt x="8417848" y="792453"/>
                  </a:lnTo>
                  <a:lnTo>
                    <a:pt x="8418774" y="798880"/>
                  </a:lnTo>
                  <a:lnTo>
                    <a:pt x="8421858" y="804083"/>
                  </a:lnTo>
                  <a:lnTo>
                    <a:pt x="8425867" y="808367"/>
                  </a:lnTo>
                  <a:lnTo>
                    <a:pt x="8431419" y="811121"/>
                  </a:lnTo>
                  <a:lnTo>
                    <a:pt x="8437587" y="812039"/>
                  </a:lnTo>
                  <a:lnTo>
                    <a:pt x="8443755" y="811121"/>
                  </a:lnTo>
                  <a:lnTo>
                    <a:pt x="8449307" y="808367"/>
                  </a:lnTo>
                  <a:lnTo>
                    <a:pt x="8453316" y="804083"/>
                  </a:lnTo>
                  <a:lnTo>
                    <a:pt x="8456401" y="798880"/>
                  </a:lnTo>
                  <a:lnTo>
                    <a:pt x="8457326" y="792453"/>
                  </a:lnTo>
                  <a:lnTo>
                    <a:pt x="8456401" y="786333"/>
                  </a:lnTo>
                  <a:lnTo>
                    <a:pt x="8453316" y="780824"/>
                  </a:lnTo>
                  <a:lnTo>
                    <a:pt x="8449307" y="776846"/>
                  </a:lnTo>
                  <a:lnTo>
                    <a:pt x="8443755" y="774092"/>
                  </a:lnTo>
                  <a:close/>
                  <a:moveTo>
                    <a:pt x="8293556" y="772562"/>
                  </a:moveTo>
                  <a:lnTo>
                    <a:pt x="8287388" y="774092"/>
                  </a:lnTo>
                  <a:lnTo>
                    <a:pt x="8281836" y="776846"/>
                  </a:lnTo>
                  <a:lnTo>
                    <a:pt x="8277827" y="780824"/>
                  </a:lnTo>
                  <a:lnTo>
                    <a:pt x="8275360" y="786333"/>
                  </a:lnTo>
                  <a:lnTo>
                    <a:pt x="8274126" y="792453"/>
                  </a:lnTo>
                  <a:lnTo>
                    <a:pt x="8275360" y="798880"/>
                  </a:lnTo>
                  <a:lnTo>
                    <a:pt x="8277827" y="804083"/>
                  </a:lnTo>
                  <a:lnTo>
                    <a:pt x="8281836" y="808367"/>
                  </a:lnTo>
                  <a:lnTo>
                    <a:pt x="8287388" y="811121"/>
                  </a:lnTo>
                  <a:lnTo>
                    <a:pt x="8293556" y="812039"/>
                  </a:lnTo>
                  <a:lnTo>
                    <a:pt x="8300033" y="811121"/>
                  </a:lnTo>
                  <a:lnTo>
                    <a:pt x="8305276" y="808367"/>
                  </a:lnTo>
                  <a:lnTo>
                    <a:pt x="8309902" y="804083"/>
                  </a:lnTo>
                  <a:lnTo>
                    <a:pt x="8312370" y="798880"/>
                  </a:lnTo>
                  <a:lnTo>
                    <a:pt x="8313603" y="792453"/>
                  </a:lnTo>
                  <a:lnTo>
                    <a:pt x="8312370" y="786333"/>
                  </a:lnTo>
                  <a:lnTo>
                    <a:pt x="8309902" y="780824"/>
                  </a:lnTo>
                  <a:lnTo>
                    <a:pt x="8305276" y="776846"/>
                  </a:lnTo>
                  <a:lnTo>
                    <a:pt x="8300033" y="774092"/>
                  </a:lnTo>
                  <a:close/>
                  <a:moveTo>
                    <a:pt x="7025488" y="765735"/>
                  </a:moveTo>
                  <a:lnTo>
                    <a:pt x="7037131" y="767281"/>
                  </a:lnTo>
                  <a:lnTo>
                    <a:pt x="7048387" y="771918"/>
                  </a:lnTo>
                  <a:lnTo>
                    <a:pt x="7057313" y="778873"/>
                  </a:lnTo>
                  <a:lnTo>
                    <a:pt x="7063911" y="787761"/>
                  </a:lnTo>
                  <a:lnTo>
                    <a:pt x="7068181" y="798193"/>
                  </a:lnTo>
                  <a:lnTo>
                    <a:pt x="7069733" y="810172"/>
                  </a:lnTo>
                  <a:lnTo>
                    <a:pt x="7069733" y="1007241"/>
                  </a:lnTo>
                  <a:lnTo>
                    <a:pt x="7068181" y="1018833"/>
                  </a:lnTo>
                  <a:lnTo>
                    <a:pt x="7063911" y="1029653"/>
                  </a:lnTo>
                  <a:lnTo>
                    <a:pt x="7057313" y="1038540"/>
                  </a:lnTo>
                  <a:lnTo>
                    <a:pt x="7048387" y="1045496"/>
                  </a:lnTo>
                  <a:lnTo>
                    <a:pt x="7037131" y="1049360"/>
                  </a:lnTo>
                  <a:lnTo>
                    <a:pt x="7025488" y="1050905"/>
                  </a:lnTo>
                  <a:lnTo>
                    <a:pt x="7014233" y="1049360"/>
                  </a:lnTo>
                  <a:lnTo>
                    <a:pt x="7003754" y="1045496"/>
                  </a:lnTo>
                  <a:lnTo>
                    <a:pt x="6994827" y="1038540"/>
                  </a:lnTo>
                  <a:lnTo>
                    <a:pt x="6987453" y="1029653"/>
                  </a:lnTo>
                  <a:lnTo>
                    <a:pt x="6983184" y="1018833"/>
                  </a:lnTo>
                  <a:lnTo>
                    <a:pt x="6981632" y="1007241"/>
                  </a:lnTo>
                  <a:lnTo>
                    <a:pt x="6981632" y="810172"/>
                  </a:lnTo>
                  <a:lnTo>
                    <a:pt x="6983184" y="798193"/>
                  </a:lnTo>
                  <a:lnTo>
                    <a:pt x="6987453" y="787761"/>
                  </a:lnTo>
                  <a:lnTo>
                    <a:pt x="6994827" y="778873"/>
                  </a:lnTo>
                  <a:lnTo>
                    <a:pt x="7003754" y="771918"/>
                  </a:lnTo>
                  <a:lnTo>
                    <a:pt x="7014233" y="767281"/>
                  </a:lnTo>
                  <a:close/>
                  <a:moveTo>
                    <a:pt x="6479106" y="765735"/>
                  </a:moveTo>
                  <a:lnTo>
                    <a:pt x="6491033" y="767281"/>
                  </a:lnTo>
                  <a:lnTo>
                    <a:pt x="6501421" y="771918"/>
                  </a:lnTo>
                  <a:lnTo>
                    <a:pt x="6510269" y="778873"/>
                  </a:lnTo>
                  <a:lnTo>
                    <a:pt x="6517194" y="787761"/>
                  </a:lnTo>
                  <a:lnTo>
                    <a:pt x="6521811" y="798193"/>
                  </a:lnTo>
                  <a:lnTo>
                    <a:pt x="6523349" y="810172"/>
                  </a:lnTo>
                  <a:lnTo>
                    <a:pt x="6523349" y="1007241"/>
                  </a:lnTo>
                  <a:lnTo>
                    <a:pt x="6521811" y="1018833"/>
                  </a:lnTo>
                  <a:lnTo>
                    <a:pt x="6517194" y="1029653"/>
                  </a:lnTo>
                  <a:lnTo>
                    <a:pt x="6510269" y="1038540"/>
                  </a:lnTo>
                  <a:lnTo>
                    <a:pt x="6501421" y="1045496"/>
                  </a:lnTo>
                  <a:lnTo>
                    <a:pt x="6491033" y="1049360"/>
                  </a:lnTo>
                  <a:lnTo>
                    <a:pt x="6479106" y="1050905"/>
                  </a:lnTo>
                  <a:lnTo>
                    <a:pt x="6467565" y="1049360"/>
                  </a:lnTo>
                  <a:lnTo>
                    <a:pt x="6457177" y="1045496"/>
                  </a:lnTo>
                  <a:lnTo>
                    <a:pt x="6448329" y="1038540"/>
                  </a:lnTo>
                  <a:lnTo>
                    <a:pt x="6441404" y="1029653"/>
                  </a:lnTo>
                  <a:lnTo>
                    <a:pt x="6436787" y="1018833"/>
                  </a:lnTo>
                  <a:lnTo>
                    <a:pt x="6435248" y="1007241"/>
                  </a:lnTo>
                  <a:lnTo>
                    <a:pt x="6435248" y="810172"/>
                  </a:lnTo>
                  <a:lnTo>
                    <a:pt x="6436787" y="798193"/>
                  </a:lnTo>
                  <a:lnTo>
                    <a:pt x="6441404" y="787761"/>
                  </a:lnTo>
                  <a:lnTo>
                    <a:pt x="6448329" y="778873"/>
                  </a:lnTo>
                  <a:lnTo>
                    <a:pt x="6457177" y="771918"/>
                  </a:lnTo>
                  <a:lnTo>
                    <a:pt x="6467565" y="767281"/>
                  </a:lnTo>
                  <a:close/>
                  <a:moveTo>
                    <a:pt x="5234778" y="759063"/>
                  </a:moveTo>
                  <a:cubicBezTo>
                    <a:pt x="5234778" y="759063"/>
                    <a:pt x="5241447" y="799517"/>
                    <a:pt x="5209318" y="838744"/>
                  </a:cubicBezTo>
                  <a:cubicBezTo>
                    <a:pt x="5174764" y="880424"/>
                    <a:pt x="5135967" y="873682"/>
                    <a:pt x="5135967" y="873682"/>
                  </a:cubicBezTo>
                  <a:cubicBezTo>
                    <a:pt x="5135967" y="873682"/>
                    <a:pt x="5128693" y="840583"/>
                    <a:pt x="5157184" y="802581"/>
                  </a:cubicBezTo>
                  <a:cubicBezTo>
                    <a:pt x="5189313" y="759063"/>
                    <a:pt x="5234778" y="759063"/>
                    <a:pt x="5234778" y="759063"/>
                  </a:cubicBezTo>
                  <a:close/>
                  <a:moveTo>
                    <a:pt x="3071934" y="758052"/>
                  </a:moveTo>
                  <a:lnTo>
                    <a:pt x="3072332" y="994869"/>
                  </a:lnTo>
                  <a:lnTo>
                    <a:pt x="2804155" y="994869"/>
                  </a:lnTo>
                  <a:lnTo>
                    <a:pt x="2804155" y="795532"/>
                  </a:lnTo>
                  <a:close/>
                  <a:moveTo>
                    <a:pt x="1093130" y="713799"/>
                  </a:moveTo>
                  <a:lnTo>
                    <a:pt x="1093130" y="982883"/>
                  </a:lnTo>
                  <a:lnTo>
                    <a:pt x="813740" y="982883"/>
                  </a:lnTo>
                  <a:cubicBezTo>
                    <a:pt x="813921" y="884474"/>
                    <a:pt x="814072" y="789305"/>
                    <a:pt x="813710" y="752908"/>
                  </a:cubicBezTo>
                  <a:close/>
                  <a:moveTo>
                    <a:pt x="8262676" y="695457"/>
                  </a:moveTo>
                  <a:lnTo>
                    <a:pt x="8263593" y="695770"/>
                  </a:lnTo>
                  <a:lnTo>
                    <a:pt x="8263899" y="695770"/>
                  </a:lnTo>
                  <a:lnTo>
                    <a:pt x="8292641" y="737285"/>
                  </a:lnTo>
                  <a:lnTo>
                    <a:pt x="8297874" y="735220"/>
                  </a:lnTo>
                  <a:lnTo>
                    <a:pt x="8312986" y="730912"/>
                  </a:lnTo>
                  <a:lnTo>
                    <a:pt x="8328715" y="727527"/>
                  </a:lnTo>
                  <a:lnTo>
                    <a:pt x="8346604" y="725681"/>
                  </a:lnTo>
                  <a:lnTo>
                    <a:pt x="8365726" y="725065"/>
                  </a:lnTo>
                  <a:lnTo>
                    <a:pt x="8385465" y="725988"/>
                  </a:lnTo>
                  <a:lnTo>
                    <a:pt x="8403661" y="728142"/>
                  </a:lnTo>
                  <a:lnTo>
                    <a:pt x="8420624" y="731835"/>
                  </a:lnTo>
                  <a:lnTo>
                    <a:pt x="8435428" y="736451"/>
                  </a:lnTo>
                  <a:lnTo>
                    <a:pt x="8438249" y="737667"/>
                  </a:lnTo>
                  <a:lnTo>
                    <a:pt x="8467449" y="695770"/>
                  </a:lnTo>
                  <a:lnTo>
                    <a:pt x="8468071" y="695770"/>
                  </a:lnTo>
                  <a:lnTo>
                    <a:pt x="8468693" y="695457"/>
                  </a:lnTo>
                  <a:lnTo>
                    <a:pt x="8469626" y="695770"/>
                  </a:lnTo>
                  <a:lnTo>
                    <a:pt x="8470870" y="695770"/>
                  </a:lnTo>
                  <a:lnTo>
                    <a:pt x="8471803" y="696707"/>
                  </a:lnTo>
                  <a:lnTo>
                    <a:pt x="8472736" y="697332"/>
                  </a:lnTo>
                  <a:lnTo>
                    <a:pt x="8473358" y="698268"/>
                  </a:lnTo>
                  <a:lnTo>
                    <a:pt x="8473980" y="699518"/>
                  </a:lnTo>
                  <a:lnTo>
                    <a:pt x="8473358" y="700143"/>
                  </a:lnTo>
                  <a:lnTo>
                    <a:pt x="8445137" y="740635"/>
                  </a:lnTo>
                  <a:lnTo>
                    <a:pt x="8448998" y="742298"/>
                  </a:lnTo>
                  <a:lnTo>
                    <a:pt x="8461335" y="748760"/>
                  </a:lnTo>
                  <a:lnTo>
                    <a:pt x="8472129" y="755838"/>
                  </a:lnTo>
                  <a:lnTo>
                    <a:pt x="8481691" y="763839"/>
                  </a:lnTo>
                  <a:lnTo>
                    <a:pt x="8490018" y="772456"/>
                  </a:lnTo>
                  <a:lnTo>
                    <a:pt x="8497728" y="781072"/>
                  </a:lnTo>
                  <a:lnTo>
                    <a:pt x="8504205" y="789997"/>
                  </a:lnTo>
                  <a:lnTo>
                    <a:pt x="8509757" y="799229"/>
                  </a:lnTo>
                  <a:lnTo>
                    <a:pt x="8514383" y="808153"/>
                  </a:lnTo>
                  <a:lnTo>
                    <a:pt x="8518084" y="817077"/>
                  </a:lnTo>
                  <a:lnTo>
                    <a:pt x="8521477" y="825386"/>
                  </a:lnTo>
                  <a:lnTo>
                    <a:pt x="8523944" y="833079"/>
                  </a:lnTo>
                  <a:lnTo>
                    <a:pt x="8526103" y="840773"/>
                  </a:lnTo>
                  <a:lnTo>
                    <a:pt x="8527336" y="846927"/>
                  </a:lnTo>
                  <a:lnTo>
                    <a:pt x="8528262" y="852774"/>
                  </a:lnTo>
                  <a:lnTo>
                    <a:pt x="8528879" y="857390"/>
                  </a:lnTo>
                  <a:lnTo>
                    <a:pt x="8529495" y="861083"/>
                  </a:lnTo>
                  <a:lnTo>
                    <a:pt x="8529495" y="862929"/>
                  </a:lnTo>
                  <a:lnTo>
                    <a:pt x="8529495" y="863853"/>
                  </a:lnTo>
                  <a:lnTo>
                    <a:pt x="8201956" y="863853"/>
                  </a:lnTo>
                  <a:lnTo>
                    <a:pt x="8201956" y="862929"/>
                  </a:lnTo>
                  <a:lnTo>
                    <a:pt x="8201956" y="861083"/>
                  </a:lnTo>
                  <a:lnTo>
                    <a:pt x="8202265" y="857698"/>
                  </a:lnTo>
                  <a:lnTo>
                    <a:pt x="8203190" y="853390"/>
                  </a:lnTo>
                  <a:lnTo>
                    <a:pt x="8204115" y="848158"/>
                  </a:lnTo>
                  <a:lnTo>
                    <a:pt x="8204732" y="842004"/>
                  </a:lnTo>
                  <a:lnTo>
                    <a:pt x="8206582" y="835233"/>
                  </a:lnTo>
                  <a:lnTo>
                    <a:pt x="8209050" y="827848"/>
                  </a:lnTo>
                  <a:lnTo>
                    <a:pt x="8211517" y="819847"/>
                  </a:lnTo>
                  <a:lnTo>
                    <a:pt x="8214910" y="811538"/>
                  </a:lnTo>
                  <a:lnTo>
                    <a:pt x="8218919" y="802922"/>
                  </a:lnTo>
                  <a:lnTo>
                    <a:pt x="8223546" y="793997"/>
                  </a:lnTo>
                  <a:lnTo>
                    <a:pt x="8229405" y="785688"/>
                  </a:lnTo>
                  <a:lnTo>
                    <a:pt x="8236190" y="777072"/>
                  </a:lnTo>
                  <a:lnTo>
                    <a:pt x="8243592" y="768763"/>
                  </a:lnTo>
                  <a:lnTo>
                    <a:pt x="8251920" y="760762"/>
                  </a:lnTo>
                  <a:lnTo>
                    <a:pt x="8261481" y="753376"/>
                  </a:lnTo>
                  <a:lnTo>
                    <a:pt x="8272275" y="746606"/>
                  </a:lnTo>
                  <a:lnTo>
                    <a:pt x="8284612" y="740452"/>
                  </a:lnTo>
                  <a:lnTo>
                    <a:pt x="8285699" y="740023"/>
                  </a:lnTo>
                  <a:lnTo>
                    <a:pt x="8258088" y="700143"/>
                  </a:lnTo>
                  <a:lnTo>
                    <a:pt x="8258088" y="699518"/>
                  </a:lnTo>
                  <a:lnTo>
                    <a:pt x="8258088" y="698268"/>
                  </a:lnTo>
                  <a:lnTo>
                    <a:pt x="8259006" y="697332"/>
                  </a:lnTo>
                  <a:lnTo>
                    <a:pt x="8260229" y="696707"/>
                  </a:lnTo>
                  <a:lnTo>
                    <a:pt x="8260841" y="695770"/>
                  </a:lnTo>
                  <a:lnTo>
                    <a:pt x="8261758" y="695770"/>
                  </a:lnTo>
                  <a:close/>
                  <a:moveTo>
                    <a:pt x="1495584" y="657469"/>
                  </a:moveTo>
                  <a:lnTo>
                    <a:pt x="1496132" y="982883"/>
                  </a:lnTo>
                  <a:lnTo>
                    <a:pt x="1127626" y="982883"/>
                  </a:lnTo>
                  <a:lnTo>
                    <a:pt x="1127626" y="708970"/>
                  </a:lnTo>
                  <a:close/>
                  <a:moveTo>
                    <a:pt x="4171486" y="652571"/>
                  </a:moveTo>
                  <a:cubicBezTo>
                    <a:pt x="4280748" y="652571"/>
                    <a:pt x="4323878" y="731098"/>
                    <a:pt x="4323878" y="731098"/>
                  </a:cubicBezTo>
                  <a:cubicBezTo>
                    <a:pt x="4323878" y="731098"/>
                    <a:pt x="4239535" y="774724"/>
                    <a:pt x="4239535" y="880396"/>
                  </a:cubicBezTo>
                  <a:cubicBezTo>
                    <a:pt x="4239535" y="999640"/>
                    <a:pt x="4344963" y="1040357"/>
                    <a:pt x="4344963" y="1040357"/>
                  </a:cubicBezTo>
                  <a:cubicBezTo>
                    <a:pt x="4344963" y="1040357"/>
                    <a:pt x="4271164" y="1248792"/>
                    <a:pt x="4172445" y="1248792"/>
                  </a:cubicBezTo>
                  <a:cubicBezTo>
                    <a:pt x="4127398" y="1248792"/>
                    <a:pt x="4091936" y="1217769"/>
                    <a:pt x="4044015" y="1217769"/>
                  </a:cubicBezTo>
                  <a:cubicBezTo>
                    <a:pt x="3995134" y="1217769"/>
                    <a:pt x="3946254" y="1250731"/>
                    <a:pt x="3914626" y="1250731"/>
                  </a:cubicBezTo>
                  <a:cubicBezTo>
                    <a:pt x="3824533" y="1250731"/>
                    <a:pt x="3710479" y="1052960"/>
                    <a:pt x="3710479" y="893968"/>
                  </a:cubicBezTo>
                  <a:cubicBezTo>
                    <a:pt x="3710479" y="736915"/>
                    <a:pt x="3807281" y="654510"/>
                    <a:pt x="3897374" y="654510"/>
                  </a:cubicBezTo>
                  <a:cubicBezTo>
                    <a:pt x="3956797" y="654510"/>
                    <a:pt x="4002802" y="689411"/>
                    <a:pt x="4033472" y="689411"/>
                  </a:cubicBezTo>
                  <a:cubicBezTo>
                    <a:pt x="4059350" y="689411"/>
                    <a:pt x="4108230" y="652571"/>
                    <a:pt x="4171486" y="652571"/>
                  </a:cubicBezTo>
                  <a:close/>
                  <a:moveTo>
                    <a:pt x="6842525" y="641312"/>
                  </a:moveTo>
                  <a:lnTo>
                    <a:pt x="6834796" y="643229"/>
                  </a:lnTo>
                  <a:lnTo>
                    <a:pt x="6827841" y="646680"/>
                  </a:lnTo>
                  <a:lnTo>
                    <a:pt x="6822818" y="651664"/>
                  </a:lnTo>
                  <a:lnTo>
                    <a:pt x="6818953" y="658566"/>
                  </a:lnTo>
                  <a:lnTo>
                    <a:pt x="6817794" y="666234"/>
                  </a:lnTo>
                  <a:lnTo>
                    <a:pt x="6818953" y="674286"/>
                  </a:lnTo>
                  <a:lnTo>
                    <a:pt x="6822818" y="680804"/>
                  </a:lnTo>
                  <a:lnTo>
                    <a:pt x="6827841" y="686172"/>
                  </a:lnTo>
                  <a:lnTo>
                    <a:pt x="6834796" y="689622"/>
                  </a:lnTo>
                  <a:lnTo>
                    <a:pt x="6842525" y="690772"/>
                  </a:lnTo>
                  <a:lnTo>
                    <a:pt x="6850253" y="689622"/>
                  </a:lnTo>
                  <a:lnTo>
                    <a:pt x="6857208" y="686172"/>
                  </a:lnTo>
                  <a:lnTo>
                    <a:pt x="6862231" y="680804"/>
                  </a:lnTo>
                  <a:lnTo>
                    <a:pt x="6866096" y="674286"/>
                  </a:lnTo>
                  <a:lnTo>
                    <a:pt x="6867255" y="666234"/>
                  </a:lnTo>
                  <a:lnTo>
                    <a:pt x="6866096" y="658566"/>
                  </a:lnTo>
                  <a:lnTo>
                    <a:pt x="6862231" y="651664"/>
                  </a:lnTo>
                  <a:lnTo>
                    <a:pt x="6857208" y="646680"/>
                  </a:lnTo>
                  <a:lnTo>
                    <a:pt x="6850253" y="643229"/>
                  </a:lnTo>
                  <a:close/>
                  <a:moveTo>
                    <a:pt x="6662071" y="641312"/>
                  </a:moveTo>
                  <a:lnTo>
                    <a:pt x="6654343" y="643229"/>
                  </a:lnTo>
                  <a:lnTo>
                    <a:pt x="6647388" y="646680"/>
                  </a:lnTo>
                  <a:lnTo>
                    <a:pt x="6642364" y="651664"/>
                  </a:lnTo>
                  <a:lnTo>
                    <a:pt x="6639273" y="658566"/>
                  </a:lnTo>
                  <a:lnTo>
                    <a:pt x="6637727" y="666234"/>
                  </a:lnTo>
                  <a:lnTo>
                    <a:pt x="6639273" y="674286"/>
                  </a:lnTo>
                  <a:lnTo>
                    <a:pt x="6642364" y="680804"/>
                  </a:lnTo>
                  <a:lnTo>
                    <a:pt x="6647388" y="686172"/>
                  </a:lnTo>
                  <a:lnTo>
                    <a:pt x="6654343" y="689622"/>
                  </a:lnTo>
                  <a:lnTo>
                    <a:pt x="6662071" y="690772"/>
                  </a:lnTo>
                  <a:lnTo>
                    <a:pt x="6670186" y="689622"/>
                  </a:lnTo>
                  <a:lnTo>
                    <a:pt x="6676755" y="686172"/>
                  </a:lnTo>
                  <a:lnTo>
                    <a:pt x="6682551" y="680804"/>
                  </a:lnTo>
                  <a:lnTo>
                    <a:pt x="6685642" y="674286"/>
                  </a:lnTo>
                  <a:lnTo>
                    <a:pt x="6687188" y="666234"/>
                  </a:lnTo>
                  <a:lnTo>
                    <a:pt x="6685642" y="658566"/>
                  </a:lnTo>
                  <a:lnTo>
                    <a:pt x="6682551" y="651664"/>
                  </a:lnTo>
                  <a:lnTo>
                    <a:pt x="6676755" y="646680"/>
                  </a:lnTo>
                  <a:lnTo>
                    <a:pt x="6670186" y="643229"/>
                  </a:lnTo>
                  <a:close/>
                  <a:moveTo>
                    <a:pt x="4828217" y="546687"/>
                  </a:moveTo>
                  <a:lnTo>
                    <a:pt x="4828217" y="1471905"/>
                  </a:lnTo>
                  <a:lnTo>
                    <a:pt x="5444866" y="1471905"/>
                  </a:lnTo>
                  <a:lnTo>
                    <a:pt x="5444866" y="546687"/>
                  </a:lnTo>
                  <a:close/>
                  <a:moveTo>
                    <a:pt x="6623381" y="544709"/>
                  </a:moveTo>
                  <a:lnTo>
                    <a:pt x="6624531" y="545101"/>
                  </a:lnTo>
                  <a:lnTo>
                    <a:pt x="6624914" y="545101"/>
                  </a:lnTo>
                  <a:lnTo>
                    <a:pt x="6660924" y="597114"/>
                  </a:lnTo>
                  <a:lnTo>
                    <a:pt x="6667480" y="594528"/>
                  </a:lnTo>
                  <a:lnTo>
                    <a:pt x="6686415" y="589130"/>
                  </a:lnTo>
                  <a:lnTo>
                    <a:pt x="6706121" y="584889"/>
                  </a:lnTo>
                  <a:lnTo>
                    <a:pt x="6728533" y="582576"/>
                  </a:lnTo>
                  <a:lnTo>
                    <a:pt x="6752491" y="581804"/>
                  </a:lnTo>
                  <a:lnTo>
                    <a:pt x="6777221" y="582961"/>
                  </a:lnTo>
                  <a:lnTo>
                    <a:pt x="6800019" y="585660"/>
                  </a:lnTo>
                  <a:lnTo>
                    <a:pt x="6821272" y="590287"/>
                  </a:lnTo>
                  <a:lnTo>
                    <a:pt x="6839819" y="596070"/>
                  </a:lnTo>
                  <a:lnTo>
                    <a:pt x="6843354" y="597593"/>
                  </a:lnTo>
                  <a:lnTo>
                    <a:pt x="6879938" y="545101"/>
                  </a:lnTo>
                  <a:lnTo>
                    <a:pt x="6880717" y="545101"/>
                  </a:lnTo>
                  <a:lnTo>
                    <a:pt x="6881497" y="544709"/>
                  </a:lnTo>
                  <a:lnTo>
                    <a:pt x="6882665" y="545101"/>
                  </a:lnTo>
                  <a:lnTo>
                    <a:pt x="6884224" y="545101"/>
                  </a:lnTo>
                  <a:lnTo>
                    <a:pt x="6885393" y="546275"/>
                  </a:lnTo>
                  <a:lnTo>
                    <a:pt x="6886562" y="547058"/>
                  </a:lnTo>
                  <a:lnTo>
                    <a:pt x="6887341" y="548231"/>
                  </a:lnTo>
                  <a:lnTo>
                    <a:pt x="6888121" y="549797"/>
                  </a:lnTo>
                  <a:lnTo>
                    <a:pt x="6887341" y="550580"/>
                  </a:lnTo>
                  <a:lnTo>
                    <a:pt x="6851984" y="601312"/>
                  </a:lnTo>
                  <a:lnTo>
                    <a:pt x="6856821" y="603396"/>
                  </a:lnTo>
                  <a:lnTo>
                    <a:pt x="6872278" y="611492"/>
                  </a:lnTo>
                  <a:lnTo>
                    <a:pt x="6885802" y="620360"/>
                  </a:lnTo>
                  <a:lnTo>
                    <a:pt x="6897781" y="630384"/>
                  </a:lnTo>
                  <a:lnTo>
                    <a:pt x="6908214" y="641180"/>
                  </a:lnTo>
                  <a:lnTo>
                    <a:pt x="6917874" y="651975"/>
                  </a:lnTo>
                  <a:lnTo>
                    <a:pt x="6925989" y="663156"/>
                  </a:lnTo>
                  <a:lnTo>
                    <a:pt x="6932944" y="674723"/>
                  </a:lnTo>
                  <a:lnTo>
                    <a:pt x="6938740" y="685904"/>
                  </a:lnTo>
                  <a:lnTo>
                    <a:pt x="6943377" y="697084"/>
                  </a:lnTo>
                  <a:lnTo>
                    <a:pt x="6947628" y="707495"/>
                  </a:lnTo>
                  <a:lnTo>
                    <a:pt x="6950719" y="717133"/>
                  </a:lnTo>
                  <a:lnTo>
                    <a:pt x="6953424" y="726772"/>
                  </a:lnTo>
                  <a:lnTo>
                    <a:pt x="6954970" y="734484"/>
                  </a:lnTo>
                  <a:lnTo>
                    <a:pt x="6956129" y="741809"/>
                  </a:lnTo>
                  <a:lnTo>
                    <a:pt x="6956902" y="747592"/>
                  </a:lnTo>
                  <a:lnTo>
                    <a:pt x="6957674" y="752219"/>
                  </a:lnTo>
                  <a:lnTo>
                    <a:pt x="6957674" y="754532"/>
                  </a:lnTo>
                  <a:lnTo>
                    <a:pt x="6957674" y="755689"/>
                  </a:lnTo>
                  <a:lnTo>
                    <a:pt x="6547307" y="755689"/>
                  </a:lnTo>
                  <a:lnTo>
                    <a:pt x="6547307" y="754532"/>
                  </a:lnTo>
                  <a:lnTo>
                    <a:pt x="6547307" y="752219"/>
                  </a:lnTo>
                  <a:lnTo>
                    <a:pt x="6547694" y="747978"/>
                  </a:lnTo>
                  <a:lnTo>
                    <a:pt x="6548853" y="742580"/>
                  </a:lnTo>
                  <a:lnTo>
                    <a:pt x="6550012" y="736026"/>
                  </a:lnTo>
                  <a:lnTo>
                    <a:pt x="6550785" y="728315"/>
                  </a:lnTo>
                  <a:lnTo>
                    <a:pt x="6553103" y="719832"/>
                  </a:lnTo>
                  <a:lnTo>
                    <a:pt x="6556194" y="710579"/>
                  </a:lnTo>
                  <a:lnTo>
                    <a:pt x="6559286" y="700555"/>
                  </a:lnTo>
                  <a:lnTo>
                    <a:pt x="6563537" y="690145"/>
                  </a:lnTo>
                  <a:lnTo>
                    <a:pt x="6568559" y="679349"/>
                  </a:lnTo>
                  <a:lnTo>
                    <a:pt x="6574356" y="668168"/>
                  </a:lnTo>
                  <a:lnTo>
                    <a:pt x="6581698" y="657758"/>
                  </a:lnTo>
                  <a:lnTo>
                    <a:pt x="6590198" y="646963"/>
                  </a:lnTo>
                  <a:lnTo>
                    <a:pt x="6599472" y="636553"/>
                  </a:lnTo>
                  <a:lnTo>
                    <a:pt x="6609906" y="626529"/>
                  </a:lnTo>
                  <a:lnTo>
                    <a:pt x="6621884" y="617275"/>
                  </a:lnTo>
                  <a:lnTo>
                    <a:pt x="6635408" y="608793"/>
                  </a:lnTo>
                  <a:lnTo>
                    <a:pt x="6650865" y="601082"/>
                  </a:lnTo>
                  <a:lnTo>
                    <a:pt x="6652226" y="600545"/>
                  </a:lnTo>
                  <a:lnTo>
                    <a:pt x="6617634" y="550580"/>
                  </a:lnTo>
                  <a:lnTo>
                    <a:pt x="6617634" y="549797"/>
                  </a:lnTo>
                  <a:lnTo>
                    <a:pt x="6617634" y="548231"/>
                  </a:lnTo>
                  <a:lnTo>
                    <a:pt x="6618783" y="547058"/>
                  </a:lnTo>
                  <a:lnTo>
                    <a:pt x="6620316" y="546275"/>
                  </a:lnTo>
                  <a:lnTo>
                    <a:pt x="6621082" y="545101"/>
                  </a:lnTo>
                  <a:lnTo>
                    <a:pt x="6622232" y="545101"/>
                  </a:lnTo>
                  <a:close/>
                  <a:moveTo>
                    <a:pt x="4183017" y="463640"/>
                  </a:moveTo>
                  <a:cubicBezTo>
                    <a:pt x="4183017" y="463640"/>
                    <a:pt x="4193558" y="527590"/>
                    <a:pt x="4142768" y="589602"/>
                  </a:cubicBezTo>
                  <a:cubicBezTo>
                    <a:pt x="4088146" y="655489"/>
                    <a:pt x="4026815" y="644831"/>
                    <a:pt x="4026815" y="644831"/>
                  </a:cubicBezTo>
                  <a:cubicBezTo>
                    <a:pt x="4026815" y="644831"/>
                    <a:pt x="4015315" y="592508"/>
                    <a:pt x="4060355" y="532435"/>
                  </a:cubicBezTo>
                  <a:cubicBezTo>
                    <a:pt x="4111145" y="463640"/>
                    <a:pt x="4183017" y="463640"/>
                    <a:pt x="4183017" y="463640"/>
                  </a:cubicBezTo>
                  <a:close/>
                  <a:moveTo>
                    <a:pt x="142606" y="435886"/>
                  </a:moveTo>
                  <a:lnTo>
                    <a:pt x="142606" y="1564635"/>
                  </a:lnTo>
                  <a:lnTo>
                    <a:pt x="2167619" y="1564635"/>
                  </a:lnTo>
                  <a:lnTo>
                    <a:pt x="2167619" y="435886"/>
                  </a:lnTo>
                  <a:close/>
                  <a:moveTo>
                    <a:pt x="5049402" y="408930"/>
                  </a:moveTo>
                  <a:cubicBezTo>
                    <a:pt x="5040732" y="408930"/>
                    <a:pt x="5033704" y="415958"/>
                    <a:pt x="5033704" y="424628"/>
                  </a:cubicBezTo>
                  <a:cubicBezTo>
                    <a:pt x="5033704" y="433298"/>
                    <a:pt x="5040732" y="440326"/>
                    <a:pt x="5049402" y="440326"/>
                  </a:cubicBezTo>
                  <a:lnTo>
                    <a:pt x="5223681" y="440326"/>
                  </a:lnTo>
                  <a:cubicBezTo>
                    <a:pt x="5232350" y="440326"/>
                    <a:pt x="5239379" y="433298"/>
                    <a:pt x="5239379" y="424628"/>
                  </a:cubicBezTo>
                  <a:cubicBezTo>
                    <a:pt x="5239379" y="415958"/>
                    <a:pt x="5232350" y="408930"/>
                    <a:pt x="5223681" y="408930"/>
                  </a:cubicBezTo>
                  <a:close/>
                  <a:moveTo>
                    <a:pt x="2518597" y="402274"/>
                  </a:moveTo>
                  <a:cubicBezTo>
                    <a:pt x="2497867" y="402274"/>
                    <a:pt x="2481061" y="419079"/>
                    <a:pt x="2481061" y="439810"/>
                  </a:cubicBezTo>
                  <a:lnTo>
                    <a:pt x="2481061" y="1467497"/>
                  </a:lnTo>
                  <a:cubicBezTo>
                    <a:pt x="2481061" y="1488228"/>
                    <a:pt x="2497867" y="1505033"/>
                    <a:pt x="2518597" y="1505033"/>
                  </a:cubicBezTo>
                  <a:lnTo>
                    <a:pt x="3130747" y="1505033"/>
                  </a:lnTo>
                  <a:cubicBezTo>
                    <a:pt x="3151478" y="1505033"/>
                    <a:pt x="3168284" y="1488228"/>
                    <a:pt x="3168284" y="1467497"/>
                  </a:cubicBezTo>
                  <a:lnTo>
                    <a:pt x="3168284" y="439810"/>
                  </a:lnTo>
                  <a:cubicBezTo>
                    <a:pt x="3168284" y="419079"/>
                    <a:pt x="3151478" y="402274"/>
                    <a:pt x="3130747" y="402274"/>
                  </a:cubicBezTo>
                  <a:close/>
                  <a:moveTo>
                    <a:pt x="2776017" y="362170"/>
                  </a:moveTo>
                  <a:cubicBezTo>
                    <a:pt x="2774421" y="362170"/>
                    <a:pt x="2772977" y="362818"/>
                    <a:pt x="2771932" y="363863"/>
                  </a:cubicBezTo>
                  <a:lnTo>
                    <a:pt x="2770239" y="367948"/>
                  </a:lnTo>
                  <a:lnTo>
                    <a:pt x="2771932" y="372033"/>
                  </a:lnTo>
                  <a:cubicBezTo>
                    <a:pt x="2772977" y="373077"/>
                    <a:pt x="2774421" y="373725"/>
                    <a:pt x="2776017" y="373725"/>
                  </a:cubicBezTo>
                  <a:lnTo>
                    <a:pt x="2872301" y="373725"/>
                  </a:lnTo>
                  <a:cubicBezTo>
                    <a:pt x="2875492" y="373725"/>
                    <a:pt x="2878078" y="371138"/>
                    <a:pt x="2878078" y="367948"/>
                  </a:cubicBezTo>
                  <a:cubicBezTo>
                    <a:pt x="2878078" y="364757"/>
                    <a:pt x="2875492" y="362170"/>
                    <a:pt x="2872301" y="362170"/>
                  </a:cubicBezTo>
                  <a:close/>
                  <a:moveTo>
                    <a:pt x="8074277" y="335996"/>
                  </a:moveTo>
                  <a:cubicBezTo>
                    <a:pt x="8049512" y="335996"/>
                    <a:pt x="8029436" y="356072"/>
                    <a:pt x="8029436" y="380837"/>
                  </a:cubicBezTo>
                  <a:lnTo>
                    <a:pt x="8029436" y="1435314"/>
                  </a:lnTo>
                  <a:cubicBezTo>
                    <a:pt x="8029436" y="1460079"/>
                    <a:pt x="8049512" y="1480155"/>
                    <a:pt x="8074277" y="1480155"/>
                  </a:cubicBezTo>
                  <a:lnTo>
                    <a:pt x="8657174" y="1480155"/>
                  </a:lnTo>
                  <a:cubicBezTo>
                    <a:pt x="8681939" y="1480155"/>
                    <a:pt x="8702015" y="1460079"/>
                    <a:pt x="8702015" y="1435314"/>
                  </a:cubicBezTo>
                  <a:lnTo>
                    <a:pt x="8702015" y="380837"/>
                  </a:lnTo>
                  <a:cubicBezTo>
                    <a:pt x="8702015" y="356072"/>
                    <a:pt x="8681939" y="335996"/>
                    <a:pt x="8657174" y="335996"/>
                  </a:cubicBezTo>
                  <a:close/>
                  <a:moveTo>
                    <a:pt x="5759891" y="305930"/>
                  </a:moveTo>
                  <a:lnTo>
                    <a:pt x="5759891" y="1478569"/>
                  </a:lnTo>
                  <a:lnTo>
                    <a:pt x="7741904" y="1478569"/>
                  </a:lnTo>
                  <a:lnTo>
                    <a:pt x="7741904" y="305930"/>
                  </a:lnTo>
                  <a:close/>
                  <a:moveTo>
                    <a:pt x="4878987" y="300646"/>
                  </a:moveTo>
                  <a:lnTo>
                    <a:pt x="5394095" y="300646"/>
                  </a:lnTo>
                  <a:cubicBezTo>
                    <a:pt x="5448538" y="300646"/>
                    <a:pt x="5492672" y="344781"/>
                    <a:pt x="5492672" y="399224"/>
                  </a:cubicBezTo>
                  <a:lnTo>
                    <a:pt x="5492672" y="1616806"/>
                  </a:lnTo>
                  <a:cubicBezTo>
                    <a:pt x="5492672" y="1671249"/>
                    <a:pt x="5448538" y="1715383"/>
                    <a:pt x="5394095" y="1715383"/>
                  </a:cubicBezTo>
                  <a:lnTo>
                    <a:pt x="4878987" y="1715383"/>
                  </a:lnTo>
                  <a:cubicBezTo>
                    <a:pt x="4824545" y="1715383"/>
                    <a:pt x="4780410" y="1671249"/>
                    <a:pt x="4780410" y="1616806"/>
                  </a:cubicBezTo>
                  <a:lnTo>
                    <a:pt x="4780410" y="399224"/>
                  </a:lnTo>
                  <a:cubicBezTo>
                    <a:pt x="4780410" y="344781"/>
                    <a:pt x="4824545" y="300646"/>
                    <a:pt x="4878987" y="300646"/>
                  </a:cubicBezTo>
                  <a:close/>
                  <a:moveTo>
                    <a:pt x="2442872" y="299635"/>
                  </a:moveTo>
                  <a:lnTo>
                    <a:pt x="3205445" y="299635"/>
                  </a:lnTo>
                  <a:lnTo>
                    <a:pt x="3205445" y="1714372"/>
                  </a:lnTo>
                  <a:lnTo>
                    <a:pt x="2442872" y="1714372"/>
                  </a:lnTo>
                  <a:close/>
                  <a:moveTo>
                    <a:pt x="8046360" y="292188"/>
                  </a:moveTo>
                  <a:lnTo>
                    <a:pt x="8685091" y="292188"/>
                  </a:lnTo>
                  <a:cubicBezTo>
                    <a:pt x="8712228" y="292188"/>
                    <a:pt x="8734227" y="314187"/>
                    <a:pt x="8734227" y="341324"/>
                  </a:cubicBezTo>
                  <a:lnTo>
                    <a:pt x="8734227" y="1657789"/>
                  </a:lnTo>
                  <a:cubicBezTo>
                    <a:pt x="8734227" y="1684926"/>
                    <a:pt x="8712228" y="1706925"/>
                    <a:pt x="8685091" y="1706925"/>
                  </a:cubicBezTo>
                  <a:lnTo>
                    <a:pt x="8046360" y="1706925"/>
                  </a:lnTo>
                  <a:cubicBezTo>
                    <a:pt x="8019223" y="1706925"/>
                    <a:pt x="7997224" y="1684926"/>
                    <a:pt x="7997224" y="1657789"/>
                  </a:cubicBezTo>
                  <a:lnTo>
                    <a:pt x="7997224" y="341324"/>
                  </a:lnTo>
                  <a:cubicBezTo>
                    <a:pt x="7997224" y="314187"/>
                    <a:pt x="8019223" y="292188"/>
                    <a:pt x="8046360" y="292188"/>
                  </a:cubicBezTo>
                  <a:close/>
                  <a:moveTo>
                    <a:pt x="31495" y="284741"/>
                  </a:moveTo>
                  <a:lnTo>
                    <a:pt x="2278731" y="284741"/>
                  </a:lnTo>
                  <a:cubicBezTo>
                    <a:pt x="2296124" y="284741"/>
                    <a:pt x="2310225" y="298841"/>
                    <a:pt x="2310225" y="316235"/>
                  </a:cubicBezTo>
                  <a:lnTo>
                    <a:pt x="2310225" y="1682878"/>
                  </a:lnTo>
                  <a:cubicBezTo>
                    <a:pt x="2310225" y="1700272"/>
                    <a:pt x="2296124" y="1714372"/>
                    <a:pt x="2278731" y="1714372"/>
                  </a:cubicBezTo>
                  <a:lnTo>
                    <a:pt x="31495" y="1714372"/>
                  </a:lnTo>
                  <a:cubicBezTo>
                    <a:pt x="14101" y="1714372"/>
                    <a:pt x="0" y="1700272"/>
                    <a:pt x="0" y="1682878"/>
                  </a:cubicBezTo>
                  <a:lnTo>
                    <a:pt x="0" y="316235"/>
                  </a:lnTo>
                  <a:cubicBezTo>
                    <a:pt x="0" y="298841"/>
                    <a:pt x="14101" y="284741"/>
                    <a:pt x="31495" y="284741"/>
                  </a:cubicBezTo>
                  <a:close/>
                  <a:moveTo>
                    <a:pt x="3506920" y="153677"/>
                  </a:moveTo>
                  <a:lnTo>
                    <a:pt x="3506920" y="1550448"/>
                  </a:lnTo>
                  <a:lnTo>
                    <a:pt x="4548522" y="1550448"/>
                  </a:lnTo>
                  <a:lnTo>
                    <a:pt x="4548522" y="153677"/>
                  </a:lnTo>
                  <a:close/>
                  <a:moveTo>
                    <a:pt x="5691386" y="137045"/>
                  </a:moveTo>
                  <a:lnTo>
                    <a:pt x="7813595" y="137045"/>
                  </a:lnTo>
                  <a:cubicBezTo>
                    <a:pt x="7865514" y="137045"/>
                    <a:pt x="7907603" y="179134"/>
                    <a:pt x="7907603" y="231053"/>
                  </a:cubicBezTo>
                  <a:lnTo>
                    <a:pt x="7907603" y="1620364"/>
                  </a:lnTo>
                  <a:cubicBezTo>
                    <a:pt x="7907603" y="1672283"/>
                    <a:pt x="7865514" y="1714372"/>
                    <a:pt x="7813595" y="1714372"/>
                  </a:cubicBezTo>
                  <a:lnTo>
                    <a:pt x="5691386" y="1714372"/>
                  </a:lnTo>
                  <a:cubicBezTo>
                    <a:pt x="5639467" y="1714372"/>
                    <a:pt x="5597378" y="1672283"/>
                    <a:pt x="5597378" y="1620364"/>
                  </a:cubicBezTo>
                  <a:lnTo>
                    <a:pt x="5597378" y="231053"/>
                  </a:lnTo>
                  <a:cubicBezTo>
                    <a:pt x="5597378" y="179134"/>
                    <a:pt x="5639467" y="137045"/>
                    <a:pt x="5691386" y="137045"/>
                  </a:cubicBezTo>
                  <a:close/>
                  <a:moveTo>
                    <a:pt x="3445917" y="0"/>
                  </a:moveTo>
                  <a:lnTo>
                    <a:pt x="4609525" y="0"/>
                  </a:lnTo>
                  <a:cubicBezTo>
                    <a:pt x="4657878" y="0"/>
                    <a:pt x="4697076" y="39198"/>
                    <a:pt x="4697076" y="87551"/>
                  </a:cubicBezTo>
                  <a:lnTo>
                    <a:pt x="4697076" y="1626821"/>
                  </a:lnTo>
                  <a:cubicBezTo>
                    <a:pt x="4697076" y="1675174"/>
                    <a:pt x="4657878" y="1714372"/>
                    <a:pt x="4609525" y="1714372"/>
                  </a:cubicBezTo>
                  <a:lnTo>
                    <a:pt x="3445917" y="1714372"/>
                  </a:lnTo>
                  <a:cubicBezTo>
                    <a:pt x="3397564" y="1714372"/>
                    <a:pt x="3358365" y="1675174"/>
                    <a:pt x="3358365" y="1626821"/>
                  </a:cubicBezTo>
                  <a:lnTo>
                    <a:pt x="3358365" y="87551"/>
                  </a:lnTo>
                  <a:cubicBezTo>
                    <a:pt x="3358365" y="39198"/>
                    <a:pt x="3397564" y="0"/>
                    <a:pt x="3445917" y="0"/>
                  </a:cubicBezTo>
                  <a:close/>
                </a:path>
              </a:pathLst>
            </a:custGeom>
            <a:solidFill>
              <a:srgbClr val="303030"/>
            </a:solidFill>
            <a:ln w="10795"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2F2F2"/>
                </a:solidFill>
                <a:effectLst/>
                <a:uLnTx/>
                <a:uFillTx/>
                <a:latin typeface="Segoe Semibold"/>
              </a:endParaRPr>
            </a:p>
          </p:txBody>
        </p:sp>
        <p:grpSp>
          <p:nvGrpSpPr>
            <p:cNvPr id="61" name="Clients"/>
            <p:cNvGrpSpPr/>
            <p:nvPr/>
          </p:nvGrpSpPr>
          <p:grpSpPr>
            <a:xfrm>
              <a:off x="2389632" y="67056"/>
              <a:ext cx="6038088" cy="2700525"/>
              <a:chOff x="2389632" y="67056"/>
              <a:chExt cx="6038088" cy="2700525"/>
            </a:xfrm>
          </p:grpSpPr>
          <p:sp>
            <p:nvSpPr>
              <p:cNvPr id="62" name="Rectangle 61"/>
              <p:cNvSpPr/>
              <p:nvPr/>
            </p:nvSpPr>
            <p:spPr bwMode="auto">
              <a:xfrm>
                <a:off x="2389632" y="67056"/>
                <a:ext cx="6038088" cy="1217942"/>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800" dirty="0" smtClean="0">
                    <a:solidFill>
                      <a:schemeClr val="accent6"/>
                    </a:solidFill>
                    <a:ea typeface="Segoe UI" pitchFamily="34" charset="0"/>
                    <a:cs typeface="Segoe UI" pitchFamily="34" charset="0"/>
                  </a:rPr>
                  <a:t>Customers</a:t>
                </a:r>
              </a:p>
              <a:p>
                <a:pPr defTabSz="932472" fontAlgn="base">
                  <a:lnSpc>
                    <a:spcPct val="90000"/>
                  </a:lnSpc>
                  <a:spcBef>
                    <a:spcPct val="0"/>
                  </a:spcBef>
                  <a:spcAft>
                    <a:spcPct val="0"/>
                  </a:spcAft>
                </a:pPr>
                <a:r>
                  <a:rPr lang="en-US" sz="1800" dirty="0" smtClean="0">
                    <a:solidFill>
                      <a:schemeClr val="accent6"/>
                    </a:solidFill>
                    <a:ea typeface="Segoe UI" pitchFamily="34" charset="0"/>
                    <a:cs typeface="Segoe UI" pitchFamily="34" charset="0"/>
                  </a:rPr>
                  <a:t>in field</a:t>
                </a:r>
              </a:p>
            </p:txBody>
          </p:sp>
          <p:grpSp>
            <p:nvGrpSpPr>
              <p:cNvPr id="63" name="Group 62"/>
              <p:cNvGrpSpPr/>
              <p:nvPr/>
            </p:nvGrpSpPr>
            <p:grpSpPr>
              <a:xfrm>
                <a:off x="4888991" y="1409189"/>
                <a:ext cx="2080629" cy="1358392"/>
                <a:chOff x="4888991" y="1237488"/>
                <a:chExt cx="2080629" cy="1889760"/>
              </a:xfrm>
              <a:solidFill>
                <a:schemeClr val="accent3"/>
              </a:solidFill>
            </p:grpSpPr>
            <p:sp>
              <p:nvSpPr>
                <p:cNvPr id="64" name="Down Arrow 63"/>
                <p:cNvSpPr/>
                <p:nvPr/>
              </p:nvSpPr>
              <p:spPr bwMode="auto">
                <a:xfrm>
                  <a:off x="5737281" y="1237488"/>
                  <a:ext cx="384048" cy="1889760"/>
                </a:xfrm>
                <a:prstGeom prst="down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5" name="Down Arrow 64"/>
                <p:cNvSpPr/>
                <p:nvPr/>
              </p:nvSpPr>
              <p:spPr bwMode="auto">
                <a:xfrm>
                  <a:off x="5313136" y="1237488"/>
                  <a:ext cx="384048" cy="1889760"/>
                </a:xfrm>
                <a:prstGeom prst="down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6" name="Down Arrow 65"/>
                <p:cNvSpPr/>
                <p:nvPr/>
              </p:nvSpPr>
              <p:spPr bwMode="auto">
                <a:xfrm>
                  <a:off x="4888991" y="1237488"/>
                  <a:ext cx="384048" cy="1889760"/>
                </a:xfrm>
                <a:prstGeom prst="down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7" name="Down Arrow 66"/>
                <p:cNvSpPr/>
                <p:nvPr/>
              </p:nvSpPr>
              <p:spPr bwMode="auto">
                <a:xfrm>
                  <a:off x="6585572" y="1237488"/>
                  <a:ext cx="384048" cy="1889760"/>
                </a:xfrm>
                <a:prstGeom prst="down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8" name="Down Arrow 67"/>
                <p:cNvSpPr/>
                <p:nvPr/>
              </p:nvSpPr>
              <p:spPr bwMode="auto">
                <a:xfrm>
                  <a:off x="6161426" y="1237488"/>
                  <a:ext cx="384048" cy="1889760"/>
                </a:xfrm>
                <a:prstGeom prst="down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grpSp>
    </p:spTree>
    <p:extLst>
      <p:ext uri="{BB962C8B-B14F-4D97-AF65-F5344CB8AC3E}">
        <p14:creationId xmlns:p14="http://schemas.microsoft.com/office/powerpoint/2010/main" val="3465435988"/>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00088" y="74423"/>
            <a:ext cx="5388737" cy="899665"/>
          </a:xfrm>
        </p:spPr>
        <p:txBody>
          <a:bodyPr/>
          <a:lstStyle/>
          <a:p>
            <a:r>
              <a:rPr lang="en-US" dirty="0" smtClean="0"/>
              <a:t>Scenario #2: Lift and SQL Database</a:t>
            </a:r>
            <a:endParaRPr lang="en-US" dirty="0"/>
          </a:p>
        </p:txBody>
      </p:sp>
      <p:grpSp>
        <p:nvGrpSpPr>
          <p:cNvPr id="4" name="Group 3"/>
          <p:cNvGrpSpPr/>
          <p:nvPr/>
        </p:nvGrpSpPr>
        <p:grpSpPr>
          <a:xfrm>
            <a:off x="2944368" y="2901696"/>
            <a:ext cx="2468880" cy="3694176"/>
            <a:chOff x="4724400" y="2901696"/>
            <a:chExt cx="2468880" cy="3694176"/>
          </a:xfrm>
        </p:grpSpPr>
        <p:sp>
          <p:nvSpPr>
            <p:cNvPr id="7" name="Rectangle 6"/>
            <p:cNvSpPr/>
            <p:nvPr/>
          </p:nvSpPr>
          <p:spPr bwMode="auto">
            <a:xfrm>
              <a:off x="5153230" y="3291840"/>
              <a:ext cx="1680386" cy="11216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Web</a:t>
              </a:r>
            </a:p>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Server</a:t>
              </a:r>
            </a:p>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4 core VM)</a:t>
              </a:r>
            </a:p>
          </p:txBody>
        </p:sp>
        <p:sp>
          <p:nvSpPr>
            <p:cNvPr id="6" name="Rectangle 5"/>
            <p:cNvSpPr/>
            <p:nvPr/>
          </p:nvSpPr>
          <p:spPr bwMode="auto">
            <a:xfrm>
              <a:off x="4724400" y="2901696"/>
              <a:ext cx="2468880" cy="3694176"/>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solidFill>
                    <a:schemeClr val="accent6"/>
                  </a:solidFill>
                  <a:ea typeface="Segoe UI" pitchFamily="34" charset="0"/>
                  <a:cs typeface="Segoe UI" pitchFamily="34" charset="0"/>
                </a:rPr>
                <a:t>Windows Azure</a:t>
              </a:r>
            </a:p>
          </p:txBody>
        </p:sp>
      </p:grpSp>
      <p:sp>
        <p:nvSpPr>
          <p:cNvPr id="37" name="TextBox 36"/>
          <p:cNvSpPr txBox="1"/>
          <p:nvPr/>
        </p:nvSpPr>
        <p:spPr>
          <a:xfrm>
            <a:off x="6089903" y="1761744"/>
            <a:ext cx="5455404" cy="2289858"/>
          </a:xfrm>
          <a:prstGeom prst="rect">
            <a:avLst/>
          </a:prstGeom>
          <a:noFill/>
        </p:spPr>
        <p:txBody>
          <a:bodyPr wrap="none" lIns="182880" tIns="146304" rIns="182880" bIns="146304" rtlCol="0">
            <a:spAutoFit/>
          </a:bodyPr>
          <a:lstStyle/>
          <a:p>
            <a:pPr marL="342900" indent="-342900">
              <a:lnSpc>
                <a:spcPct val="90000"/>
              </a:lnSpc>
              <a:buFontTx/>
              <a:buChar char="-"/>
            </a:pPr>
            <a:r>
              <a:rPr lang="en-US" sz="2400" dirty="0" smtClean="0">
                <a:gradFill>
                  <a:gsLst>
                    <a:gs pos="2917">
                      <a:schemeClr val="tx1"/>
                    </a:gs>
                    <a:gs pos="30000">
                      <a:schemeClr val="tx1"/>
                    </a:gs>
                  </a:gsLst>
                  <a:lin ang="5400000" scaled="0"/>
                </a:gradFill>
              </a:rPr>
              <a:t>Simple to migrate</a:t>
            </a:r>
          </a:p>
          <a:p>
            <a:pPr marL="342900" indent="-342900">
              <a:lnSpc>
                <a:spcPct val="90000"/>
              </a:lnSpc>
              <a:buFontTx/>
              <a:buChar char="-"/>
            </a:pPr>
            <a:r>
              <a:rPr lang="en-US" sz="2400" dirty="0" smtClean="0">
                <a:gradFill>
                  <a:gsLst>
                    <a:gs pos="2917">
                      <a:schemeClr val="tx1"/>
                    </a:gs>
                    <a:gs pos="30000">
                      <a:schemeClr val="tx1"/>
                    </a:gs>
                  </a:gsLst>
                  <a:lin ang="5400000" scaled="0"/>
                </a:gradFill>
              </a:rPr>
              <a:t>Migrate data to SQL Database</a:t>
            </a:r>
          </a:p>
          <a:p>
            <a:pPr marL="342900" indent="-342900">
              <a:lnSpc>
                <a:spcPct val="90000"/>
              </a:lnSpc>
              <a:buFontTx/>
              <a:buChar char="-"/>
            </a:pPr>
            <a:r>
              <a:rPr lang="en-US" sz="2400" dirty="0" smtClean="0">
                <a:gradFill>
                  <a:gsLst>
                    <a:gs pos="2917">
                      <a:schemeClr val="tx1"/>
                    </a:gs>
                    <a:gs pos="30000">
                      <a:schemeClr val="tx1"/>
                    </a:gs>
                  </a:gsLst>
                  <a:lin ang="5400000" scaled="0"/>
                </a:gradFill>
              </a:rPr>
              <a:t>Can easily scale vertically</a:t>
            </a:r>
          </a:p>
          <a:p>
            <a:pPr marL="342900" indent="-342900">
              <a:lnSpc>
                <a:spcPct val="90000"/>
              </a:lnSpc>
              <a:buFontTx/>
              <a:buChar char="-"/>
            </a:pPr>
            <a:r>
              <a:rPr lang="en-US" sz="2400" dirty="0" smtClean="0">
                <a:gradFill>
                  <a:gsLst>
                    <a:gs pos="2917">
                      <a:schemeClr val="tx1"/>
                    </a:gs>
                    <a:gs pos="30000">
                      <a:schemeClr val="tx1"/>
                    </a:gs>
                  </a:gsLst>
                  <a:lin ang="5400000" scaled="0"/>
                </a:gradFill>
              </a:rPr>
              <a:t>Still managing server infrastructure</a:t>
            </a:r>
          </a:p>
          <a:p>
            <a:pPr marL="342900" indent="-342900">
              <a:lnSpc>
                <a:spcPct val="90000"/>
              </a:lnSpc>
              <a:buFontTx/>
              <a:buChar char="-"/>
            </a:pPr>
            <a:r>
              <a:rPr lang="en-US" sz="2400" dirty="0" smtClean="0">
                <a:gradFill>
                  <a:gsLst>
                    <a:gs pos="2917">
                      <a:schemeClr val="tx1"/>
                    </a:gs>
                    <a:gs pos="30000">
                      <a:schemeClr val="tx1"/>
                    </a:gs>
                  </a:gsLst>
                  <a:lin ang="5400000" scaled="0"/>
                </a:gradFill>
              </a:rPr>
              <a:t>Easy to come back if not happy</a:t>
            </a:r>
          </a:p>
          <a:p>
            <a:pPr marL="342900" indent="-342900">
              <a:lnSpc>
                <a:spcPct val="90000"/>
              </a:lnSpc>
              <a:buFontTx/>
              <a:buChar char="-"/>
            </a:pPr>
            <a:endParaRPr lang="en-US" sz="2400" dirty="0" smtClean="0">
              <a:gradFill>
                <a:gsLst>
                  <a:gs pos="2917">
                    <a:schemeClr val="tx1"/>
                  </a:gs>
                  <a:gs pos="30000">
                    <a:schemeClr val="tx1"/>
                  </a:gs>
                </a:gsLst>
                <a:lin ang="5400000" scaled="0"/>
              </a:gradFill>
            </a:endParaRPr>
          </a:p>
        </p:txBody>
      </p:sp>
      <p:sp>
        <p:nvSpPr>
          <p:cNvPr id="38" name="TextBox 37"/>
          <p:cNvSpPr txBox="1"/>
          <p:nvPr/>
        </p:nvSpPr>
        <p:spPr>
          <a:xfrm>
            <a:off x="5547360" y="3735075"/>
            <a:ext cx="5239576" cy="3342453"/>
          </a:xfrm>
          <a:prstGeom prst="rect">
            <a:avLst/>
          </a:prstGeom>
          <a:noFill/>
        </p:spPr>
        <p:txBody>
          <a:bodyPr wrap="none" lIns="182880" tIns="146304" rIns="182880" bIns="146304" rtlCol="0">
            <a:spAutoFit/>
          </a:bodyPr>
          <a:lstStyle/>
          <a:p>
            <a:pPr marL="342900" indent="-342900">
              <a:lnSpc>
                <a:spcPct val="90000"/>
              </a:lnSpc>
              <a:buFontTx/>
              <a:buChar char="-"/>
            </a:pPr>
            <a:r>
              <a:rPr lang="en-US" sz="2000" dirty="0" smtClean="0">
                <a:gradFill>
                  <a:gsLst>
                    <a:gs pos="2917">
                      <a:schemeClr val="tx1"/>
                    </a:gs>
                    <a:gs pos="30000">
                      <a:schemeClr val="tx1"/>
                    </a:gs>
                  </a:gsLst>
                  <a:lin ang="5400000" scaled="0"/>
                </a:gradFill>
              </a:rPr>
              <a:t>One Large </a:t>
            </a:r>
            <a:r>
              <a:rPr lang="en-US" sz="2000" dirty="0">
                <a:gradFill>
                  <a:gsLst>
                    <a:gs pos="2917">
                      <a:schemeClr val="tx1"/>
                    </a:gs>
                    <a:gs pos="30000">
                      <a:schemeClr val="tx1"/>
                    </a:gs>
                  </a:gsLst>
                  <a:lin ang="5400000" scaled="0"/>
                </a:gradFill>
              </a:rPr>
              <a:t>(four core) </a:t>
            </a:r>
            <a:r>
              <a:rPr lang="en-US" sz="2000" dirty="0" smtClean="0">
                <a:gradFill>
                  <a:gsLst>
                    <a:gs pos="2917">
                      <a:schemeClr val="tx1"/>
                    </a:gs>
                    <a:gs pos="30000">
                      <a:schemeClr val="tx1"/>
                    </a:gs>
                  </a:gsLst>
                  <a:lin ang="5400000" scaled="0"/>
                </a:gradFill>
              </a:rPr>
              <a:t>server: </a:t>
            </a:r>
          </a:p>
          <a:p>
            <a:pPr marL="799705" lvl="1" indent="-342900">
              <a:lnSpc>
                <a:spcPct val="90000"/>
              </a:lnSpc>
              <a:buFontTx/>
              <a:buChar char="-"/>
            </a:pPr>
            <a:r>
              <a:rPr lang="en-US" sz="2000" dirty="0" smtClean="0">
                <a:gradFill>
                  <a:gsLst>
                    <a:gs pos="2917">
                      <a:schemeClr val="tx1"/>
                    </a:gs>
                    <a:gs pos="30000">
                      <a:schemeClr val="tx1"/>
                    </a:gs>
                  </a:gsLst>
                  <a:lin ang="5400000" scaled="0"/>
                </a:gradFill>
              </a:rPr>
              <a:t>$230.40 </a:t>
            </a:r>
            <a:r>
              <a:rPr lang="en-US" sz="2000" dirty="0">
                <a:gradFill>
                  <a:gsLst>
                    <a:gs pos="2917">
                      <a:schemeClr val="tx1"/>
                    </a:gs>
                    <a:gs pos="30000">
                      <a:schemeClr val="tx1"/>
                    </a:gs>
                  </a:gsLst>
                  <a:lin ang="5400000" scaled="0"/>
                </a:gradFill>
              </a:rPr>
              <a:t>/ </a:t>
            </a:r>
            <a:r>
              <a:rPr lang="en-US" sz="2000" dirty="0" smtClean="0">
                <a:gradFill>
                  <a:gsLst>
                    <a:gs pos="2917">
                      <a:schemeClr val="tx1"/>
                    </a:gs>
                    <a:gs pos="30000">
                      <a:schemeClr val="tx1"/>
                    </a:gs>
                  </a:gsLst>
                  <a:lin ang="5400000" scaled="0"/>
                </a:gradFill>
              </a:rPr>
              <a:t>month</a:t>
            </a:r>
            <a:endParaRPr lang="en-US" sz="2000" dirty="0">
              <a:gradFill>
                <a:gsLst>
                  <a:gs pos="2917">
                    <a:schemeClr val="tx1"/>
                  </a:gs>
                  <a:gs pos="30000">
                    <a:schemeClr val="tx1"/>
                  </a:gs>
                </a:gsLst>
                <a:lin ang="5400000" scaled="0"/>
              </a:gradFill>
            </a:endParaRPr>
          </a:p>
          <a:p>
            <a:pPr marL="342900" indent="-342900">
              <a:lnSpc>
                <a:spcPct val="90000"/>
              </a:lnSpc>
              <a:buFontTx/>
              <a:buChar char="-"/>
            </a:pPr>
            <a:r>
              <a:rPr lang="en-US" sz="2000" dirty="0" smtClean="0">
                <a:gradFill>
                  <a:gsLst>
                    <a:gs pos="2917">
                      <a:schemeClr val="tx1"/>
                    </a:gs>
                    <a:gs pos="30000">
                      <a:schemeClr val="tx1"/>
                    </a:gs>
                  </a:gsLst>
                  <a:lin ang="5400000" scaled="0"/>
                </a:gradFill>
              </a:rPr>
              <a:t>Storage </a:t>
            </a:r>
            <a:r>
              <a:rPr lang="en-US" sz="2000" dirty="0">
                <a:gradFill>
                  <a:gsLst>
                    <a:gs pos="2917">
                      <a:schemeClr val="tx1"/>
                    </a:gs>
                    <a:gs pos="30000">
                      <a:schemeClr val="tx1"/>
                    </a:gs>
                  </a:gsLst>
                  <a:lin ang="5400000" scaled="0"/>
                </a:gradFill>
              </a:rPr>
              <a:t>of </a:t>
            </a:r>
            <a:r>
              <a:rPr lang="en-US" sz="2000" dirty="0" smtClean="0">
                <a:gradFill>
                  <a:gsLst>
                    <a:gs pos="2917">
                      <a:schemeClr val="tx1"/>
                    </a:gs>
                    <a:gs pos="30000">
                      <a:schemeClr val="tx1"/>
                    </a:gs>
                  </a:gsLst>
                  <a:lin ang="5400000" scaled="0"/>
                </a:gradFill>
              </a:rPr>
              <a:t>VHDs </a:t>
            </a:r>
            <a:r>
              <a:rPr lang="en-US" sz="2000" dirty="0">
                <a:gradFill>
                  <a:gsLst>
                    <a:gs pos="2917">
                      <a:schemeClr val="tx1"/>
                    </a:gs>
                    <a:gs pos="30000">
                      <a:schemeClr val="tx1"/>
                    </a:gs>
                  </a:gsLst>
                  <a:lin ang="5400000" scaled="0"/>
                </a:gradFill>
              </a:rPr>
              <a:t>for the </a:t>
            </a:r>
            <a:r>
              <a:rPr lang="en-US" sz="2000" dirty="0" smtClean="0">
                <a:gradFill>
                  <a:gsLst>
                    <a:gs pos="2917">
                      <a:schemeClr val="tx1"/>
                    </a:gs>
                    <a:gs pos="30000">
                      <a:schemeClr val="tx1"/>
                    </a:gs>
                  </a:gsLst>
                  <a:lin ang="5400000" scaled="0"/>
                </a:gradFill>
              </a:rPr>
              <a:t>server (~25GB</a:t>
            </a:r>
            <a:r>
              <a:rPr lang="en-US" sz="2000" dirty="0">
                <a:gradFill>
                  <a:gsLst>
                    <a:gs pos="2917">
                      <a:schemeClr val="tx1"/>
                    </a:gs>
                    <a:gs pos="30000">
                      <a:schemeClr val="tx1"/>
                    </a:gs>
                  </a:gsLst>
                  <a:lin ang="5400000" scaled="0"/>
                </a:gradFill>
              </a:rPr>
              <a:t>) </a:t>
            </a:r>
            <a:endParaRPr lang="en-US" sz="2000" dirty="0" smtClean="0">
              <a:gradFill>
                <a:gsLst>
                  <a:gs pos="2917">
                    <a:schemeClr val="tx1"/>
                  </a:gs>
                  <a:gs pos="30000">
                    <a:schemeClr val="tx1"/>
                  </a:gs>
                </a:gsLst>
                <a:lin ang="5400000" scaled="0"/>
              </a:gradFill>
            </a:endParaRPr>
          </a:p>
          <a:p>
            <a:pPr marL="799705" lvl="1" indent="-342900">
              <a:lnSpc>
                <a:spcPct val="90000"/>
              </a:lnSpc>
              <a:buFontTx/>
              <a:buChar char="-"/>
            </a:pPr>
            <a:r>
              <a:rPr lang="en-US" sz="2000" dirty="0" smtClean="0">
                <a:gradFill>
                  <a:gsLst>
                    <a:gs pos="2917">
                      <a:schemeClr val="tx1"/>
                    </a:gs>
                    <a:gs pos="30000">
                      <a:schemeClr val="tx1"/>
                    </a:gs>
                  </a:gsLst>
                  <a:lin ang="5400000" scaled="0"/>
                </a:gradFill>
              </a:rPr>
              <a:t>$2.38 </a:t>
            </a:r>
            <a:r>
              <a:rPr lang="en-US" sz="2000" dirty="0">
                <a:gradFill>
                  <a:gsLst>
                    <a:gs pos="2917">
                      <a:schemeClr val="tx1"/>
                    </a:gs>
                    <a:gs pos="30000">
                      <a:schemeClr val="tx1"/>
                    </a:gs>
                  </a:gsLst>
                  <a:lin ang="5400000" scaled="0"/>
                </a:gradFill>
              </a:rPr>
              <a:t>/ </a:t>
            </a:r>
            <a:r>
              <a:rPr lang="en-US" sz="2000" dirty="0" smtClean="0">
                <a:gradFill>
                  <a:gsLst>
                    <a:gs pos="2917">
                      <a:schemeClr val="tx1"/>
                    </a:gs>
                    <a:gs pos="30000">
                      <a:schemeClr val="tx1"/>
                    </a:gs>
                  </a:gsLst>
                  <a:lin ang="5400000" scaled="0"/>
                </a:gradFill>
              </a:rPr>
              <a:t>month</a:t>
            </a:r>
            <a:endParaRPr lang="en-US" sz="2000" dirty="0">
              <a:gradFill>
                <a:gsLst>
                  <a:gs pos="2917">
                    <a:schemeClr val="tx1"/>
                  </a:gs>
                  <a:gs pos="30000">
                    <a:schemeClr val="tx1"/>
                  </a:gs>
                </a:gsLst>
                <a:lin ang="5400000" scaled="0"/>
              </a:gradFill>
            </a:endParaRPr>
          </a:p>
          <a:p>
            <a:pPr marL="342900" indent="-342900">
              <a:lnSpc>
                <a:spcPct val="90000"/>
              </a:lnSpc>
              <a:buFontTx/>
              <a:buChar char="-"/>
            </a:pPr>
            <a:r>
              <a:rPr lang="en-US" sz="2000" dirty="0" smtClean="0">
                <a:gradFill>
                  <a:gsLst>
                    <a:gs pos="2917">
                      <a:schemeClr val="tx1"/>
                    </a:gs>
                    <a:gs pos="30000">
                      <a:schemeClr val="tx1"/>
                    </a:gs>
                  </a:gsLst>
                  <a:lin ang="5400000" scaled="0"/>
                </a:gradFill>
              </a:rPr>
              <a:t>Storage </a:t>
            </a:r>
            <a:r>
              <a:rPr lang="en-US" sz="2000" dirty="0" err="1" smtClean="0">
                <a:gradFill>
                  <a:gsLst>
                    <a:gs pos="2917">
                      <a:schemeClr val="tx1"/>
                    </a:gs>
                    <a:gs pos="30000">
                      <a:schemeClr val="tx1"/>
                    </a:gs>
                  </a:gsLst>
                  <a:lin ang="5400000" scaled="0"/>
                </a:gradFill>
              </a:rPr>
              <a:t>txs</a:t>
            </a:r>
            <a:r>
              <a:rPr lang="en-US" sz="2000" dirty="0" smtClean="0">
                <a:gradFill>
                  <a:gsLst>
                    <a:gs pos="2917">
                      <a:schemeClr val="tx1"/>
                    </a:gs>
                    <a:gs pos="30000">
                      <a:schemeClr val="tx1"/>
                    </a:gs>
                  </a:gsLst>
                  <a:lin ang="5400000" scaled="0"/>
                </a:gradFill>
              </a:rPr>
              <a:t> for VHD (~5 </a:t>
            </a:r>
            <a:r>
              <a:rPr lang="en-US" sz="2000" dirty="0">
                <a:gradFill>
                  <a:gsLst>
                    <a:gs pos="2917">
                      <a:schemeClr val="tx1"/>
                    </a:gs>
                    <a:gs pos="30000">
                      <a:schemeClr val="tx1"/>
                    </a:gs>
                  </a:gsLst>
                  <a:lin ang="5400000" scaled="0"/>
                </a:gradFill>
              </a:rPr>
              <a:t>million</a:t>
            </a:r>
            <a:r>
              <a:rPr lang="en-US" sz="2000" dirty="0" smtClean="0">
                <a:gradFill>
                  <a:gsLst>
                    <a:gs pos="2917">
                      <a:schemeClr val="tx1"/>
                    </a:gs>
                    <a:gs pos="30000">
                      <a:schemeClr val="tx1"/>
                    </a:gs>
                  </a:gsLst>
                  <a:lin ang="5400000" scaled="0"/>
                </a:gradFill>
              </a:rPr>
              <a:t>) </a:t>
            </a:r>
          </a:p>
          <a:p>
            <a:pPr marL="799705" lvl="1" indent="-342900">
              <a:lnSpc>
                <a:spcPct val="90000"/>
              </a:lnSpc>
              <a:buFontTx/>
              <a:buChar char="-"/>
            </a:pPr>
            <a:r>
              <a:rPr lang="en-US" sz="2000" dirty="0" smtClean="0">
                <a:gradFill>
                  <a:gsLst>
                    <a:gs pos="2917">
                      <a:schemeClr val="tx1"/>
                    </a:gs>
                    <a:gs pos="30000">
                      <a:schemeClr val="tx1"/>
                    </a:gs>
                  </a:gsLst>
                  <a:lin ang="5400000" scaled="0"/>
                </a:gradFill>
              </a:rPr>
              <a:t>$0.50 </a:t>
            </a:r>
            <a:r>
              <a:rPr lang="en-US" sz="2000" dirty="0">
                <a:gradFill>
                  <a:gsLst>
                    <a:gs pos="2917">
                      <a:schemeClr val="tx1"/>
                    </a:gs>
                    <a:gs pos="30000">
                      <a:schemeClr val="tx1"/>
                    </a:gs>
                  </a:gsLst>
                  <a:lin ang="5400000" scaled="0"/>
                </a:gradFill>
              </a:rPr>
              <a:t>/ </a:t>
            </a:r>
            <a:r>
              <a:rPr lang="en-US" sz="2000" dirty="0" smtClean="0">
                <a:gradFill>
                  <a:gsLst>
                    <a:gs pos="2917">
                      <a:schemeClr val="tx1"/>
                    </a:gs>
                    <a:gs pos="30000">
                      <a:schemeClr val="tx1"/>
                    </a:gs>
                  </a:gsLst>
                  <a:lin ang="5400000" scaled="0"/>
                </a:gradFill>
              </a:rPr>
              <a:t>month</a:t>
            </a:r>
          </a:p>
          <a:p>
            <a:pPr marL="342900" indent="-342900">
              <a:lnSpc>
                <a:spcPct val="90000"/>
              </a:lnSpc>
              <a:buFontTx/>
              <a:buChar char="-"/>
            </a:pPr>
            <a:r>
              <a:rPr lang="en-US" sz="2000" dirty="0" smtClean="0"/>
              <a:t>SQL </a:t>
            </a:r>
            <a:r>
              <a:rPr lang="en-US" sz="2000" dirty="0"/>
              <a:t>Database – </a:t>
            </a:r>
            <a:r>
              <a:rPr lang="en-US" sz="2000" dirty="0" smtClean="0"/>
              <a:t>10GB</a:t>
            </a:r>
          </a:p>
          <a:p>
            <a:pPr marL="799705" lvl="1" indent="-342900">
              <a:lnSpc>
                <a:spcPct val="90000"/>
              </a:lnSpc>
              <a:buFontTx/>
              <a:buChar char="-"/>
            </a:pPr>
            <a:r>
              <a:rPr lang="en-US" sz="2000" dirty="0" smtClean="0"/>
              <a:t> </a:t>
            </a:r>
            <a:r>
              <a:rPr lang="en-US" sz="2000" dirty="0"/>
              <a:t>$45.96 / </a:t>
            </a:r>
            <a:r>
              <a:rPr lang="en-US" sz="2000" dirty="0" smtClean="0"/>
              <a:t>month</a:t>
            </a:r>
          </a:p>
          <a:p>
            <a:pPr marL="342900" indent="-342900">
              <a:lnSpc>
                <a:spcPct val="90000"/>
              </a:lnSpc>
              <a:buFontTx/>
              <a:buChar char="-"/>
            </a:pPr>
            <a:endParaRPr lang="en-US" sz="2000" dirty="0" smtClean="0">
              <a:gradFill>
                <a:gsLst>
                  <a:gs pos="2917">
                    <a:schemeClr val="tx1"/>
                  </a:gs>
                  <a:gs pos="30000">
                    <a:schemeClr val="tx1"/>
                  </a:gs>
                </a:gsLst>
                <a:lin ang="5400000" scaled="0"/>
              </a:gradFill>
            </a:endParaRPr>
          </a:p>
          <a:p>
            <a:pPr>
              <a:lnSpc>
                <a:spcPct val="90000"/>
              </a:lnSpc>
            </a:pPr>
            <a:r>
              <a:rPr lang="en-US" sz="2000" b="1" dirty="0" smtClean="0">
                <a:gradFill>
                  <a:gsLst>
                    <a:gs pos="2917">
                      <a:schemeClr val="tx1"/>
                    </a:gs>
                    <a:gs pos="30000">
                      <a:schemeClr val="tx1"/>
                    </a:gs>
                  </a:gsLst>
                  <a:lin ang="5400000" scaled="0"/>
                </a:gradFill>
              </a:rPr>
              <a:t>Total</a:t>
            </a:r>
            <a:r>
              <a:rPr lang="en-US" sz="2000" b="1" dirty="0">
                <a:gradFill>
                  <a:gsLst>
                    <a:gs pos="2917">
                      <a:schemeClr val="tx1"/>
                    </a:gs>
                    <a:gs pos="30000">
                      <a:schemeClr val="tx1"/>
                    </a:gs>
                  </a:gsLst>
                  <a:lin ang="5400000" scaled="0"/>
                </a:gradFill>
              </a:rPr>
              <a:t>: About $</a:t>
            </a:r>
            <a:r>
              <a:rPr lang="en-US" sz="2000" b="1" dirty="0" smtClean="0">
                <a:gradFill>
                  <a:gsLst>
                    <a:gs pos="2917">
                      <a:schemeClr val="tx1"/>
                    </a:gs>
                    <a:gs pos="30000">
                      <a:schemeClr val="tx1"/>
                    </a:gs>
                  </a:gsLst>
                  <a:lin ang="5400000" scaled="0"/>
                </a:gradFill>
              </a:rPr>
              <a:t>279.23 </a:t>
            </a:r>
            <a:r>
              <a:rPr lang="en-US" sz="2000" b="1" dirty="0">
                <a:gradFill>
                  <a:gsLst>
                    <a:gs pos="2917">
                      <a:schemeClr val="tx1"/>
                    </a:gs>
                    <a:gs pos="30000">
                      <a:schemeClr val="tx1"/>
                    </a:gs>
                  </a:gsLst>
                  <a:lin ang="5400000" scaled="0"/>
                </a:gradFill>
              </a:rPr>
              <a:t>/ month</a:t>
            </a:r>
          </a:p>
          <a:p>
            <a:pPr>
              <a:lnSpc>
                <a:spcPct val="90000"/>
              </a:lnSpc>
            </a:pPr>
            <a:endParaRPr lang="en-US" sz="2000" dirty="0" smtClean="0">
              <a:gradFill>
                <a:gsLst>
                  <a:gs pos="2917">
                    <a:schemeClr val="tx1"/>
                  </a:gs>
                  <a:gs pos="30000">
                    <a:schemeClr val="tx1"/>
                  </a:gs>
                </a:gsLst>
                <a:lin ang="5400000" scaled="0"/>
              </a:gradFill>
            </a:endParaRPr>
          </a:p>
        </p:txBody>
      </p:sp>
      <p:sp>
        <p:nvSpPr>
          <p:cNvPr id="3" name="Flowchart: Magnetic Disk 2"/>
          <p:cNvSpPr/>
          <p:nvPr/>
        </p:nvSpPr>
        <p:spPr bwMode="auto">
          <a:xfrm>
            <a:off x="3688080" y="4763495"/>
            <a:ext cx="1133856" cy="1285614"/>
          </a:xfrm>
          <a:prstGeom prst="flowChartMagneticDisk">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SQL</a:t>
            </a:r>
          </a:p>
          <a:p>
            <a:pPr algn="ctr" defTabSz="932472" fontAlgn="base">
              <a:lnSpc>
                <a:spcPct val="90000"/>
              </a:lnSpc>
              <a:spcBef>
                <a:spcPct val="0"/>
              </a:spcBef>
              <a:spcAft>
                <a:spcPct val="0"/>
              </a:spcAft>
            </a:pPr>
            <a:r>
              <a:rPr lang="en-US" sz="2400" dirty="0" err="1" smtClean="0">
                <a:gradFill>
                  <a:gsLst>
                    <a:gs pos="0">
                      <a:srgbClr val="FFFFFF"/>
                    </a:gs>
                    <a:gs pos="100000">
                      <a:srgbClr val="FFFFFF"/>
                    </a:gs>
                  </a:gsLst>
                  <a:lin ang="5400000" scaled="0"/>
                </a:gradFill>
                <a:ea typeface="Segoe UI" pitchFamily="34" charset="0"/>
                <a:cs typeface="Segoe UI" pitchFamily="34" charset="0"/>
              </a:rPr>
              <a:t>db</a:t>
            </a: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39" name="Customers"/>
          <p:cNvGrpSpPr/>
          <p:nvPr/>
        </p:nvGrpSpPr>
        <p:grpSpPr>
          <a:xfrm>
            <a:off x="425196" y="2767584"/>
            <a:ext cx="2567298" cy="3828287"/>
            <a:chOff x="425196" y="2767584"/>
            <a:chExt cx="2567298" cy="3828287"/>
          </a:xfrm>
        </p:grpSpPr>
        <p:sp>
          <p:nvSpPr>
            <p:cNvPr id="40" name="Rectangle 39"/>
            <p:cNvSpPr/>
            <p:nvPr/>
          </p:nvSpPr>
          <p:spPr bwMode="auto">
            <a:xfrm>
              <a:off x="749808" y="3822192"/>
              <a:ext cx="1414272" cy="755904"/>
            </a:xfrm>
            <a:prstGeom prst="rect">
              <a:avLst/>
            </a:prstGeom>
            <a:solidFill>
              <a:srgbClr val="30303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Customer SQL</a:t>
              </a:r>
              <a:endParaRPr lang="en-US" sz="1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18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749808" y="4727448"/>
              <a:ext cx="1414272" cy="755904"/>
            </a:xfrm>
            <a:prstGeom prst="rect">
              <a:avLst/>
            </a:prstGeom>
            <a:solidFill>
              <a:srgbClr val="30303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Customer SQL</a:t>
              </a:r>
              <a:endParaRPr lang="en-US" sz="1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18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749808" y="5632704"/>
              <a:ext cx="1414272" cy="755904"/>
            </a:xfrm>
            <a:prstGeom prst="rect">
              <a:avLst/>
            </a:prstGeom>
            <a:solidFill>
              <a:srgbClr val="30303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Customer SQL</a:t>
              </a:r>
              <a:endParaRPr lang="en-US" sz="1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18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p:nvSpPr>
          <p:spPr bwMode="auto">
            <a:xfrm>
              <a:off x="425196" y="2767584"/>
              <a:ext cx="1946148" cy="3828287"/>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solidFill>
                    <a:schemeClr val="accent6"/>
                  </a:solidFill>
                  <a:ea typeface="Segoe UI" pitchFamily="34" charset="0"/>
                  <a:cs typeface="Segoe UI" pitchFamily="34" charset="0"/>
                </a:rPr>
                <a:t>Each customer’s datacenter</a:t>
              </a:r>
            </a:p>
          </p:txBody>
        </p:sp>
        <p:sp>
          <p:nvSpPr>
            <p:cNvPr id="44" name="Down Arrow 43"/>
            <p:cNvSpPr/>
            <p:nvPr/>
          </p:nvSpPr>
          <p:spPr bwMode="auto">
            <a:xfrm rot="16200000">
              <a:off x="2328030" y="4395215"/>
              <a:ext cx="755904" cy="573024"/>
            </a:xfrm>
            <a:prstGeom prst="down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45" name="Clients"/>
          <p:cNvGrpSpPr/>
          <p:nvPr/>
        </p:nvGrpSpPr>
        <p:grpSpPr>
          <a:xfrm>
            <a:off x="749808" y="67056"/>
            <a:ext cx="6038088" cy="2700525"/>
            <a:chOff x="2389632" y="67056"/>
            <a:chExt cx="6038088" cy="2700525"/>
          </a:xfrm>
        </p:grpSpPr>
        <p:sp>
          <p:nvSpPr>
            <p:cNvPr id="46" name="Freeform 45"/>
            <p:cNvSpPr/>
            <p:nvPr/>
          </p:nvSpPr>
          <p:spPr>
            <a:xfrm>
              <a:off x="3873860" y="191247"/>
              <a:ext cx="4480855" cy="880030"/>
            </a:xfrm>
            <a:custGeom>
              <a:avLst/>
              <a:gdLst>
                <a:gd name="connsiteX0" fmla="*/ 1152413 w 8734227"/>
                <a:gd name="connsiteY0" fmla="*/ 1636663 h 1715383"/>
                <a:gd name="connsiteX1" fmla="*/ 1152413 w 8734227"/>
                <a:gd name="connsiteY1" fmla="*/ 1663491 h 1715383"/>
                <a:gd name="connsiteX2" fmla="*/ 1188645 w 8734227"/>
                <a:gd name="connsiteY2" fmla="*/ 1668494 h 1715383"/>
                <a:gd name="connsiteX3" fmla="*/ 1188591 w 8734227"/>
                <a:gd name="connsiteY3" fmla="*/ 1636663 h 1715383"/>
                <a:gd name="connsiteX4" fmla="*/ 1121597 w 8734227"/>
                <a:gd name="connsiteY4" fmla="*/ 1636663 h 1715383"/>
                <a:gd name="connsiteX5" fmla="*/ 1121599 w 8734227"/>
                <a:gd name="connsiteY5" fmla="*/ 1659239 h 1715383"/>
                <a:gd name="connsiteX6" fmla="*/ 1149027 w 8734227"/>
                <a:gd name="connsiteY6" fmla="*/ 1663024 h 1715383"/>
                <a:gd name="connsiteX7" fmla="*/ 1149027 w 8734227"/>
                <a:gd name="connsiteY7" fmla="*/ 1636663 h 1715383"/>
                <a:gd name="connsiteX8" fmla="*/ 5975882 w 8734227"/>
                <a:gd name="connsiteY8" fmla="*/ 1616729 h 1715383"/>
                <a:gd name="connsiteX9" fmla="*/ 5975882 w 8734227"/>
                <a:gd name="connsiteY9" fmla="*/ 1629353 h 1715383"/>
                <a:gd name="connsiteX10" fmla="*/ 6053370 w 8734227"/>
                <a:gd name="connsiteY10" fmla="*/ 1629353 h 1715383"/>
                <a:gd name="connsiteX11" fmla="*/ 6053370 w 8734227"/>
                <a:gd name="connsiteY11" fmla="*/ 1616729 h 1715383"/>
                <a:gd name="connsiteX12" fmla="*/ 8268937 w 8734227"/>
                <a:gd name="connsiteY12" fmla="*/ 1608864 h 1715383"/>
                <a:gd name="connsiteX13" fmla="*/ 8268937 w 8734227"/>
                <a:gd name="connsiteY13" fmla="*/ 1614441 h 1715383"/>
                <a:gd name="connsiteX14" fmla="*/ 8303165 w 8734227"/>
                <a:gd name="connsiteY14" fmla="*/ 1614441 h 1715383"/>
                <a:gd name="connsiteX15" fmla="*/ 8303165 w 8734227"/>
                <a:gd name="connsiteY15" fmla="*/ 1608864 h 1715383"/>
                <a:gd name="connsiteX16" fmla="*/ 1149027 w 8734227"/>
                <a:gd name="connsiteY16" fmla="*/ 1606864 h 1715383"/>
                <a:gd name="connsiteX17" fmla="*/ 1121599 w 8734227"/>
                <a:gd name="connsiteY17" fmla="*/ 1610703 h 1715383"/>
                <a:gd name="connsiteX18" fmla="*/ 1121602 w 8734227"/>
                <a:gd name="connsiteY18" fmla="*/ 1633277 h 1715383"/>
                <a:gd name="connsiteX19" fmla="*/ 1149027 w 8734227"/>
                <a:gd name="connsiteY19" fmla="*/ 1633277 h 1715383"/>
                <a:gd name="connsiteX20" fmla="*/ 4027721 w 8734227"/>
                <a:gd name="connsiteY20" fmla="*/ 1601447 h 1715383"/>
                <a:gd name="connsiteX21" fmla="*/ 3987043 w 8734227"/>
                <a:gd name="connsiteY21" fmla="*/ 1642124 h 1715383"/>
                <a:gd name="connsiteX22" fmla="*/ 4027721 w 8734227"/>
                <a:gd name="connsiteY22" fmla="*/ 1682801 h 1715383"/>
                <a:gd name="connsiteX23" fmla="*/ 4068398 w 8734227"/>
                <a:gd name="connsiteY23" fmla="*/ 1642124 h 1715383"/>
                <a:gd name="connsiteX24" fmla="*/ 4027721 w 8734227"/>
                <a:gd name="connsiteY24" fmla="*/ 1601447 h 1715383"/>
                <a:gd name="connsiteX25" fmla="*/ 1188532 w 8734227"/>
                <a:gd name="connsiteY25" fmla="*/ 1601335 h 1715383"/>
                <a:gd name="connsiteX26" fmla="*/ 1152413 w 8734227"/>
                <a:gd name="connsiteY26" fmla="*/ 1606390 h 1715383"/>
                <a:gd name="connsiteX27" fmla="*/ 1152413 w 8734227"/>
                <a:gd name="connsiteY27" fmla="*/ 1633277 h 1715383"/>
                <a:gd name="connsiteX28" fmla="*/ 1188586 w 8734227"/>
                <a:gd name="connsiteY28" fmla="*/ 1633277 h 1715383"/>
                <a:gd name="connsiteX29" fmla="*/ 8268937 w 8734227"/>
                <a:gd name="connsiteY29" fmla="*/ 1596942 h 1715383"/>
                <a:gd name="connsiteX30" fmla="*/ 8268937 w 8734227"/>
                <a:gd name="connsiteY30" fmla="*/ 1602519 h 1715383"/>
                <a:gd name="connsiteX31" fmla="*/ 8303165 w 8734227"/>
                <a:gd name="connsiteY31" fmla="*/ 1602519 h 1715383"/>
                <a:gd name="connsiteX32" fmla="*/ 8303165 w 8734227"/>
                <a:gd name="connsiteY32" fmla="*/ 1596942 h 1715383"/>
                <a:gd name="connsiteX33" fmla="*/ 2818847 w 8734227"/>
                <a:gd name="connsiteY33" fmla="*/ 1594679 h 1715383"/>
                <a:gd name="connsiteX34" fmla="*/ 2818847 w 8734227"/>
                <a:gd name="connsiteY34" fmla="*/ 1625793 h 1715383"/>
                <a:gd name="connsiteX35" fmla="*/ 2860864 w 8734227"/>
                <a:gd name="connsiteY35" fmla="*/ 1631591 h 1715383"/>
                <a:gd name="connsiteX36" fmla="*/ 2860802 w 8734227"/>
                <a:gd name="connsiteY36" fmla="*/ 1594679 h 1715383"/>
                <a:gd name="connsiteX37" fmla="*/ 2783108 w 8734227"/>
                <a:gd name="connsiteY37" fmla="*/ 1594679 h 1715383"/>
                <a:gd name="connsiteX38" fmla="*/ 2783110 w 8734227"/>
                <a:gd name="connsiteY38" fmla="*/ 1620860 h 1715383"/>
                <a:gd name="connsiteX39" fmla="*/ 2814919 w 8734227"/>
                <a:gd name="connsiteY39" fmla="*/ 1625251 h 1715383"/>
                <a:gd name="connsiteX40" fmla="*/ 2814919 w 8734227"/>
                <a:gd name="connsiteY40" fmla="*/ 1594679 h 1715383"/>
                <a:gd name="connsiteX41" fmla="*/ 8460169 w 8734227"/>
                <a:gd name="connsiteY41" fmla="*/ 1594535 h 1715383"/>
                <a:gd name="connsiteX42" fmla="*/ 8460169 w 8734227"/>
                <a:gd name="connsiteY42" fmla="*/ 1609826 h 1715383"/>
                <a:gd name="connsiteX43" fmla="*/ 8439786 w 8734227"/>
                <a:gd name="connsiteY43" fmla="*/ 1609826 h 1715383"/>
                <a:gd name="connsiteX44" fmla="*/ 8439786 w 8734227"/>
                <a:gd name="connsiteY44" fmla="*/ 1595380 h 1715383"/>
                <a:gd name="connsiteX45" fmla="*/ 8435075 w 8734227"/>
                <a:gd name="connsiteY45" fmla="*/ 1600091 h 1715383"/>
                <a:gd name="connsiteX46" fmla="*/ 8435075 w 8734227"/>
                <a:gd name="connsiteY46" fmla="*/ 1614633 h 1715383"/>
                <a:gd name="connsiteX47" fmla="*/ 8464880 w 8734227"/>
                <a:gd name="connsiteY47" fmla="*/ 1614633 h 1715383"/>
                <a:gd name="connsiteX48" fmla="*/ 8464880 w 8734227"/>
                <a:gd name="connsiteY48" fmla="*/ 1599246 h 1715383"/>
                <a:gd name="connsiteX49" fmla="*/ 6240640 w 8734227"/>
                <a:gd name="connsiteY49" fmla="*/ 1591376 h 1715383"/>
                <a:gd name="connsiteX50" fmla="*/ 6240640 w 8734227"/>
                <a:gd name="connsiteY50" fmla="*/ 1624080 h 1715383"/>
                <a:gd name="connsiteX51" fmla="*/ 6197045 w 8734227"/>
                <a:gd name="connsiteY51" fmla="*/ 1624080 h 1715383"/>
                <a:gd name="connsiteX52" fmla="*/ 6197045 w 8734227"/>
                <a:gd name="connsiteY52" fmla="*/ 1593184 h 1715383"/>
                <a:gd name="connsiteX53" fmla="*/ 6186968 w 8734227"/>
                <a:gd name="connsiteY53" fmla="*/ 1603261 h 1715383"/>
                <a:gd name="connsiteX54" fmla="*/ 6186968 w 8734227"/>
                <a:gd name="connsiteY54" fmla="*/ 1634363 h 1715383"/>
                <a:gd name="connsiteX55" fmla="*/ 6250715 w 8734227"/>
                <a:gd name="connsiteY55" fmla="*/ 1634363 h 1715383"/>
                <a:gd name="connsiteX56" fmla="*/ 6250715 w 8734227"/>
                <a:gd name="connsiteY56" fmla="*/ 1601453 h 1715383"/>
                <a:gd name="connsiteX57" fmla="*/ 5975882 w 8734227"/>
                <a:gd name="connsiteY57" fmla="*/ 1589739 h 1715383"/>
                <a:gd name="connsiteX58" fmla="*/ 5975882 w 8734227"/>
                <a:gd name="connsiteY58" fmla="*/ 1602364 h 1715383"/>
                <a:gd name="connsiteX59" fmla="*/ 6053370 w 8734227"/>
                <a:gd name="connsiteY59" fmla="*/ 1602364 h 1715383"/>
                <a:gd name="connsiteX60" fmla="*/ 6053370 w 8734227"/>
                <a:gd name="connsiteY60" fmla="*/ 1589739 h 1715383"/>
                <a:gd name="connsiteX61" fmla="*/ 8268937 w 8734227"/>
                <a:gd name="connsiteY61" fmla="*/ 1585020 h 1715383"/>
                <a:gd name="connsiteX62" fmla="*/ 8268937 w 8734227"/>
                <a:gd name="connsiteY62" fmla="*/ 1590597 h 1715383"/>
                <a:gd name="connsiteX63" fmla="*/ 8303165 w 8734227"/>
                <a:gd name="connsiteY63" fmla="*/ 1590597 h 1715383"/>
                <a:gd name="connsiteX64" fmla="*/ 8303165 w 8734227"/>
                <a:gd name="connsiteY64" fmla="*/ 1585020 h 1715383"/>
                <a:gd name="connsiteX65" fmla="*/ 8612398 w 8734227"/>
                <a:gd name="connsiteY65" fmla="*/ 1579252 h 1715383"/>
                <a:gd name="connsiteX66" fmla="*/ 8621916 w 8734227"/>
                <a:gd name="connsiteY66" fmla="*/ 1588770 h 1715383"/>
                <a:gd name="connsiteX67" fmla="*/ 8612398 w 8734227"/>
                <a:gd name="connsiteY67" fmla="*/ 1598288 h 1715383"/>
                <a:gd name="connsiteX68" fmla="*/ 8602880 w 8734227"/>
                <a:gd name="connsiteY68" fmla="*/ 1588770 h 1715383"/>
                <a:gd name="connsiteX69" fmla="*/ 8612398 w 8734227"/>
                <a:gd name="connsiteY69" fmla="*/ 1579252 h 1715383"/>
                <a:gd name="connsiteX70" fmla="*/ 8612398 w 8734227"/>
                <a:gd name="connsiteY70" fmla="*/ 1573932 h 1715383"/>
                <a:gd name="connsiteX71" fmla="*/ 8597559 w 8734227"/>
                <a:gd name="connsiteY71" fmla="*/ 1588770 h 1715383"/>
                <a:gd name="connsiteX72" fmla="*/ 8612398 w 8734227"/>
                <a:gd name="connsiteY72" fmla="*/ 1603608 h 1715383"/>
                <a:gd name="connsiteX73" fmla="*/ 8620988 w 8734227"/>
                <a:gd name="connsiteY73" fmla="*/ 1600545 h 1715383"/>
                <a:gd name="connsiteX74" fmla="*/ 8633111 w 8734227"/>
                <a:gd name="connsiteY74" fmla="*/ 1612668 h 1715383"/>
                <a:gd name="connsiteX75" fmla="*/ 8636873 w 8734227"/>
                <a:gd name="connsiteY75" fmla="*/ 1608907 h 1715383"/>
                <a:gd name="connsiteX76" fmla="*/ 8624637 w 8734227"/>
                <a:gd name="connsiteY76" fmla="*/ 1596671 h 1715383"/>
                <a:gd name="connsiteX77" fmla="*/ 8627236 w 8734227"/>
                <a:gd name="connsiteY77" fmla="*/ 1588770 h 1715383"/>
                <a:gd name="connsiteX78" fmla="*/ 8612398 w 8734227"/>
                <a:gd name="connsiteY78" fmla="*/ 1573932 h 1715383"/>
                <a:gd name="connsiteX79" fmla="*/ 8104689 w 8734227"/>
                <a:gd name="connsiteY79" fmla="*/ 1573371 h 1715383"/>
                <a:gd name="connsiteX80" fmla="*/ 8094578 w 8734227"/>
                <a:gd name="connsiteY80" fmla="*/ 1583482 h 1715383"/>
                <a:gd name="connsiteX81" fmla="*/ 8104865 w 8734227"/>
                <a:gd name="connsiteY81" fmla="*/ 1593770 h 1715383"/>
                <a:gd name="connsiteX82" fmla="*/ 8112479 w 8734227"/>
                <a:gd name="connsiteY82" fmla="*/ 1593770 h 1715383"/>
                <a:gd name="connsiteX83" fmla="*/ 8104788 w 8734227"/>
                <a:gd name="connsiteY83" fmla="*/ 1586078 h 1715383"/>
                <a:gd name="connsiteX84" fmla="*/ 8117510 w 8734227"/>
                <a:gd name="connsiteY84" fmla="*/ 1586078 h 1715383"/>
                <a:gd name="connsiteX85" fmla="*/ 8129144 w 8734227"/>
                <a:gd name="connsiteY85" fmla="*/ 1597712 h 1715383"/>
                <a:gd name="connsiteX86" fmla="*/ 8117510 w 8734227"/>
                <a:gd name="connsiteY86" fmla="*/ 1609345 h 1715383"/>
                <a:gd name="connsiteX87" fmla="*/ 8101646 w 8734227"/>
                <a:gd name="connsiteY87" fmla="*/ 1609345 h 1715383"/>
                <a:gd name="connsiteX88" fmla="*/ 8101646 w 8734227"/>
                <a:gd name="connsiteY88" fmla="*/ 1614633 h 1715383"/>
                <a:gd name="connsiteX89" fmla="*/ 8118183 w 8734227"/>
                <a:gd name="connsiteY89" fmla="*/ 1614633 h 1715383"/>
                <a:gd name="connsiteX90" fmla="*/ 8135104 w 8734227"/>
                <a:gd name="connsiteY90" fmla="*/ 1597711 h 1715383"/>
                <a:gd name="connsiteX91" fmla="*/ 8118183 w 8734227"/>
                <a:gd name="connsiteY91" fmla="*/ 1580790 h 1715383"/>
                <a:gd name="connsiteX92" fmla="*/ 8104884 w 8734227"/>
                <a:gd name="connsiteY92" fmla="*/ 1580790 h 1715383"/>
                <a:gd name="connsiteX93" fmla="*/ 8112303 w 8734227"/>
                <a:gd name="connsiteY93" fmla="*/ 1573371 h 1715383"/>
                <a:gd name="connsiteX94" fmla="*/ 8255477 w 8734227"/>
                <a:gd name="connsiteY94" fmla="*/ 1573098 h 1715383"/>
                <a:gd name="connsiteX95" fmla="*/ 8255477 w 8734227"/>
                <a:gd name="connsiteY95" fmla="*/ 1578675 h 1715383"/>
                <a:gd name="connsiteX96" fmla="*/ 8303165 w 8734227"/>
                <a:gd name="connsiteY96" fmla="*/ 1578675 h 1715383"/>
                <a:gd name="connsiteX97" fmla="*/ 8303165 w 8734227"/>
                <a:gd name="connsiteY97" fmla="*/ 1573098 h 1715383"/>
                <a:gd name="connsiteX98" fmla="*/ 8450362 w 8734227"/>
                <a:gd name="connsiteY98" fmla="*/ 1572906 h 1715383"/>
                <a:gd name="connsiteX99" fmla="*/ 8439786 w 8734227"/>
                <a:gd name="connsiteY99" fmla="*/ 1583482 h 1715383"/>
                <a:gd name="connsiteX100" fmla="*/ 8439786 w 8734227"/>
                <a:gd name="connsiteY100" fmla="*/ 1583447 h 1715383"/>
                <a:gd name="connsiteX101" fmla="*/ 8435075 w 8734227"/>
                <a:gd name="connsiteY101" fmla="*/ 1588158 h 1715383"/>
                <a:gd name="connsiteX102" fmla="*/ 8435075 w 8734227"/>
                <a:gd name="connsiteY102" fmla="*/ 1588193 h 1715383"/>
                <a:gd name="connsiteX103" fmla="*/ 8425148 w 8734227"/>
                <a:gd name="connsiteY103" fmla="*/ 1598120 h 1715383"/>
                <a:gd name="connsiteX104" fmla="*/ 8429121 w 8734227"/>
                <a:gd name="connsiteY104" fmla="*/ 1602092 h 1715383"/>
                <a:gd name="connsiteX105" fmla="*/ 8450362 w 8734227"/>
                <a:gd name="connsiteY105" fmla="*/ 1580852 h 1715383"/>
                <a:gd name="connsiteX106" fmla="*/ 8450418 w 8734227"/>
                <a:gd name="connsiteY106" fmla="*/ 1580908 h 1715383"/>
                <a:gd name="connsiteX107" fmla="*/ 8450438 w 8734227"/>
                <a:gd name="connsiteY107" fmla="*/ 1580888 h 1715383"/>
                <a:gd name="connsiteX108" fmla="*/ 8471671 w 8734227"/>
                <a:gd name="connsiteY108" fmla="*/ 1602122 h 1715383"/>
                <a:gd name="connsiteX109" fmla="*/ 8475624 w 8734227"/>
                <a:gd name="connsiteY109" fmla="*/ 1598168 h 1715383"/>
                <a:gd name="connsiteX110" fmla="*/ 8464880 w 8734227"/>
                <a:gd name="connsiteY110" fmla="*/ 1587424 h 1715383"/>
                <a:gd name="connsiteX111" fmla="*/ 8464880 w 8734227"/>
                <a:gd name="connsiteY111" fmla="*/ 1574444 h 1715383"/>
                <a:gd name="connsiteX112" fmla="*/ 8460169 w 8734227"/>
                <a:gd name="connsiteY112" fmla="*/ 1574444 h 1715383"/>
                <a:gd name="connsiteX113" fmla="*/ 8460169 w 8734227"/>
                <a:gd name="connsiteY113" fmla="*/ 1582713 h 1715383"/>
                <a:gd name="connsiteX114" fmla="*/ 3085285 w 8734227"/>
                <a:gd name="connsiteY114" fmla="*/ 1568490 h 1715383"/>
                <a:gd name="connsiteX115" fmla="*/ 3102553 w 8734227"/>
                <a:gd name="connsiteY115" fmla="*/ 1585759 h 1715383"/>
                <a:gd name="connsiteX116" fmla="*/ 3085285 w 8734227"/>
                <a:gd name="connsiteY116" fmla="*/ 1603029 h 1715383"/>
                <a:gd name="connsiteX117" fmla="*/ 3068014 w 8734227"/>
                <a:gd name="connsiteY117" fmla="*/ 1585759 h 1715383"/>
                <a:gd name="connsiteX118" fmla="*/ 3085285 w 8734227"/>
                <a:gd name="connsiteY118" fmla="*/ 1568490 h 1715383"/>
                <a:gd name="connsiteX119" fmla="*/ 5975882 w 8734227"/>
                <a:gd name="connsiteY119" fmla="*/ 1562748 h 1715383"/>
                <a:gd name="connsiteX120" fmla="*/ 5975882 w 8734227"/>
                <a:gd name="connsiteY120" fmla="*/ 1575374 h 1715383"/>
                <a:gd name="connsiteX121" fmla="*/ 6053370 w 8734227"/>
                <a:gd name="connsiteY121" fmla="*/ 1575374 h 1715383"/>
                <a:gd name="connsiteX122" fmla="*/ 6053370 w 8734227"/>
                <a:gd name="connsiteY122" fmla="*/ 1562748 h 1715383"/>
                <a:gd name="connsiteX123" fmla="*/ 2566537 w 8734227"/>
                <a:gd name="connsiteY123" fmla="*/ 1561821 h 1715383"/>
                <a:gd name="connsiteX124" fmla="*/ 2541313 w 8734227"/>
                <a:gd name="connsiteY124" fmla="*/ 1590869 h 1715383"/>
                <a:gd name="connsiteX125" fmla="*/ 2566537 w 8734227"/>
                <a:gd name="connsiteY125" fmla="*/ 1621153 h 1715383"/>
                <a:gd name="connsiteX126" fmla="*/ 2582362 w 8734227"/>
                <a:gd name="connsiteY126" fmla="*/ 1621153 h 1715383"/>
                <a:gd name="connsiteX127" fmla="*/ 2563569 w 8734227"/>
                <a:gd name="connsiteY127" fmla="*/ 1598903 h 1715383"/>
                <a:gd name="connsiteX128" fmla="*/ 2606103 w 8734227"/>
                <a:gd name="connsiteY128" fmla="*/ 1598903 h 1715383"/>
                <a:gd name="connsiteX129" fmla="*/ 2606103 w 8734227"/>
                <a:gd name="connsiteY129" fmla="*/ 1583453 h 1715383"/>
                <a:gd name="connsiteX130" fmla="*/ 2563569 w 8734227"/>
                <a:gd name="connsiteY130" fmla="*/ 1583453 h 1715383"/>
                <a:gd name="connsiteX131" fmla="*/ 2582362 w 8734227"/>
                <a:gd name="connsiteY131" fmla="*/ 1561821 h 1715383"/>
                <a:gd name="connsiteX132" fmla="*/ 2814919 w 8734227"/>
                <a:gd name="connsiteY132" fmla="*/ 1560122 h 1715383"/>
                <a:gd name="connsiteX133" fmla="*/ 2783110 w 8734227"/>
                <a:gd name="connsiteY133" fmla="*/ 1564573 h 1715383"/>
                <a:gd name="connsiteX134" fmla="*/ 2783116 w 8734227"/>
                <a:gd name="connsiteY134" fmla="*/ 1590755 h 1715383"/>
                <a:gd name="connsiteX135" fmla="*/ 2814919 w 8734227"/>
                <a:gd name="connsiteY135" fmla="*/ 1590755 h 1715383"/>
                <a:gd name="connsiteX136" fmla="*/ 3085194 w 8734227"/>
                <a:gd name="connsiteY136" fmla="*/ 1559855 h 1715383"/>
                <a:gd name="connsiteX137" fmla="*/ 3059291 w 8734227"/>
                <a:gd name="connsiteY137" fmla="*/ 1585759 h 1715383"/>
                <a:gd name="connsiteX138" fmla="*/ 3062416 w 8734227"/>
                <a:gd name="connsiteY138" fmla="*/ 1597850 h 1715383"/>
                <a:gd name="connsiteX139" fmla="*/ 3038712 w 8734227"/>
                <a:gd name="connsiteY139" fmla="*/ 1621553 h 1715383"/>
                <a:gd name="connsiteX140" fmla="*/ 3038712 w 8734227"/>
                <a:gd name="connsiteY140" fmla="*/ 1625623 h 1715383"/>
                <a:gd name="connsiteX141" fmla="*/ 3046852 w 8734227"/>
                <a:gd name="connsiteY141" fmla="*/ 1633764 h 1715383"/>
                <a:gd name="connsiteX142" fmla="*/ 3050925 w 8734227"/>
                <a:gd name="connsiteY142" fmla="*/ 1633764 h 1715383"/>
                <a:gd name="connsiteX143" fmla="*/ 3075079 w 8734227"/>
                <a:gd name="connsiteY143" fmla="*/ 1609610 h 1715383"/>
                <a:gd name="connsiteX144" fmla="*/ 3085194 w 8734227"/>
                <a:gd name="connsiteY144" fmla="*/ 1611663 h 1715383"/>
                <a:gd name="connsiteX145" fmla="*/ 3111099 w 8734227"/>
                <a:gd name="connsiteY145" fmla="*/ 1585759 h 1715383"/>
                <a:gd name="connsiteX146" fmla="*/ 3085194 w 8734227"/>
                <a:gd name="connsiteY146" fmla="*/ 1559855 h 1715383"/>
                <a:gd name="connsiteX147" fmla="*/ 2860734 w 8734227"/>
                <a:gd name="connsiteY147" fmla="*/ 1553710 h 1715383"/>
                <a:gd name="connsiteX148" fmla="*/ 2818847 w 8734227"/>
                <a:gd name="connsiteY148" fmla="*/ 1559572 h 1715383"/>
                <a:gd name="connsiteX149" fmla="*/ 2818847 w 8734227"/>
                <a:gd name="connsiteY149" fmla="*/ 1590755 h 1715383"/>
                <a:gd name="connsiteX150" fmla="*/ 2860797 w 8734227"/>
                <a:gd name="connsiteY150" fmla="*/ 1590755 h 1715383"/>
                <a:gd name="connsiteX151" fmla="*/ 6408449 w 8734227"/>
                <a:gd name="connsiteY151" fmla="*/ 1550368 h 1715383"/>
                <a:gd name="connsiteX152" fmla="*/ 6434588 w 8734227"/>
                <a:gd name="connsiteY152" fmla="*/ 1576506 h 1715383"/>
                <a:gd name="connsiteX153" fmla="*/ 6408449 w 8734227"/>
                <a:gd name="connsiteY153" fmla="*/ 1602645 h 1715383"/>
                <a:gd name="connsiteX154" fmla="*/ 6382311 w 8734227"/>
                <a:gd name="connsiteY154" fmla="*/ 1576506 h 1715383"/>
                <a:gd name="connsiteX155" fmla="*/ 6408449 w 8734227"/>
                <a:gd name="connsiteY155" fmla="*/ 1550368 h 1715383"/>
                <a:gd name="connsiteX156" fmla="*/ 6219663 w 8734227"/>
                <a:gd name="connsiteY156" fmla="*/ 1545115 h 1715383"/>
                <a:gd name="connsiteX157" fmla="*/ 6197045 w 8734227"/>
                <a:gd name="connsiteY157" fmla="*/ 1567734 h 1715383"/>
                <a:gd name="connsiteX158" fmla="*/ 6197045 w 8734227"/>
                <a:gd name="connsiteY158" fmla="*/ 1567661 h 1715383"/>
                <a:gd name="connsiteX159" fmla="*/ 6186968 w 8734227"/>
                <a:gd name="connsiteY159" fmla="*/ 1577738 h 1715383"/>
                <a:gd name="connsiteX160" fmla="*/ 6186968 w 8734227"/>
                <a:gd name="connsiteY160" fmla="*/ 1577811 h 1715383"/>
                <a:gd name="connsiteX161" fmla="*/ 6165737 w 8734227"/>
                <a:gd name="connsiteY161" fmla="*/ 1599043 h 1715383"/>
                <a:gd name="connsiteX162" fmla="*/ 6174233 w 8734227"/>
                <a:gd name="connsiteY162" fmla="*/ 1607540 h 1715383"/>
                <a:gd name="connsiteX163" fmla="*/ 6219663 w 8734227"/>
                <a:gd name="connsiteY163" fmla="*/ 1562110 h 1715383"/>
                <a:gd name="connsiteX164" fmla="*/ 6219784 w 8734227"/>
                <a:gd name="connsiteY164" fmla="*/ 1562231 h 1715383"/>
                <a:gd name="connsiteX165" fmla="*/ 6219828 w 8734227"/>
                <a:gd name="connsiteY165" fmla="*/ 1562188 h 1715383"/>
                <a:gd name="connsiteX166" fmla="*/ 6265241 w 8734227"/>
                <a:gd name="connsiteY166" fmla="*/ 1607603 h 1715383"/>
                <a:gd name="connsiteX167" fmla="*/ 6273696 w 8734227"/>
                <a:gd name="connsiteY167" fmla="*/ 1599147 h 1715383"/>
                <a:gd name="connsiteX168" fmla="*/ 6250715 w 8734227"/>
                <a:gd name="connsiteY168" fmla="*/ 1576167 h 1715383"/>
                <a:gd name="connsiteX169" fmla="*/ 6250715 w 8734227"/>
                <a:gd name="connsiteY169" fmla="*/ 1548405 h 1715383"/>
                <a:gd name="connsiteX170" fmla="*/ 6240640 w 8734227"/>
                <a:gd name="connsiteY170" fmla="*/ 1548405 h 1715383"/>
                <a:gd name="connsiteX171" fmla="*/ 6240640 w 8734227"/>
                <a:gd name="connsiteY171" fmla="*/ 1566092 h 1715383"/>
                <a:gd name="connsiteX172" fmla="*/ 6408449 w 8734227"/>
                <a:gd name="connsiteY172" fmla="*/ 1535759 h 1715383"/>
                <a:gd name="connsiteX173" fmla="*/ 6367702 w 8734227"/>
                <a:gd name="connsiteY173" fmla="*/ 1576506 h 1715383"/>
                <a:gd name="connsiteX174" fmla="*/ 6408449 w 8734227"/>
                <a:gd name="connsiteY174" fmla="*/ 1617255 h 1715383"/>
                <a:gd name="connsiteX175" fmla="*/ 6432040 w 8734227"/>
                <a:gd name="connsiteY175" fmla="*/ 1608842 h 1715383"/>
                <a:gd name="connsiteX176" fmla="*/ 6465332 w 8734227"/>
                <a:gd name="connsiteY176" fmla="*/ 1642134 h 1715383"/>
                <a:gd name="connsiteX177" fmla="*/ 6475661 w 8734227"/>
                <a:gd name="connsiteY177" fmla="*/ 1631804 h 1715383"/>
                <a:gd name="connsiteX178" fmla="*/ 6442062 w 8734227"/>
                <a:gd name="connsiteY178" fmla="*/ 1598203 h 1715383"/>
                <a:gd name="connsiteX179" fmla="*/ 6449198 w 8734227"/>
                <a:gd name="connsiteY179" fmla="*/ 1576506 h 1715383"/>
                <a:gd name="connsiteX180" fmla="*/ 6408449 w 8734227"/>
                <a:gd name="connsiteY180" fmla="*/ 1535759 h 1715383"/>
                <a:gd name="connsiteX181" fmla="*/ 5945410 w 8734227"/>
                <a:gd name="connsiteY181" fmla="*/ 1535759 h 1715383"/>
                <a:gd name="connsiteX182" fmla="*/ 5945410 w 8734227"/>
                <a:gd name="connsiteY182" fmla="*/ 1548383 h 1715383"/>
                <a:gd name="connsiteX183" fmla="*/ 6053370 w 8734227"/>
                <a:gd name="connsiteY183" fmla="*/ 1548383 h 1715383"/>
                <a:gd name="connsiteX184" fmla="*/ 6053370 w 8734227"/>
                <a:gd name="connsiteY184" fmla="*/ 1535759 h 1715383"/>
                <a:gd name="connsiteX185" fmla="*/ 5791471 w 8734227"/>
                <a:gd name="connsiteY185" fmla="*/ 1535759 h 1715383"/>
                <a:gd name="connsiteX186" fmla="*/ 5765016 w 8734227"/>
                <a:gd name="connsiteY186" fmla="*/ 1562214 h 1715383"/>
                <a:gd name="connsiteX187" fmla="*/ 5791932 w 8734227"/>
                <a:gd name="connsiteY187" fmla="*/ 1589132 h 1715383"/>
                <a:gd name="connsiteX188" fmla="*/ 5811855 w 8734227"/>
                <a:gd name="connsiteY188" fmla="*/ 1589132 h 1715383"/>
                <a:gd name="connsiteX189" fmla="*/ 5791731 w 8734227"/>
                <a:gd name="connsiteY189" fmla="*/ 1569006 h 1715383"/>
                <a:gd name="connsiteX190" fmla="*/ 5825016 w 8734227"/>
                <a:gd name="connsiteY190" fmla="*/ 1569006 h 1715383"/>
                <a:gd name="connsiteX191" fmla="*/ 5855455 w 8734227"/>
                <a:gd name="connsiteY191" fmla="*/ 1599445 h 1715383"/>
                <a:gd name="connsiteX192" fmla="*/ 5825016 w 8734227"/>
                <a:gd name="connsiteY192" fmla="*/ 1629884 h 1715383"/>
                <a:gd name="connsiteX193" fmla="*/ 5783509 w 8734227"/>
                <a:gd name="connsiteY193" fmla="*/ 1629884 h 1715383"/>
                <a:gd name="connsiteX194" fmla="*/ 5783509 w 8734227"/>
                <a:gd name="connsiteY194" fmla="*/ 1643718 h 1715383"/>
                <a:gd name="connsiteX195" fmla="*/ 5826777 w 8734227"/>
                <a:gd name="connsiteY195" fmla="*/ 1643718 h 1715383"/>
                <a:gd name="connsiteX196" fmla="*/ 5871050 w 8734227"/>
                <a:gd name="connsiteY196" fmla="*/ 1599445 h 1715383"/>
                <a:gd name="connsiteX197" fmla="*/ 5826777 w 8734227"/>
                <a:gd name="connsiteY197" fmla="*/ 1555170 h 1715383"/>
                <a:gd name="connsiteX198" fmla="*/ 5791982 w 8734227"/>
                <a:gd name="connsiteY198" fmla="*/ 1555170 h 1715383"/>
                <a:gd name="connsiteX199" fmla="*/ 5811394 w 8734227"/>
                <a:gd name="connsiteY199" fmla="*/ 1535759 h 1715383"/>
                <a:gd name="connsiteX200" fmla="*/ 5136541 w 8734227"/>
                <a:gd name="connsiteY200" fmla="*/ 1520601 h 1715383"/>
                <a:gd name="connsiteX201" fmla="*/ 5066061 w 8734227"/>
                <a:gd name="connsiteY201" fmla="*/ 1591081 h 1715383"/>
                <a:gd name="connsiteX202" fmla="*/ 5136541 w 8734227"/>
                <a:gd name="connsiteY202" fmla="*/ 1661562 h 1715383"/>
                <a:gd name="connsiteX203" fmla="*/ 5207022 w 8734227"/>
                <a:gd name="connsiteY203" fmla="*/ 1591081 h 1715383"/>
                <a:gd name="connsiteX204" fmla="*/ 5136541 w 8734227"/>
                <a:gd name="connsiteY204" fmla="*/ 1520601 h 1715383"/>
                <a:gd name="connsiteX205" fmla="*/ 2804155 w 8734227"/>
                <a:gd name="connsiteY205" fmla="*/ 1019973 h 1715383"/>
                <a:gd name="connsiteX206" fmla="*/ 3072374 w 8734227"/>
                <a:gd name="connsiteY206" fmla="*/ 1019973 h 1715383"/>
                <a:gd name="connsiteX207" fmla="*/ 3072771 w 8734227"/>
                <a:gd name="connsiteY207" fmla="*/ 1255954 h 1715383"/>
                <a:gd name="connsiteX208" fmla="*/ 2804155 w 8734227"/>
                <a:gd name="connsiteY208" fmla="*/ 1218873 h 1715383"/>
                <a:gd name="connsiteX209" fmla="*/ 2575684 w 8734227"/>
                <a:gd name="connsiteY209" fmla="*/ 1019973 h 1715383"/>
                <a:gd name="connsiteX210" fmla="*/ 2779051 w 8734227"/>
                <a:gd name="connsiteY210" fmla="*/ 1019973 h 1715383"/>
                <a:gd name="connsiteX211" fmla="*/ 2779051 w 8734227"/>
                <a:gd name="connsiteY211" fmla="*/ 1215407 h 1715383"/>
                <a:gd name="connsiteX212" fmla="*/ 2575706 w 8734227"/>
                <a:gd name="connsiteY212" fmla="*/ 1187336 h 1715383"/>
                <a:gd name="connsiteX213" fmla="*/ 2575684 w 8734227"/>
                <a:gd name="connsiteY213" fmla="*/ 1019973 h 1715383"/>
                <a:gd name="connsiteX214" fmla="*/ 1127626 w 8734227"/>
                <a:gd name="connsiteY214" fmla="*/ 1017379 h 1715383"/>
                <a:gd name="connsiteX215" fmla="*/ 1496190 w 8734227"/>
                <a:gd name="connsiteY215" fmla="*/ 1017379 h 1715383"/>
                <a:gd name="connsiteX216" fmla="*/ 1496735 w 8734227"/>
                <a:gd name="connsiteY216" fmla="*/ 1341644 h 1715383"/>
                <a:gd name="connsiteX217" fmla="*/ 1127626 w 8734227"/>
                <a:gd name="connsiteY217" fmla="*/ 1290690 h 1715383"/>
                <a:gd name="connsiteX218" fmla="*/ 813680 w 8734227"/>
                <a:gd name="connsiteY218" fmla="*/ 1017379 h 1715383"/>
                <a:gd name="connsiteX219" fmla="*/ 1093130 w 8734227"/>
                <a:gd name="connsiteY219" fmla="*/ 1017379 h 1715383"/>
                <a:gd name="connsiteX220" fmla="*/ 1093130 w 8734227"/>
                <a:gd name="connsiteY220" fmla="*/ 1285928 h 1715383"/>
                <a:gd name="connsiteX221" fmla="*/ 813711 w 8734227"/>
                <a:gd name="connsiteY221" fmla="*/ 1247355 h 1715383"/>
                <a:gd name="connsiteX222" fmla="*/ 813680 w 8734227"/>
                <a:gd name="connsiteY222" fmla="*/ 1017379 h 1715383"/>
                <a:gd name="connsiteX223" fmla="*/ 8200722 w 8734227"/>
                <a:gd name="connsiteY223" fmla="*/ 882974 h 1715383"/>
                <a:gd name="connsiteX224" fmla="*/ 8221059 w 8734227"/>
                <a:gd name="connsiteY224" fmla="*/ 882974 h 1715383"/>
                <a:gd name="connsiteX225" fmla="*/ 8511008 w 8734227"/>
                <a:gd name="connsiteY225" fmla="*/ 882974 h 1715383"/>
                <a:gd name="connsiteX226" fmla="*/ 8531346 w 8734227"/>
                <a:gd name="connsiteY226" fmla="*/ 882974 h 1715383"/>
                <a:gd name="connsiteX227" fmla="*/ 8531346 w 8734227"/>
                <a:gd name="connsiteY227" fmla="*/ 1018677 h 1715383"/>
                <a:gd name="connsiteX228" fmla="*/ 8530729 w 8734227"/>
                <a:gd name="connsiteY228" fmla="*/ 1018677 h 1715383"/>
                <a:gd name="connsiteX229" fmla="*/ 8530729 w 8734227"/>
                <a:gd name="connsiteY229" fmla="*/ 1161453 h 1715383"/>
                <a:gd name="connsiteX230" fmla="*/ 8529496 w 8734227"/>
                <a:gd name="connsiteY230" fmla="*/ 1167628 h 1715383"/>
                <a:gd name="connsiteX231" fmla="*/ 8527031 w 8734227"/>
                <a:gd name="connsiteY231" fmla="*/ 1173185 h 1715383"/>
                <a:gd name="connsiteX232" fmla="*/ 8522717 w 8734227"/>
                <a:gd name="connsiteY232" fmla="*/ 1177508 h 1715383"/>
                <a:gd name="connsiteX233" fmla="*/ 8517171 w 8734227"/>
                <a:gd name="connsiteY233" fmla="*/ 1180286 h 1715383"/>
                <a:gd name="connsiteX234" fmla="*/ 8511008 w 8734227"/>
                <a:gd name="connsiteY234" fmla="*/ 1181521 h 1715383"/>
                <a:gd name="connsiteX235" fmla="*/ 8468428 w 8734227"/>
                <a:gd name="connsiteY235" fmla="*/ 1181521 h 1715383"/>
                <a:gd name="connsiteX236" fmla="*/ 8468428 w 8734227"/>
                <a:gd name="connsiteY236" fmla="*/ 1268851 h 1715383"/>
                <a:gd name="connsiteX237" fmla="*/ 8467189 w 8734227"/>
                <a:gd name="connsiteY237" fmla="*/ 1277782 h 1715383"/>
                <a:gd name="connsiteX238" fmla="*/ 8463782 w 8734227"/>
                <a:gd name="connsiteY238" fmla="*/ 1286098 h 1715383"/>
                <a:gd name="connsiteX239" fmla="*/ 8458516 w 8734227"/>
                <a:gd name="connsiteY239" fmla="*/ 1293182 h 1715383"/>
                <a:gd name="connsiteX240" fmla="*/ 8451391 w 8734227"/>
                <a:gd name="connsiteY240" fmla="*/ 1299034 h 1715383"/>
                <a:gd name="connsiteX241" fmla="*/ 8443027 w 8734227"/>
                <a:gd name="connsiteY241" fmla="*/ 1302422 h 1715383"/>
                <a:gd name="connsiteX242" fmla="*/ 8433424 w 8734227"/>
                <a:gd name="connsiteY242" fmla="*/ 1303654 h 1715383"/>
                <a:gd name="connsiteX243" fmla="*/ 8424131 w 8734227"/>
                <a:gd name="connsiteY243" fmla="*/ 1302422 h 1715383"/>
                <a:gd name="connsiteX244" fmla="*/ 8415767 w 8734227"/>
                <a:gd name="connsiteY244" fmla="*/ 1299034 h 1715383"/>
                <a:gd name="connsiteX245" fmla="*/ 8408642 w 8734227"/>
                <a:gd name="connsiteY245" fmla="*/ 1293182 h 1715383"/>
                <a:gd name="connsiteX246" fmla="*/ 8403066 w 8734227"/>
                <a:gd name="connsiteY246" fmla="*/ 1286098 h 1715383"/>
                <a:gd name="connsiteX247" fmla="*/ 8399349 w 8734227"/>
                <a:gd name="connsiteY247" fmla="*/ 1277782 h 1715383"/>
                <a:gd name="connsiteX248" fmla="*/ 8398109 w 8734227"/>
                <a:gd name="connsiteY248" fmla="*/ 1268851 h 1715383"/>
                <a:gd name="connsiteX249" fmla="*/ 8398109 w 8734227"/>
                <a:gd name="connsiteY249" fmla="*/ 1181521 h 1715383"/>
                <a:gd name="connsiteX250" fmla="*/ 8332725 w 8734227"/>
                <a:gd name="connsiteY250" fmla="*/ 1181521 h 1715383"/>
                <a:gd name="connsiteX251" fmla="*/ 8332725 w 8734227"/>
                <a:gd name="connsiteY251" fmla="*/ 1268851 h 1715383"/>
                <a:gd name="connsiteX252" fmla="*/ 8331196 w 8734227"/>
                <a:gd name="connsiteY252" fmla="*/ 1277782 h 1715383"/>
                <a:gd name="connsiteX253" fmla="*/ 8328139 w 8734227"/>
                <a:gd name="connsiteY253" fmla="*/ 1286098 h 1715383"/>
                <a:gd name="connsiteX254" fmla="*/ 8322636 w 8734227"/>
                <a:gd name="connsiteY254" fmla="*/ 1293182 h 1715383"/>
                <a:gd name="connsiteX255" fmla="*/ 8315605 w 8734227"/>
                <a:gd name="connsiteY255" fmla="*/ 1299034 h 1715383"/>
                <a:gd name="connsiteX256" fmla="*/ 8307351 w 8734227"/>
                <a:gd name="connsiteY256" fmla="*/ 1302422 h 1715383"/>
                <a:gd name="connsiteX257" fmla="*/ 8297874 w 8734227"/>
                <a:gd name="connsiteY257" fmla="*/ 1303654 h 1715383"/>
                <a:gd name="connsiteX258" fmla="*/ 8288702 w 8734227"/>
                <a:gd name="connsiteY258" fmla="*/ 1302422 h 1715383"/>
                <a:gd name="connsiteX259" fmla="*/ 8280448 w 8734227"/>
                <a:gd name="connsiteY259" fmla="*/ 1299034 h 1715383"/>
                <a:gd name="connsiteX260" fmla="*/ 8273417 w 8734227"/>
                <a:gd name="connsiteY260" fmla="*/ 1293182 h 1715383"/>
                <a:gd name="connsiteX261" fmla="*/ 8267914 w 8734227"/>
                <a:gd name="connsiteY261" fmla="*/ 1286098 h 1715383"/>
                <a:gd name="connsiteX262" fmla="*/ 8264245 w 8734227"/>
                <a:gd name="connsiteY262" fmla="*/ 1277782 h 1715383"/>
                <a:gd name="connsiteX263" fmla="*/ 8263023 w 8734227"/>
                <a:gd name="connsiteY263" fmla="*/ 1268851 h 1715383"/>
                <a:gd name="connsiteX264" fmla="*/ 8263023 w 8734227"/>
                <a:gd name="connsiteY264" fmla="*/ 1181521 h 1715383"/>
                <a:gd name="connsiteX265" fmla="*/ 8221059 w 8734227"/>
                <a:gd name="connsiteY265" fmla="*/ 1181521 h 1715383"/>
                <a:gd name="connsiteX266" fmla="*/ 8214589 w 8734227"/>
                <a:gd name="connsiteY266" fmla="*/ 1180286 h 1715383"/>
                <a:gd name="connsiteX267" fmla="*/ 8209350 w 8734227"/>
                <a:gd name="connsiteY267" fmla="*/ 1177508 h 1715383"/>
                <a:gd name="connsiteX268" fmla="*/ 8205037 w 8734227"/>
                <a:gd name="connsiteY268" fmla="*/ 1173185 h 1715383"/>
                <a:gd name="connsiteX269" fmla="*/ 8202263 w 8734227"/>
                <a:gd name="connsiteY269" fmla="*/ 1167628 h 1715383"/>
                <a:gd name="connsiteX270" fmla="*/ 8201339 w 8734227"/>
                <a:gd name="connsiteY270" fmla="*/ 1161453 h 1715383"/>
                <a:gd name="connsiteX271" fmla="*/ 8201339 w 8734227"/>
                <a:gd name="connsiteY271" fmla="*/ 1018677 h 1715383"/>
                <a:gd name="connsiteX272" fmla="*/ 8200722 w 8734227"/>
                <a:gd name="connsiteY272" fmla="*/ 1018677 h 1715383"/>
                <a:gd name="connsiteX273" fmla="*/ 5227484 w 8734227"/>
                <a:gd name="connsiteY273" fmla="*/ 878578 h 1715383"/>
                <a:gd name="connsiteX274" fmla="*/ 5323885 w 8734227"/>
                <a:gd name="connsiteY274" fmla="*/ 928253 h 1715383"/>
                <a:gd name="connsiteX275" fmla="*/ 5270531 w 8734227"/>
                <a:gd name="connsiteY275" fmla="*/ 1022696 h 1715383"/>
                <a:gd name="connsiteX276" fmla="*/ 5337223 w 8734227"/>
                <a:gd name="connsiteY276" fmla="*/ 1123886 h 1715383"/>
                <a:gd name="connsiteX277" fmla="*/ 5228091 w 8734227"/>
                <a:gd name="connsiteY277" fmla="*/ 1255739 h 1715383"/>
                <a:gd name="connsiteX278" fmla="*/ 5146848 w 8734227"/>
                <a:gd name="connsiteY278" fmla="*/ 1236114 h 1715383"/>
                <a:gd name="connsiteX279" fmla="*/ 5064998 w 8734227"/>
                <a:gd name="connsiteY279" fmla="*/ 1256965 h 1715383"/>
                <a:gd name="connsiteX280" fmla="*/ 4935858 w 8734227"/>
                <a:gd name="connsiteY280" fmla="*/ 1031282 h 1715383"/>
                <a:gd name="connsiteX281" fmla="*/ 5054085 w 8734227"/>
                <a:gd name="connsiteY281" fmla="*/ 879805 h 1715383"/>
                <a:gd name="connsiteX282" fmla="*/ 5140179 w 8734227"/>
                <a:gd name="connsiteY282" fmla="*/ 901882 h 1715383"/>
                <a:gd name="connsiteX283" fmla="*/ 5227484 w 8734227"/>
                <a:gd name="connsiteY283" fmla="*/ 878578 h 1715383"/>
                <a:gd name="connsiteX284" fmla="*/ 8583622 w 8734227"/>
                <a:gd name="connsiteY284" fmla="*/ 871871 h 1715383"/>
                <a:gd name="connsiteX285" fmla="*/ 8592915 w 8734227"/>
                <a:gd name="connsiteY285" fmla="*/ 873105 h 1715383"/>
                <a:gd name="connsiteX286" fmla="*/ 8601898 w 8734227"/>
                <a:gd name="connsiteY286" fmla="*/ 876806 h 1715383"/>
                <a:gd name="connsiteX287" fmla="*/ 8609023 w 8734227"/>
                <a:gd name="connsiteY287" fmla="*/ 882357 h 1715383"/>
                <a:gd name="connsiteX288" fmla="*/ 8614289 w 8734227"/>
                <a:gd name="connsiteY288" fmla="*/ 889451 h 1715383"/>
                <a:gd name="connsiteX289" fmla="*/ 8617697 w 8734227"/>
                <a:gd name="connsiteY289" fmla="*/ 897778 h 1715383"/>
                <a:gd name="connsiteX290" fmla="*/ 8618936 w 8734227"/>
                <a:gd name="connsiteY290" fmla="*/ 907339 h 1715383"/>
                <a:gd name="connsiteX291" fmla="*/ 8618936 w 8734227"/>
                <a:gd name="connsiteY291" fmla="*/ 1064631 h 1715383"/>
                <a:gd name="connsiteX292" fmla="*/ 8617697 w 8734227"/>
                <a:gd name="connsiteY292" fmla="*/ 1073884 h 1715383"/>
                <a:gd name="connsiteX293" fmla="*/ 8614289 w 8734227"/>
                <a:gd name="connsiteY293" fmla="*/ 1082520 h 1715383"/>
                <a:gd name="connsiteX294" fmla="*/ 8609023 w 8734227"/>
                <a:gd name="connsiteY294" fmla="*/ 1089613 h 1715383"/>
                <a:gd name="connsiteX295" fmla="*/ 8601898 w 8734227"/>
                <a:gd name="connsiteY295" fmla="*/ 1095165 h 1715383"/>
                <a:gd name="connsiteX296" fmla="*/ 8592915 w 8734227"/>
                <a:gd name="connsiteY296" fmla="*/ 1098249 h 1715383"/>
                <a:gd name="connsiteX297" fmla="*/ 8583622 w 8734227"/>
                <a:gd name="connsiteY297" fmla="*/ 1099482 h 1715383"/>
                <a:gd name="connsiteX298" fmla="*/ 8574638 w 8734227"/>
                <a:gd name="connsiteY298" fmla="*/ 1098249 h 1715383"/>
                <a:gd name="connsiteX299" fmla="*/ 8566274 w 8734227"/>
                <a:gd name="connsiteY299" fmla="*/ 1095165 h 1715383"/>
                <a:gd name="connsiteX300" fmla="*/ 8559149 w 8734227"/>
                <a:gd name="connsiteY300" fmla="*/ 1089613 h 1715383"/>
                <a:gd name="connsiteX301" fmla="*/ 8553264 w 8734227"/>
                <a:gd name="connsiteY301" fmla="*/ 1082520 h 1715383"/>
                <a:gd name="connsiteX302" fmla="*/ 8549856 w 8734227"/>
                <a:gd name="connsiteY302" fmla="*/ 1073884 h 1715383"/>
                <a:gd name="connsiteX303" fmla="*/ 8548617 w 8734227"/>
                <a:gd name="connsiteY303" fmla="*/ 1064631 h 1715383"/>
                <a:gd name="connsiteX304" fmla="*/ 8548617 w 8734227"/>
                <a:gd name="connsiteY304" fmla="*/ 907339 h 1715383"/>
                <a:gd name="connsiteX305" fmla="*/ 8549856 w 8734227"/>
                <a:gd name="connsiteY305" fmla="*/ 897778 h 1715383"/>
                <a:gd name="connsiteX306" fmla="*/ 8553264 w 8734227"/>
                <a:gd name="connsiteY306" fmla="*/ 889451 h 1715383"/>
                <a:gd name="connsiteX307" fmla="*/ 8559149 w 8734227"/>
                <a:gd name="connsiteY307" fmla="*/ 882357 h 1715383"/>
                <a:gd name="connsiteX308" fmla="*/ 8566274 w 8734227"/>
                <a:gd name="connsiteY308" fmla="*/ 876806 h 1715383"/>
                <a:gd name="connsiteX309" fmla="*/ 8574638 w 8734227"/>
                <a:gd name="connsiteY309" fmla="*/ 873105 h 1715383"/>
                <a:gd name="connsiteX310" fmla="*/ 8147521 w 8734227"/>
                <a:gd name="connsiteY310" fmla="*/ 871871 h 1715383"/>
                <a:gd name="connsiteX311" fmla="*/ 8157040 w 8734227"/>
                <a:gd name="connsiteY311" fmla="*/ 873105 h 1715383"/>
                <a:gd name="connsiteX312" fmla="*/ 8165331 w 8734227"/>
                <a:gd name="connsiteY312" fmla="*/ 876806 h 1715383"/>
                <a:gd name="connsiteX313" fmla="*/ 8172394 w 8734227"/>
                <a:gd name="connsiteY313" fmla="*/ 882357 h 1715383"/>
                <a:gd name="connsiteX314" fmla="*/ 8177921 w 8734227"/>
                <a:gd name="connsiteY314" fmla="*/ 889451 h 1715383"/>
                <a:gd name="connsiteX315" fmla="*/ 8181606 w 8734227"/>
                <a:gd name="connsiteY315" fmla="*/ 897778 h 1715383"/>
                <a:gd name="connsiteX316" fmla="*/ 8182834 w 8734227"/>
                <a:gd name="connsiteY316" fmla="*/ 907339 h 1715383"/>
                <a:gd name="connsiteX317" fmla="*/ 8182834 w 8734227"/>
                <a:gd name="connsiteY317" fmla="*/ 1064631 h 1715383"/>
                <a:gd name="connsiteX318" fmla="*/ 8181606 w 8734227"/>
                <a:gd name="connsiteY318" fmla="*/ 1073884 h 1715383"/>
                <a:gd name="connsiteX319" fmla="*/ 8177921 w 8734227"/>
                <a:gd name="connsiteY319" fmla="*/ 1082520 h 1715383"/>
                <a:gd name="connsiteX320" fmla="*/ 8172394 w 8734227"/>
                <a:gd name="connsiteY320" fmla="*/ 1089613 h 1715383"/>
                <a:gd name="connsiteX321" fmla="*/ 8165331 w 8734227"/>
                <a:gd name="connsiteY321" fmla="*/ 1095165 h 1715383"/>
                <a:gd name="connsiteX322" fmla="*/ 8157040 w 8734227"/>
                <a:gd name="connsiteY322" fmla="*/ 1098249 h 1715383"/>
                <a:gd name="connsiteX323" fmla="*/ 8147521 w 8734227"/>
                <a:gd name="connsiteY323" fmla="*/ 1099482 h 1715383"/>
                <a:gd name="connsiteX324" fmla="*/ 8138309 w 8734227"/>
                <a:gd name="connsiteY324" fmla="*/ 1098249 h 1715383"/>
                <a:gd name="connsiteX325" fmla="*/ 8130018 w 8734227"/>
                <a:gd name="connsiteY325" fmla="*/ 1095165 h 1715383"/>
                <a:gd name="connsiteX326" fmla="*/ 8122956 w 8734227"/>
                <a:gd name="connsiteY326" fmla="*/ 1089613 h 1715383"/>
                <a:gd name="connsiteX327" fmla="*/ 8117428 w 8734227"/>
                <a:gd name="connsiteY327" fmla="*/ 1082520 h 1715383"/>
                <a:gd name="connsiteX328" fmla="*/ 8113743 w 8734227"/>
                <a:gd name="connsiteY328" fmla="*/ 1073884 h 1715383"/>
                <a:gd name="connsiteX329" fmla="*/ 8112515 w 8734227"/>
                <a:gd name="connsiteY329" fmla="*/ 1064631 h 1715383"/>
                <a:gd name="connsiteX330" fmla="*/ 8112515 w 8734227"/>
                <a:gd name="connsiteY330" fmla="*/ 907339 h 1715383"/>
                <a:gd name="connsiteX331" fmla="*/ 8113743 w 8734227"/>
                <a:gd name="connsiteY331" fmla="*/ 897778 h 1715383"/>
                <a:gd name="connsiteX332" fmla="*/ 8117428 w 8734227"/>
                <a:gd name="connsiteY332" fmla="*/ 889451 h 1715383"/>
                <a:gd name="connsiteX333" fmla="*/ 8122956 w 8734227"/>
                <a:gd name="connsiteY333" fmla="*/ 882357 h 1715383"/>
                <a:gd name="connsiteX334" fmla="*/ 8130018 w 8734227"/>
                <a:gd name="connsiteY334" fmla="*/ 876806 h 1715383"/>
                <a:gd name="connsiteX335" fmla="*/ 8138309 w 8734227"/>
                <a:gd name="connsiteY335" fmla="*/ 873105 h 1715383"/>
                <a:gd name="connsiteX336" fmla="*/ 2779051 w 8734227"/>
                <a:gd name="connsiteY336" fmla="*/ 799046 h 1715383"/>
                <a:gd name="connsiteX337" fmla="*/ 2779051 w 8734227"/>
                <a:gd name="connsiteY337" fmla="*/ 994869 h 1715383"/>
                <a:gd name="connsiteX338" fmla="*/ 2575728 w 8734227"/>
                <a:gd name="connsiteY338" fmla="*/ 994869 h 1715383"/>
                <a:gd name="connsiteX339" fmla="*/ 2575706 w 8734227"/>
                <a:gd name="connsiteY339" fmla="*/ 827507 h 1715383"/>
                <a:gd name="connsiteX340" fmla="*/ 6545761 w 8734227"/>
                <a:gd name="connsiteY340" fmla="*/ 779646 h 1715383"/>
                <a:gd name="connsiteX341" fmla="*/ 6571241 w 8734227"/>
                <a:gd name="connsiteY341" fmla="*/ 779646 h 1715383"/>
                <a:gd name="connsiteX342" fmla="*/ 6934512 w 8734227"/>
                <a:gd name="connsiteY342" fmla="*/ 779646 h 1715383"/>
                <a:gd name="connsiteX343" fmla="*/ 6959993 w 8734227"/>
                <a:gd name="connsiteY343" fmla="*/ 779646 h 1715383"/>
                <a:gd name="connsiteX344" fmla="*/ 6959993 w 8734227"/>
                <a:gd name="connsiteY344" fmla="*/ 949666 h 1715383"/>
                <a:gd name="connsiteX345" fmla="*/ 6959220 w 8734227"/>
                <a:gd name="connsiteY345" fmla="*/ 949666 h 1715383"/>
                <a:gd name="connsiteX346" fmla="*/ 6959220 w 8734227"/>
                <a:gd name="connsiteY346" fmla="*/ 1128547 h 1715383"/>
                <a:gd name="connsiteX347" fmla="*/ 6957675 w 8734227"/>
                <a:gd name="connsiteY347" fmla="*/ 1136283 h 1715383"/>
                <a:gd name="connsiteX348" fmla="*/ 6954587 w 8734227"/>
                <a:gd name="connsiteY348" fmla="*/ 1143246 h 1715383"/>
                <a:gd name="connsiteX349" fmla="*/ 6949182 w 8734227"/>
                <a:gd name="connsiteY349" fmla="*/ 1148661 h 1715383"/>
                <a:gd name="connsiteX350" fmla="*/ 6942234 w 8734227"/>
                <a:gd name="connsiteY350" fmla="*/ 1152143 h 1715383"/>
                <a:gd name="connsiteX351" fmla="*/ 6934512 w 8734227"/>
                <a:gd name="connsiteY351" fmla="*/ 1153690 h 1715383"/>
                <a:gd name="connsiteX352" fmla="*/ 6881165 w 8734227"/>
                <a:gd name="connsiteY352" fmla="*/ 1153690 h 1715383"/>
                <a:gd name="connsiteX353" fmla="*/ 6881165 w 8734227"/>
                <a:gd name="connsiteY353" fmla="*/ 1263103 h 1715383"/>
                <a:gd name="connsiteX354" fmla="*/ 6879613 w 8734227"/>
                <a:gd name="connsiteY354" fmla="*/ 1274294 h 1715383"/>
                <a:gd name="connsiteX355" fmla="*/ 6875343 w 8734227"/>
                <a:gd name="connsiteY355" fmla="*/ 1284713 h 1715383"/>
                <a:gd name="connsiteX356" fmla="*/ 6868745 w 8734227"/>
                <a:gd name="connsiteY356" fmla="*/ 1293588 h 1715383"/>
                <a:gd name="connsiteX357" fmla="*/ 6859819 w 8734227"/>
                <a:gd name="connsiteY357" fmla="*/ 1300920 h 1715383"/>
                <a:gd name="connsiteX358" fmla="*/ 6849340 w 8734227"/>
                <a:gd name="connsiteY358" fmla="*/ 1305165 h 1715383"/>
                <a:gd name="connsiteX359" fmla="*/ 6837308 w 8734227"/>
                <a:gd name="connsiteY359" fmla="*/ 1306708 h 1715383"/>
                <a:gd name="connsiteX360" fmla="*/ 6825665 w 8734227"/>
                <a:gd name="connsiteY360" fmla="*/ 1305165 h 1715383"/>
                <a:gd name="connsiteX361" fmla="*/ 6815186 w 8734227"/>
                <a:gd name="connsiteY361" fmla="*/ 1300920 h 1715383"/>
                <a:gd name="connsiteX362" fmla="*/ 6806259 w 8734227"/>
                <a:gd name="connsiteY362" fmla="*/ 1293588 h 1715383"/>
                <a:gd name="connsiteX363" fmla="*/ 6799273 w 8734227"/>
                <a:gd name="connsiteY363" fmla="*/ 1284713 h 1715383"/>
                <a:gd name="connsiteX364" fmla="*/ 6794616 w 8734227"/>
                <a:gd name="connsiteY364" fmla="*/ 1274294 h 1715383"/>
                <a:gd name="connsiteX365" fmla="*/ 6793064 w 8734227"/>
                <a:gd name="connsiteY365" fmla="*/ 1263103 h 1715383"/>
                <a:gd name="connsiteX366" fmla="*/ 6793064 w 8734227"/>
                <a:gd name="connsiteY366" fmla="*/ 1153690 h 1715383"/>
                <a:gd name="connsiteX367" fmla="*/ 6711145 w 8734227"/>
                <a:gd name="connsiteY367" fmla="*/ 1153690 h 1715383"/>
                <a:gd name="connsiteX368" fmla="*/ 6711145 w 8734227"/>
                <a:gd name="connsiteY368" fmla="*/ 1263103 h 1715383"/>
                <a:gd name="connsiteX369" fmla="*/ 6709230 w 8734227"/>
                <a:gd name="connsiteY369" fmla="*/ 1274294 h 1715383"/>
                <a:gd name="connsiteX370" fmla="*/ 6705399 w 8734227"/>
                <a:gd name="connsiteY370" fmla="*/ 1284713 h 1715383"/>
                <a:gd name="connsiteX371" fmla="*/ 6698505 w 8734227"/>
                <a:gd name="connsiteY371" fmla="*/ 1293588 h 1715383"/>
                <a:gd name="connsiteX372" fmla="*/ 6689696 w 8734227"/>
                <a:gd name="connsiteY372" fmla="*/ 1300920 h 1715383"/>
                <a:gd name="connsiteX373" fmla="*/ 6679354 w 8734227"/>
                <a:gd name="connsiteY373" fmla="*/ 1305165 h 1715383"/>
                <a:gd name="connsiteX374" fmla="*/ 6667480 w 8734227"/>
                <a:gd name="connsiteY374" fmla="*/ 1306708 h 1715383"/>
                <a:gd name="connsiteX375" fmla="*/ 6655990 w 8734227"/>
                <a:gd name="connsiteY375" fmla="*/ 1305165 h 1715383"/>
                <a:gd name="connsiteX376" fmla="*/ 6645648 w 8734227"/>
                <a:gd name="connsiteY376" fmla="*/ 1300920 h 1715383"/>
                <a:gd name="connsiteX377" fmla="*/ 6636839 w 8734227"/>
                <a:gd name="connsiteY377" fmla="*/ 1293588 h 1715383"/>
                <a:gd name="connsiteX378" fmla="*/ 6629944 w 8734227"/>
                <a:gd name="connsiteY378" fmla="*/ 1284713 h 1715383"/>
                <a:gd name="connsiteX379" fmla="*/ 6625348 w 8734227"/>
                <a:gd name="connsiteY379" fmla="*/ 1274294 h 1715383"/>
                <a:gd name="connsiteX380" fmla="*/ 6623816 w 8734227"/>
                <a:gd name="connsiteY380" fmla="*/ 1263103 h 1715383"/>
                <a:gd name="connsiteX381" fmla="*/ 6623816 w 8734227"/>
                <a:gd name="connsiteY381" fmla="*/ 1153690 h 1715383"/>
                <a:gd name="connsiteX382" fmla="*/ 6571241 w 8734227"/>
                <a:gd name="connsiteY382" fmla="*/ 1153690 h 1715383"/>
                <a:gd name="connsiteX383" fmla="*/ 6563134 w 8734227"/>
                <a:gd name="connsiteY383" fmla="*/ 1152143 h 1715383"/>
                <a:gd name="connsiteX384" fmla="*/ 6556571 w 8734227"/>
                <a:gd name="connsiteY384" fmla="*/ 1148661 h 1715383"/>
                <a:gd name="connsiteX385" fmla="*/ 6551167 w 8734227"/>
                <a:gd name="connsiteY385" fmla="*/ 1143246 h 1715383"/>
                <a:gd name="connsiteX386" fmla="*/ 6547692 w 8734227"/>
                <a:gd name="connsiteY386" fmla="*/ 1136283 h 1715383"/>
                <a:gd name="connsiteX387" fmla="*/ 6546534 w 8734227"/>
                <a:gd name="connsiteY387" fmla="*/ 1128547 h 1715383"/>
                <a:gd name="connsiteX388" fmla="*/ 6546534 w 8734227"/>
                <a:gd name="connsiteY388" fmla="*/ 949666 h 1715383"/>
                <a:gd name="connsiteX389" fmla="*/ 6545761 w 8734227"/>
                <a:gd name="connsiteY389" fmla="*/ 949666 h 1715383"/>
                <a:gd name="connsiteX390" fmla="*/ 8437587 w 8734227"/>
                <a:gd name="connsiteY390" fmla="*/ 772562 h 1715383"/>
                <a:gd name="connsiteX391" fmla="*/ 8431419 w 8734227"/>
                <a:gd name="connsiteY391" fmla="*/ 774092 h 1715383"/>
                <a:gd name="connsiteX392" fmla="*/ 8425867 w 8734227"/>
                <a:gd name="connsiteY392" fmla="*/ 776846 h 1715383"/>
                <a:gd name="connsiteX393" fmla="*/ 8421858 w 8734227"/>
                <a:gd name="connsiteY393" fmla="*/ 780824 h 1715383"/>
                <a:gd name="connsiteX394" fmla="*/ 8418774 w 8734227"/>
                <a:gd name="connsiteY394" fmla="*/ 786333 h 1715383"/>
                <a:gd name="connsiteX395" fmla="*/ 8417848 w 8734227"/>
                <a:gd name="connsiteY395" fmla="*/ 792453 h 1715383"/>
                <a:gd name="connsiteX396" fmla="*/ 8418774 w 8734227"/>
                <a:gd name="connsiteY396" fmla="*/ 798880 h 1715383"/>
                <a:gd name="connsiteX397" fmla="*/ 8421858 w 8734227"/>
                <a:gd name="connsiteY397" fmla="*/ 804083 h 1715383"/>
                <a:gd name="connsiteX398" fmla="*/ 8425867 w 8734227"/>
                <a:gd name="connsiteY398" fmla="*/ 808367 h 1715383"/>
                <a:gd name="connsiteX399" fmla="*/ 8431419 w 8734227"/>
                <a:gd name="connsiteY399" fmla="*/ 811121 h 1715383"/>
                <a:gd name="connsiteX400" fmla="*/ 8437587 w 8734227"/>
                <a:gd name="connsiteY400" fmla="*/ 812039 h 1715383"/>
                <a:gd name="connsiteX401" fmla="*/ 8443755 w 8734227"/>
                <a:gd name="connsiteY401" fmla="*/ 811121 h 1715383"/>
                <a:gd name="connsiteX402" fmla="*/ 8449307 w 8734227"/>
                <a:gd name="connsiteY402" fmla="*/ 808367 h 1715383"/>
                <a:gd name="connsiteX403" fmla="*/ 8453316 w 8734227"/>
                <a:gd name="connsiteY403" fmla="*/ 804083 h 1715383"/>
                <a:gd name="connsiteX404" fmla="*/ 8456401 w 8734227"/>
                <a:gd name="connsiteY404" fmla="*/ 798880 h 1715383"/>
                <a:gd name="connsiteX405" fmla="*/ 8457326 w 8734227"/>
                <a:gd name="connsiteY405" fmla="*/ 792453 h 1715383"/>
                <a:gd name="connsiteX406" fmla="*/ 8456401 w 8734227"/>
                <a:gd name="connsiteY406" fmla="*/ 786333 h 1715383"/>
                <a:gd name="connsiteX407" fmla="*/ 8453316 w 8734227"/>
                <a:gd name="connsiteY407" fmla="*/ 780824 h 1715383"/>
                <a:gd name="connsiteX408" fmla="*/ 8449307 w 8734227"/>
                <a:gd name="connsiteY408" fmla="*/ 776846 h 1715383"/>
                <a:gd name="connsiteX409" fmla="*/ 8443755 w 8734227"/>
                <a:gd name="connsiteY409" fmla="*/ 774092 h 1715383"/>
                <a:gd name="connsiteX410" fmla="*/ 8293556 w 8734227"/>
                <a:gd name="connsiteY410" fmla="*/ 772562 h 1715383"/>
                <a:gd name="connsiteX411" fmla="*/ 8287388 w 8734227"/>
                <a:gd name="connsiteY411" fmla="*/ 774092 h 1715383"/>
                <a:gd name="connsiteX412" fmla="*/ 8281836 w 8734227"/>
                <a:gd name="connsiteY412" fmla="*/ 776846 h 1715383"/>
                <a:gd name="connsiteX413" fmla="*/ 8277827 w 8734227"/>
                <a:gd name="connsiteY413" fmla="*/ 780824 h 1715383"/>
                <a:gd name="connsiteX414" fmla="*/ 8275360 w 8734227"/>
                <a:gd name="connsiteY414" fmla="*/ 786333 h 1715383"/>
                <a:gd name="connsiteX415" fmla="*/ 8274126 w 8734227"/>
                <a:gd name="connsiteY415" fmla="*/ 792453 h 1715383"/>
                <a:gd name="connsiteX416" fmla="*/ 8275360 w 8734227"/>
                <a:gd name="connsiteY416" fmla="*/ 798880 h 1715383"/>
                <a:gd name="connsiteX417" fmla="*/ 8277827 w 8734227"/>
                <a:gd name="connsiteY417" fmla="*/ 804083 h 1715383"/>
                <a:gd name="connsiteX418" fmla="*/ 8281836 w 8734227"/>
                <a:gd name="connsiteY418" fmla="*/ 808367 h 1715383"/>
                <a:gd name="connsiteX419" fmla="*/ 8287388 w 8734227"/>
                <a:gd name="connsiteY419" fmla="*/ 811121 h 1715383"/>
                <a:gd name="connsiteX420" fmla="*/ 8293556 w 8734227"/>
                <a:gd name="connsiteY420" fmla="*/ 812039 h 1715383"/>
                <a:gd name="connsiteX421" fmla="*/ 8300033 w 8734227"/>
                <a:gd name="connsiteY421" fmla="*/ 811121 h 1715383"/>
                <a:gd name="connsiteX422" fmla="*/ 8305276 w 8734227"/>
                <a:gd name="connsiteY422" fmla="*/ 808367 h 1715383"/>
                <a:gd name="connsiteX423" fmla="*/ 8309902 w 8734227"/>
                <a:gd name="connsiteY423" fmla="*/ 804083 h 1715383"/>
                <a:gd name="connsiteX424" fmla="*/ 8312370 w 8734227"/>
                <a:gd name="connsiteY424" fmla="*/ 798880 h 1715383"/>
                <a:gd name="connsiteX425" fmla="*/ 8313603 w 8734227"/>
                <a:gd name="connsiteY425" fmla="*/ 792453 h 1715383"/>
                <a:gd name="connsiteX426" fmla="*/ 8312370 w 8734227"/>
                <a:gd name="connsiteY426" fmla="*/ 786333 h 1715383"/>
                <a:gd name="connsiteX427" fmla="*/ 8309902 w 8734227"/>
                <a:gd name="connsiteY427" fmla="*/ 780824 h 1715383"/>
                <a:gd name="connsiteX428" fmla="*/ 8305276 w 8734227"/>
                <a:gd name="connsiteY428" fmla="*/ 776846 h 1715383"/>
                <a:gd name="connsiteX429" fmla="*/ 8300033 w 8734227"/>
                <a:gd name="connsiteY429" fmla="*/ 774092 h 1715383"/>
                <a:gd name="connsiteX430" fmla="*/ 7025488 w 8734227"/>
                <a:gd name="connsiteY430" fmla="*/ 765735 h 1715383"/>
                <a:gd name="connsiteX431" fmla="*/ 7037131 w 8734227"/>
                <a:gd name="connsiteY431" fmla="*/ 767281 h 1715383"/>
                <a:gd name="connsiteX432" fmla="*/ 7048387 w 8734227"/>
                <a:gd name="connsiteY432" fmla="*/ 771918 h 1715383"/>
                <a:gd name="connsiteX433" fmla="*/ 7057313 w 8734227"/>
                <a:gd name="connsiteY433" fmla="*/ 778873 h 1715383"/>
                <a:gd name="connsiteX434" fmla="*/ 7063911 w 8734227"/>
                <a:gd name="connsiteY434" fmla="*/ 787761 h 1715383"/>
                <a:gd name="connsiteX435" fmla="*/ 7068181 w 8734227"/>
                <a:gd name="connsiteY435" fmla="*/ 798193 h 1715383"/>
                <a:gd name="connsiteX436" fmla="*/ 7069733 w 8734227"/>
                <a:gd name="connsiteY436" fmla="*/ 810172 h 1715383"/>
                <a:gd name="connsiteX437" fmla="*/ 7069733 w 8734227"/>
                <a:gd name="connsiteY437" fmla="*/ 1007241 h 1715383"/>
                <a:gd name="connsiteX438" fmla="*/ 7068181 w 8734227"/>
                <a:gd name="connsiteY438" fmla="*/ 1018833 h 1715383"/>
                <a:gd name="connsiteX439" fmla="*/ 7063911 w 8734227"/>
                <a:gd name="connsiteY439" fmla="*/ 1029653 h 1715383"/>
                <a:gd name="connsiteX440" fmla="*/ 7057313 w 8734227"/>
                <a:gd name="connsiteY440" fmla="*/ 1038540 h 1715383"/>
                <a:gd name="connsiteX441" fmla="*/ 7048387 w 8734227"/>
                <a:gd name="connsiteY441" fmla="*/ 1045496 h 1715383"/>
                <a:gd name="connsiteX442" fmla="*/ 7037131 w 8734227"/>
                <a:gd name="connsiteY442" fmla="*/ 1049360 h 1715383"/>
                <a:gd name="connsiteX443" fmla="*/ 7025488 w 8734227"/>
                <a:gd name="connsiteY443" fmla="*/ 1050905 h 1715383"/>
                <a:gd name="connsiteX444" fmla="*/ 7014233 w 8734227"/>
                <a:gd name="connsiteY444" fmla="*/ 1049360 h 1715383"/>
                <a:gd name="connsiteX445" fmla="*/ 7003754 w 8734227"/>
                <a:gd name="connsiteY445" fmla="*/ 1045496 h 1715383"/>
                <a:gd name="connsiteX446" fmla="*/ 6994827 w 8734227"/>
                <a:gd name="connsiteY446" fmla="*/ 1038540 h 1715383"/>
                <a:gd name="connsiteX447" fmla="*/ 6987453 w 8734227"/>
                <a:gd name="connsiteY447" fmla="*/ 1029653 h 1715383"/>
                <a:gd name="connsiteX448" fmla="*/ 6983184 w 8734227"/>
                <a:gd name="connsiteY448" fmla="*/ 1018833 h 1715383"/>
                <a:gd name="connsiteX449" fmla="*/ 6981632 w 8734227"/>
                <a:gd name="connsiteY449" fmla="*/ 1007241 h 1715383"/>
                <a:gd name="connsiteX450" fmla="*/ 6981632 w 8734227"/>
                <a:gd name="connsiteY450" fmla="*/ 810172 h 1715383"/>
                <a:gd name="connsiteX451" fmla="*/ 6983184 w 8734227"/>
                <a:gd name="connsiteY451" fmla="*/ 798193 h 1715383"/>
                <a:gd name="connsiteX452" fmla="*/ 6987453 w 8734227"/>
                <a:gd name="connsiteY452" fmla="*/ 787761 h 1715383"/>
                <a:gd name="connsiteX453" fmla="*/ 6994827 w 8734227"/>
                <a:gd name="connsiteY453" fmla="*/ 778873 h 1715383"/>
                <a:gd name="connsiteX454" fmla="*/ 7003754 w 8734227"/>
                <a:gd name="connsiteY454" fmla="*/ 771918 h 1715383"/>
                <a:gd name="connsiteX455" fmla="*/ 7014233 w 8734227"/>
                <a:gd name="connsiteY455" fmla="*/ 767281 h 1715383"/>
                <a:gd name="connsiteX456" fmla="*/ 6479106 w 8734227"/>
                <a:gd name="connsiteY456" fmla="*/ 765735 h 1715383"/>
                <a:gd name="connsiteX457" fmla="*/ 6491033 w 8734227"/>
                <a:gd name="connsiteY457" fmla="*/ 767281 h 1715383"/>
                <a:gd name="connsiteX458" fmla="*/ 6501421 w 8734227"/>
                <a:gd name="connsiteY458" fmla="*/ 771918 h 1715383"/>
                <a:gd name="connsiteX459" fmla="*/ 6510269 w 8734227"/>
                <a:gd name="connsiteY459" fmla="*/ 778873 h 1715383"/>
                <a:gd name="connsiteX460" fmla="*/ 6517194 w 8734227"/>
                <a:gd name="connsiteY460" fmla="*/ 787761 h 1715383"/>
                <a:gd name="connsiteX461" fmla="*/ 6521811 w 8734227"/>
                <a:gd name="connsiteY461" fmla="*/ 798193 h 1715383"/>
                <a:gd name="connsiteX462" fmla="*/ 6523349 w 8734227"/>
                <a:gd name="connsiteY462" fmla="*/ 810172 h 1715383"/>
                <a:gd name="connsiteX463" fmla="*/ 6523349 w 8734227"/>
                <a:gd name="connsiteY463" fmla="*/ 1007241 h 1715383"/>
                <a:gd name="connsiteX464" fmla="*/ 6521811 w 8734227"/>
                <a:gd name="connsiteY464" fmla="*/ 1018833 h 1715383"/>
                <a:gd name="connsiteX465" fmla="*/ 6517194 w 8734227"/>
                <a:gd name="connsiteY465" fmla="*/ 1029653 h 1715383"/>
                <a:gd name="connsiteX466" fmla="*/ 6510269 w 8734227"/>
                <a:gd name="connsiteY466" fmla="*/ 1038540 h 1715383"/>
                <a:gd name="connsiteX467" fmla="*/ 6501421 w 8734227"/>
                <a:gd name="connsiteY467" fmla="*/ 1045496 h 1715383"/>
                <a:gd name="connsiteX468" fmla="*/ 6491033 w 8734227"/>
                <a:gd name="connsiteY468" fmla="*/ 1049360 h 1715383"/>
                <a:gd name="connsiteX469" fmla="*/ 6479106 w 8734227"/>
                <a:gd name="connsiteY469" fmla="*/ 1050905 h 1715383"/>
                <a:gd name="connsiteX470" fmla="*/ 6467565 w 8734227"/>
                <a:gd name="connsiteY470" fmla="*/ 1049360 h 1715383"/>
                <a:gd name="connsiteX471" fmla="*/ 6457177 w 8734227"/>
                <a:gd name="connsiteY471" fmla="*/ 1045496 h 1715383"/>
                <a:gd name="connsiteX472" fmla="*/ 6448329 w 8734227"/>
                <a:gd name="connsiteY472" fmla="*/ 1038540 h 1715383"/>
                <a:gd name="connsiteX473" fmla="*/ 6441404 w 8734227"/>
                <a:gd name="connsiteY473" fmla="*/ 1029653 h 1715383"/>
                <a:gd name="connsiteX474" fmla="*/ 6436787 w 8734227"/>
                <a:gd name="connsiteY474" fmla="*/ 1018833 h 1715383"/>
                <a:gd name="connsiteX475" fmla="*/ 6435248 w 8734227"/>
                <a:gd name="connsiteY475" fmla="*/ 1007241 h 1715383"/>
                <a:gd name="connsiteX476" fmla="*/ 6435248 w 8734227"/>
                <a:gd name="connsiteY476" fmla="*/ 810172 h 1715383"/>
                <a:gd name="connsiteX477" fmla="*/ 6436787 w 8734227"/>
                <a:gd name="connsiteY477" fmla="*/ 798193 h 1715383"/>
                <a:gd name="connsiteX478" fmla="*/ 6441404 w 8734227"/>
                <a:gd name="connsiteY478" fmla="*/ 787761 h 1715383"/>
                <a:gd name="connsiteX479" fmla="*/ 6448329 w 8734227"/>
                <a:gd name="connsiteY479" fmla="*/ 778873 h 1715383"/>
                <a:gd name="connsiteX480" fmla="*/ 6457177 w 8734227"/>
                <a:gd name="connsiteY480" fmla="*/ 771918 h 1715383"/>
                <a:gd name="connsiteX481" fmla="*/ 6467565 w 8734227"/>
                <a:gd name="connsiteY481" fmla="*/ 767281 h 1715383"/>
                <a:gd name="connsiteX482" fmla="*/ 5234778 w 8734227"/>
                <a:gd name="connsiteY482" fmla="*/ 759063 h 1715383"/>
                <a:gd name="connsiteX483" fmla="*/ 5209318 w 8734227"/>
                <a:gd name="connsiteY483" fmla="*/ 838744 h 1715383"/>
                <a:gd name="connsiteX484" fmla="*/ 5135967 w 8734227"/>
                <a:gd name="connsiteY484" fmla="*/ 873682 h 1715383"/>
                <a:gd name="connsiteX485" fmla="*/ 5157184 w 8734227"/>
                <a:gd name="connsiteY485" fmla="*/ 802581 h 1715383"/>
                <a:gd name="connsiteX486" fmla="*/ 5234778 w 8734227"/>
                <a:gd name="connsiteY486" fmla="*/ 759063 h 1715383"/>
                <a:gd name="connsiteX487" fmla="*/ 3071934 w 8734227"/>
                <a:gd name="connsiteY487" fmla="*/ 758052 h 1715383"/>
                <a:gd name="connsiteX488" fmla="*/ 3072332 w 8734227"/>
                <a:gd name="connsiteY488" fmla="*/ 994869 h 1715383"/>
                <a:gd name="connsiteX489" fmla="*/ 2804155 w 8734227"/>
                <a:gd name="connsiteY489" fmla="*/ 994869 h 1715383"/>
                <a:gd name="connsiteX490" fmla="*/ 2804155 w 8734227"/>
                <a:gd name="connsiteY490" fmla="*/ 795532 h 1715383"/>
                <a:gd name="connsiteX491" fmla="*/ 1093130 w 8734227"/>
                <a:gd name="connsiteY491" fmla="*/ 713799 h 1715383"/>
                <a:gd name="connsiteX492" fmla="*/ 1093130 w 8734227"/>
                <a:gd name="connsiteY492" fmla="*/ 982883 h 1715383"/>
                <a:gd name="connsiteX493" fmla="*/ 813740 w 8734227"/>
                <a:gd name="connsiteY493" fmla="*/ 982883 h 1715383"/>
                <a:gd name="connsiteX494" fmla="*/ 813710 w 8734227"/>
                <a:gd name="connsiteY494" fmla="*/ 752908 h 1715383"/>
                <a:gd name="connsiteX495" fmla="*/ 8262676 w 8734227"/>
                <a:gd name="connsiteY495" fmla="*/ 695457 h 1715383"/>
                <a:gd name="connsiteX496" fmla="*/ 8263593 w 8734227"/>
                <a:gd name="connsiteY496" fmla="*/ 695770 h 1715383"/>
                <a:gd name="connsiteX497" fmla="*/ 8263899 w 8734227"/>
                <a:gd name="connsiteY497" fmla="*/ 695770 h 1715383"/>
                <a:gd name="connsiteX498" fmla="*/ 8292641 w 8734227"/>
                <a:gd name="connsiteY498" fmla="*/ 737285 h 1715383"/>
                <a:gd name="connsiteX499" fmla="*/ 8297874 w 8734227"/>
                <a:gd name="connsiteY499" fmla="*/ 735220 h 1715383"/>
                <a:gd name="connsiteX500" fmla="*/ 8312986 w 8734227"/>
                <a:gd name="connsiteY500" fmla="*/ 730912 h 1715383"/>
                <a:gd name="connsiteX501" fmla="*/ 8328715 w 8734227"/>
                <a:gd name="connsiteY501" fmla="*/ 727527 h 1715383"/>
                <a:gd name="connsiteX502" fmla="*/ 8346604 w 8734227"/>
                <a:gd name="connsiteY502" fmla="*/ 725681 h 1715383"/>
                <a:gd name="connsiteX503" fmla="*/ 8365726 w 8734227"/>
                <a:gd name="connsiteY503" fmla="*/ 725065 h 1715383"/>
                <a:gd name="connsiteX504" fmla="*/ 8385465 w 8734227"/>
                <a:gd name="connsiteY504" fmla="*/ 725988 h 1715383"/>
                <a:gd name="connsiteX505" fmla="*/ 8403661 w 8734227"/>
                <a:gd name="connsiteY505" fmla="*/ 728142 h 1715383"/>
                <a:gd name="connsiteX506" fmla="*/ 8420624 w 8734227"/>
                <a:gd name="connsiteY506" fmla="*/ 731835 h 1715383"/>
                <a:gd name="connsiteX507" fmla="*/ 8435428 w 8734227"/>
                <a:gd name="connsiteY507" fmla="*/ 736451 h 1715383"/>
                <a:gd name="connsiteX508" fmla="*/ 8438249 w 8734227"/>
                <a:gd name="connsiteY508" fmla="*/ 737667 h 1715383"/>
                <a:gd name="connsiteX509" fmla="*/ 8467449 w 8734227"/>
                <a:gd name="connsiteY509" fmla="*/ 695770 h 1715383"/>
                <a:gd name="connsiteX510" fmla="*/ 8468071 w 8734227"/>
                <a:gd name="connsiteY510" fmla="*/ 695770 h 1715383"/>
                <a:gd name="connsiteX511" fmla="*/ 8468693 w 8734227"/>
                <a:gd name="connsiteY511" fmla="*/ 695457 h 1715383"/>
                <a:gd name="connsiteX512" fmla="*/ 8469626 w 8734227"/>
                <a:gd name="connsiteY512" fmla="*/ 695770 h 1715383"/>
                <a:gd name="connsiteX513" fmla="*/ 8470870 w 8734227"/>
                <a:gd name="connsiteY513" fmla="*/ 695770 h 1715383"/>
                <a:gd name="connsiteX514" fmla="*/ 8471803 w 8734227"/>
                <a:gd name="connsiteY514" fmla="*/ 696707 h 1715383"/>
                <a:gd name="connsiteX515" fmla="*/ 8472736 w 8734227"/>
                <a:gd name="connsiteY515" fmla="*/ 697332 h 1715383"/>
                <a:gd name="connsiteX516" fmla="*/ 8473358 w 8734227"/>
                <a:gd name="connsiteY516" fmla="*/ 698268 h 1715383"/>
                <a:gd name="connsiteX517" fmla="*/ 8473980 w 8734227"/>
                <a:gd name="connsiteY517" fmla="*/ 699518 h 1715383"/>
                <a:gd name="connsiteX518" fmla="*/ 8473358 w 8734227"/>
                <a:gd name="connsiteY518" fmla="*/ 700143 h 1715383"/>
                <a:gd name="connsiteX519" fmla="*/ 8445137 w 8734227"/>
                <a:gd name="connsiteY519" fmla="*/ 740635 h 1715383"/>
                <a:gd name="connsiteX520" fmla="*/ 8448998 w 8734227"/>
                <a:gd name="connsiteY520" fmla="*/ 742298 h 1715383"/>
                <a:gd name="connsiteX521" fmla="*/ 8461335 w 8734227"/>
                <a:gd name="connsiteY521" fmla="*/ 748760 h 1715383"/>
                <a:gd name="connsiteX522" fmla="*/ 8472129 w 8734227"/>
                <a:gd name="connsiteY522" fmla="*/ 755838 h 1715383"/>
                <a:gd name="connsiteX523" fmla="*/ 8481691 w 8734227"/>
                <a:gd name="connsiteY523" fmla="*/ 763839 h 1715383"/>
                <a:gd name="connsiteX524" fmla="*/ 8490018 w 8734227"/>
                <a:gd name="connsiteY524" fmla="*/ 772456 h 1715383"/>
                <a:gd name="connsiteX525" fmla="*/ 8497728 w 8734227"/>
                <a:gd name="connsiteY525" fmla="*/ 781072 h 1715383"/>
                <a:gd name="connsiteX526" fmla="*/ 8504205 w 8734227"/>
                <a:gd name="connsiteY526" fmla="*/ 789997 h 1715383"/>
                <a:gd name="connsiteX527" fmla="*/ 8509757 w 8734227"/>
                <a:gd name="connsiteY527" fmla="*/ 799229 h 1715383"/>
                <a:gd name="connsiteX528" fmla="*/ 8514383 w 8734227"/>
                <a:gd name="connsiteY528" fmla="*/ 808153 h 1715383"/>
                <a:gd name="connsiteX529" fmla="*/ 8518084 w 8734227"/>
                <a:gd name="connsiteY529" fmla="*/ 817077 h 1715383"/>
                <a:gd name="connsiteX530" fmla="*/ 8521477 w 8734227"/>
                <a:gd name="connsiteY530" fmla="*/ 825386 h 1715383"/>
                <a:gd name="connsiteX531" fmla="*/ 8523944 w 8734227"/>
                <a:gd name="connsiteY531" fmla="*/ 833079 h 1715383"/>
                <a:gd name="connsiteX532" fmla="*/ 8526103 w 8734227"/>
                <a:gd name="connsiteY532" fmla="*/ 840773 h 1715383"/>
                <a:gd name="connsiteX533" fmla="*/ 8527336 w 8734227"/>
                <a:gd name="connsiteY533" fmla="*/ 846927 h 1715383"/>
                <a:gd name="connsiteX534" fmla="*/ 8528262 w 8734227"/>
                <a:gd name="connsiteY534" fmla="*/ 852774 h 1715383"/>
                <a:gd name="connsiteX535" fmla="*/ 8528879 w 8734227"/>
                <a:gd name="connsiteY535" fmla="*/ 857390 h 1715383"/>
                <a:gd name="connsiteX536" fmla="*/ 8529495 w 8734227"/>
                <a:gd name="connsiteY536" fmla="*/ 861083 h 1715383"/>
                <a:gd name="connsiteX537" fmla="*/ 8529495 w 8734227"/>
                <a:gd name="connsiteY537" fmla="*/ 862929 h 1715383"/>
                <a:gd name="connsiteX538" fmla="*/ 8529495 w 8734227"/>
                <a:gd name="connsiteY538" fmla="*/ 863853 h 1715383"/>
                <a:gd name="connsiteX539" fmla="*/ 8201956 w 8734227"/>
                <a:gd name="connsiteY539" fmla="*/ 863853 h 1715383"/>
                <a:gd name="connsiteX540" fmla="*/ 8201956 w 8734227"/>
                <a:gd name="connsiteY540" fmla="*/ 862929 h 1715383"/>
                <a:gd name="connsiteX541" fmla="*/ 8201956 w 8734227"/>
                <a:gd name="connsiteY541" fmla="*/ 861083 h 1715383"/>
                <a:gd name="connsiteX542" fmla="*/ 8202265 w 8734227"/>
                <a:gd name="connsiteY542" fmla="*/ 857698 h 1715383"/>
                <a:gd name="connsiteX543" fmla="*/ 8203190 w 8734227"/>
                <a:gd name="connsiteY543" fmla="*/ 853390 h 1715383"/>
                <a:gd name="connsiteX544" fmla="*/ 8204115 w 8734227"/>
                <a:gd name="connsiteY544" fmla="*/ 848158 h 1715383"/>
                <a:gd name="connsiteX545" fmla="*/ 8204732 w 8734227"/>
                <a:gd name="connsiteY545" fmla="*/ 842004 h 1715383"/>
                <a:gd name="connsiteX546" fmla="*/ 8206582 w 8734227"/>
                <a:gd name="connsiteY546" fmla="*/ 835233 h 1715383"/>
                <a:gd name="connsiteX547" fmla="*/ 8209050 w 8734227"/>
                <a:gd name="connsiteY547" fmla="*/ 827848 h 1715383"/>
                <a:gd name="connsiteX548" fmla="*/ 8211517 w 8734227"/>
                <a:gd name="connsiteY548" fmla="*/ 819847 h 1715383"/>
                <a:gd name="connsiteX549" fmla="*/ 8214910 w 8734227"/>
                <a:gd name="connsiteY549" fmla="*/ 811538 h 1715383"/>
                <a:gd name="connsiteX550" fmla="*/ 8218919 w 8734227"/>
                <a:gd name="connsiteY550" fmla="*/ 802922 h 1715383"/>
                <a:gd name="connsiteX551" fmla="*/ 8223546 w 8734227"/>
                <a:gd name="connsiteY551" fmla="*/ 793997 h 1715383"/>
                <a:gd name="connsiteX552" fmla="*/ 8229405 w 8734227"/>
                <a:gd name="connsiteY552" fmla="*/ 785688 h 1715383"/>
                <a:gd name="connsiteX553" fmla="*/ 8236190 w 8734227"/>
                <a:gd name="connsiteY553" fmla="*/ 777072 h 1715383"/>
                <a:gd name="connsiteX554" fmla="*/ 8243592 w 8734227"/>
                <a:gd name="connsiteY554" fmla="*/ 768763 h 1715383"/>
                <a:gd name="connsiteX555" fmla="*/ 8251920 w 8734227"/>
                <a:gd name="connsiteY555" fmla="*/ 760762 h 1715383"/>
                <a:gd name="connsiteX556" fmla="*/ 8261481 w 8734227"/>
                <a:gd name="connsiteY556" fmla="*/ 753376 h 1715383"/>
                <a:gd name="connsiteX557" fmla="*/ 8272275 w 8734227"/>
                <a:gd name="connsiteY557" fmla="*/ 746606 h 1715383"/>
                <a:gd name="connsiteX558" fmla="*/ 8284612 w 8734227"/>
                <a:gd name="connsiteY558" fmla="*/ 740452 h 1715383"/>
                <a:gd name="connsiteX559" fmla="*/ 8285699 w 8734227"/>
                <a:gd name="connsiteY559" fmla="*/ 740023 h 1715383"/>
                <a:gd name="connsiteX560" fmla="*/ 8258088 w 8734227"/>
                <a:gd name="connsiteY560" fmla="*/ 700143 h 1715383"/>
                <a:gd name="connsiteX561" fmla="*/ 8258088 w 8734227"/>
                <a:gd name="connsiteY561" fmla="*/ 699518 h 1715383"/>
                <a:gd name="connsiteX562" fmla="*/ 8258088 w 8734227"/>
                <a:gd name="connsiteY562" fmla="*/ 698268 h 1715383"/>
                <a:gd name="connsiteX563" fmla="*/ 8259006 w 8734227"/>
                <a:gd name="connsiteY563" fmla="*/ 697332 h 1715383"/>
                <a:gd name="connsiteX564" fmla="*/ 8260229 w 8734227"/>
                <a:gd name="connsiteY564" fmla="*/ 696707 h 1715383"/>
                <a:gd name="connsiteX565" fmla="*/ 8260841 w 8734227"/>
                <a:gd name="connsiteY565" fmla="*/ 695770 h 1715383"/>
                <a:gd name="connsiteX566" fmla="*/ 8261758 w 8734227"/>
                <a:gd name="connsiteY566" fmla="*/ 695770 h 1715383"/>
                <a:gd name="connsiteX567" fmla="*/ 1495584 w 8734227"/>
                <a:gd name="connsiteY567" fmla="*/ 657469 h 1715383"/>
                <a:gd name="connsiteX568" fmla="*/ 1496132 w 8734227"/>
                <a:gd name="connsiteY568" fmla="*/ 982883 h 1715383"/>
                <a:gd name="connsiteX569" fmla="*/ 1127626 w 8734227"/>
                <a:gd name="connsiteY569" fmla="*/ 982883 h 1715383"/>
                <a:gd name="connsiteX570" fmla="*/ 1127626 w 8734227"/>
                <a:gd name="connsiteY570" fmla="*/ 708970 h 1715383"/>
                <a:gd name="connsiteX571" fmla="*/ 4171486 w 8734227"/>
                <a:gd name="connsiteY571" fmla="*/ 652571 h 1715383"/>
                <a:gd name="connsiteX572" fmla="*/ 4323878 w 8734227"/>
                <a:gd name="connsiteY572" fmla="*/ 731098 h 1715383"/>
                <a:gd name="connsiteX573" fmla="*/ 4239535 w 8734227"/>
                <a:gd name="connsiteY573" fmla="*/ 880396 h 1715383"/>
                <a:gd name="connsiteX574" fmla="*/ 4344963 w 8734227"/>
                <a:gd name="connsiteY574" fmla="*/ 1040357 h 1715383"/>
                <a:gd name="connsiteX575" fmla="*/ 4172445 w 8734227"/>
                <a:gd name="connsiteY575" fmla="*/ 1248792 h 1715383"/>
                <a:gd name="connsiteX576" fmla="*/ 4044015 w 8734227"/>
                <a:gd name="connsiteY576" fmla="*/ 1217769 h 1715383"/>
                <a:gd name="connsiteX577" fmla="*/ 3914626 w 8734227"/>
                <a:gd name="connsiteY577" fmla="*/ 1250731 h 1715383"/>
                <a:gd name="connsiteX578" fmla="*/ 3710479 w 8734227"/>
                <a:gd name="connsiteY578" fmla="*/ 893968 h 1715383"/>
                <a:gd name="connsiteX579" fmla="*/ 3897374 w 8734227"/>
                <a:gd name="connsiteY579" fmla="*/ 654510 h 1715383"/>
                <a:gd name="connsiteX580" fmla="*/ 4033472 w 8734227"/>
                <a:gd name="connsiteY580" fmla="*/ 689411 h 1715383"/>
                <a:gd name="connsiteX581" fmla="*/ 4171486 w 8734227"/>
                <a:gd name="connsiteY581" fmla="*/ 652571 h 1715383"/>
                <a:gd name="connsiteX582" fmla="*/ 6842525 w 8734227"/>
                <a:gd name="connsiteY582" fmla="*/ 641312 h 1715383"/>
                <a:gd name="connsiteX583" fmla="*/ 6834796 w 8734227"/>
                <a:gd name="connsiteY583" fmla="*/ 643229 h 1715383"/>
                <a:gd name="connsiteX584" fmla="*/ 6827841 w 8734227"/>
                <a:gd name="connsiteY584" fmla="*/ 646680 h 1715383"/>
                <a:gd name="connsiteX585" fmla="*/ 6822818 w 8734227"/>
                <a:gd name="connsiteY585" fmla="*/ 651664 h 1715383"/>
                <a:gd name="connsiteX586" fmla="*/ 6818953 w 8734227"/>
                <a:gd name="connsiteY586" fmla="*/ 658566 h 1715383"/>
                <a:gd name="connsiteX587" fmla="*/ 6817794 w 8734227"/>
                <a:gd name="connsiteY587" fmla="*/ 666234 h 1715383"/>
                <a:gd name="connsiteX588" fmla="*/ 6818953 w 8734227"/>
                <a:gd name="connsiteY588" fmla="*/ 674286 h 1715383"/>
                <a:gd name="connsiteX589" fmla="*/ 6822818 w 8734227"/>
                <a:gd name="connsiteY589" fmla="*/ 680804 h 1715383"/>
                <a:gd name="connsiteX590" fmla="*/ 6827841 w 8734227"/>
                <a:gd name="connsiteY590" fmla="*/ 686172 h 1715383"/>
                <a:gd name="connsiteX591" fmla="*/ 6834796 w 8734227"/>
                <a:gd name="connsiteY591" fmla="*/ 689622 h 1715383"/>
                <a:gd name="connsiteX592" fmla="*/ 6842525 w 8734227"/>
                <a:gd name="connsiteY592" fmla="*/ 690772 h 1715383"/>
                <a:gd name="connsiteX593" fmla="*/ 6850253 w 8734227"/>
                <a:gd name="connsiteY593" fmla="*/ 689622 h 1715383"/>
                <a:gd name="connsiteX594" fmla="*/ 6857208 w 8734227"/>
                <a:gd name="connsiteY594" fmla="*/ 686172 h 1715383"/>
                <a:gd name="connsiteX595" fmla="*/ 6862231 w 8734227"/>
                <a:gd name="connsiteY595" fmla="*/ 680804 h 1715383"/>
                <a:gd name="connsiteX596" fmla="*/ 6866096 w 8734227"/>
                <a:gd name="connsiteY596" fmla="*/ 674286 h 1715383"/>
                <a:gd name="connsiteX597" fmla="*/ 6867255 w 8734227"/>
                <a:gd name="connsiteY597" fmla="*/ 666234 h 1715383"/>
                <a:gd name="connsiteX598" fmla="*/ 6866096 w 8734227"/>
                <a:gd name="connsiteY598" fmla="*/ 658566 h 1715383"/>
                <a:gd name="connsiteX599" fmla="*/ 6862231 w 8734227"/>
                <a:gd name="connsiteY599" fmla="*/ 651664 h 1715383"/>
                <a:gd name="connsiteX600" fmla="*/ 6857208 w 8734227"/>
                <a:gd name="connsiteY600" fmla="*/ 646680 h 1715383"/>
                <a:gd name="connsiteX601" fmla="*/ 6850253 w 8734227"/>
                <a:gd name="connsiteY601" fmla="*/ 643229 h 1715383"/>
                <a:gd name="connsiteX602" fmla="*/ 6662071 w 8734227"/>
                <a:gd name="connsiteY602" fmla="*/ 641312 h 1715383"/>
                <a:gd name="connsiteX603" fmla="*/ 6654343 w 8734227"/>
                <a:gd name="connsiteY603" fmla="*/ 643229 h 1715383"/>
                <a:gd name="connsiteX604" fmla="*/ 6647388 w 8734227"/>
                <a:gd name="connsiteY604" fmla="*/ 646680 h 1715383"/>
                <a:gd name="connsiteX605" fmla="*/ 6642364 w 8734227"/>
                <a:gd name="connsiteY605" fmla="*/ 651664 h 1715383"/>
                <a:gd name="connsiteX606" fmla="*/ 6639273 w 8734227"/>
                <a:gd name="connsiteY606" fmla="*/ 658566 h 1715383"/>
                <a:gd name="connsiteX607" fmla="*/ 6637727 w 8734227"/>
                <a:gd name="connsiteY607" fmla="*/ 666234 h 1715383"/>
                <a:gd name="connsiteX608" fmla="*/ 6639273 w 8734227"/>
                <a:gd name="connsiteY608" fmla="*/ 674286 h 1715383"/>
                <a:gd name="connsiteX609" fmla="*/ 6642364 w 8734227"/>
                <a:gd name="connsiteY609" fmla="*/ 680804 h 1715383"/>
                <a:gd name="connsiteX610" fmla="*/ 6647388 w 8734227"/>
                <a:gd name="connsiteY610" fmla="*/ 686172 h 1715383"/>
                <a:gd name="connsiteX611" fmla="*/ 6654343 w 8734227"/>
                <a:gd name="connsiteY611" fmla="*/ 689622 h 1715383"/>
                <a:gd name="connsiteX612" fmla="*/ 6662071 w 8734227"/>
                <a:gd name="connsiteY612" fmla="*/ 690772 h 1715383"/>
                <a:gd name="connsiteX613" fmla="*/ 6670186 w 8734227"/>
                <a:gd name="connsiteY613" fmla="*/ 689622 h 1715383"/>
                <a:gd name="connsiteX614" fmla="*/ 6676755 w 8734227"/>
                <a:gd name="connsiteY614" fmla="*/ 686172 h 1715383"/>
                <a:gd name="connsiteX615" fmla="*/ 6682551 w 8734227"/>
                <a:gd name="connsiteY615" fmla="*/ 680804 h 1715383"/>
                <a:gd name="connsiteX616" fmla="*/ 6685642 w 8734227"/>
                <a:gd name="connsiteY616" fmla="*/ 674286 h 1715383"/>
                <a:gd name="connsiteX617" fmla="*/ 6687188 w 8734227"/>
                <a:gd name="connsiteY617" fmla="*/ 666234 h 1715383"/>
                <a:gd name="connsiteX618" fmla="*/ 6685642 w 8734227"/>
                <a:gd name="connsiteY618" fmla="*/ 658566 h 1715383"/>
                <a:gd name="connsiteX619" fmla="*/ 6682551 w 8734227"/>
                <a:gd name="connsiteY619" fmla="*/ 651664 h 1715383"/>
                <a:gd name="connsiteX620" fmla="*/ 6676755 w 8734227"/>
                <a:gd name="connsiteY620" fmla="*/ 646680 h 1715383"/>
                <a:gd name="connsiteX621" fmla="*/ 6670186 w 8734227"/>
                <a:gd name="connsiteY621" fmla="*/ 643229 h 1715383"/>
                <a:gd name="connsiteX622" fmla="*/ 4828217 w 8734227"/>
                <a:gd name="connsiteY622" fmla="*/ 546687 h 1715383"/>
                <a:gd name="connsiteX623" fmla="*/ 4828217 w 8734227"/>
                <a:gd name="connsiteY623" fmla="*/ 1471905 h 1715383"/>
                <a:gd name="connsiteX624" fmla="*/ 5444866 w 8734227"/>
                <a:gd name="connsiteY624" fmla="*/ 1471905 h 1715383"/>
                <a:gd name="connsiteX625" fmla="*/ 5444866 w 8734227"/>
                <a:gd name="connsiteY625" fmla="*/ 546687 h 1715383"/>
                <a:gd name="connsiteX626" fmla="*/ 6623381 w 8734227"/>
                <a:gd name="connsiteY626" fmla="*/ 544709 h 1715383"/>
                <a:gd name="connsiteX627" fmla="*/ 6624531 w 8734227"/>
                <a:gd name="connsiteY627" fmla="*/ 545101 h 1715383"/>
                <a:gd name="connsiteX628" fmla="*/ 6624914 w 8734227"/>
                <a:gd name="connsiteY628" fmla="*/ 545101 h 1715383"/>
                <a:gd name="connsiteX629" fmla="*/ 6660924 w 8734227"/>
                <a:gd name="connsiteY629" fmla="*/ 597114 h 1715383"/>
                <a:gd name="connsiteX630" fmla="*/ 6667480 w 8734227"/>
                <a:gd name="connsiteY630" fmla="*/ 594528 h 1715383"/>
                <a:gd name="connsiteX631" fmla="*/ 6686415 w 8734227"/>
                <a:gd name="connsiteY631" fmla="*/ 589130 h 1715383"/>
                <a:gd name="connsiteX632" fmla="*/ 6706121 w 8734227"/>
                <a:gd name="connsiteY632" fmla="*/ 584889 h 1715383"/>
                <a:gd name="connsiteX633" fmla="*/ 6728533 w 8734227"/>
                <a:gd name="connsiteY633" fmla="*/ 582576 h 1715383"/>
                <a:gd name="connsiteX634" fmla="*/ 6752491 w 8734227"/>
                <a:gd name="connsiteY634" fmla="*/ 581804 h 1715383"/>
                <a:gd name="connsiteX635" fmla="*/ 6777221 w 8734227"/>
                <a:gd name="connsiteY635" fmla="*/ 582961 h 1715383"/>
                <a:gd name="connsiteX636" fmla="*/ 6800019 w 8734227"/>
                <a:gd name="connsiteY636" fmla="*/ 585660 h 1715383"/>
                <a:gd name="connsiteX637" fmla="*/ 6821272 w 8734227"/>
                <a:gd name="connsiteY637" fmla="*/ 590287 h 1715383"/>
                <a:gd name="connsiteX638" fmla="*/ 6839819 w 8734227"/>
                <a:gd name="connsiteY638" fmla="*/ 596070 h 1715383"/>
                <a:gd name="connsiteX639" fmla="*/ 6843354 w 8734227"/>
                <a:gd name="connsiteY639" fmla="*/ 597593 h 1715383"/>
                <a:gd name="connsiteX640" fmla="*/ 6879938 w 8734227"/>
                <a:gd name="connsiteY640" fmla="*/ 545101 h 1715383"/>
                <a:gd name="connsiteX641" fmla="*/ 6880717 w 8734227"/>
                <a:gd name="connsiteY641" fmla="*/ 545101 h 1715383"/>
                <a:gd name="connsiteX642" fmla="*/ 6881497 w 8734227"/>
                <a:gd name="connsiteY642" fmla="*/ 544709 h 1715383"/>
                <a:gd name="connsiteX643" fmla="*/ 6882665 w 8734227"/>
                <a:gd name="connsiteY643" fmla="*/ 545101 h 1715383"/>
                <a:gd name="connsiteX644" fmla="*/ 6884224 w 8734227"/>
                <a:gd name="connsiteY644" fmla="*/ 545101 h 1715383"/>
                <a:gd name="connsiteX645" fmla="*/ 6885393 w 8734227"/>
                <a:gd name="connsiteY645" fmla="*/ 546275 h 1715383"/>
                <a:gd name="connsiteX646" fmla="*/ 6886562 w 8734227"/>
                <a:gd name="connsiteY646" fmla="*/ 547058 h 1715383"/>
                <a:gd name="connsiteX647" fmla="*/ 6887341 w 8734227"/>
                <a:gd name="connsiteY647" fmla="*/ 548231 h 1715383"/>
                <a:gd name="connsiteX648" fmla="*/ 6888121 w 8734227"/>
                <a:gd name="connsiteY648" fmla="*/ 549797 h 1715383"/>
                <a:gd name="connsiteX649" fmla="*/ 6887341 w 8734227"/>
                <a:gd name="connsiteY649" fmla="*/ 550580 h 1715383"/>
                <a:gd name="connsiteX650" fmla="*/ 6851984 w 8734227"/>
                <a:gd name="connsiteY650" fmla="*/ 601312 h 1715383"/>
                <a:gd name="connsiteX651" fmla="*/ 6856821 w 8734227"/>
                <a:gd name="connsiteY651" fmla="*/ 603396 h 1715383"/>
                <a:gd name="connsiteX652" fmla="*/ 6872278 w 8734227"/>
                <a:gd name="connsiteY652" fmla="*/ 611492 h 1715383"/>
                <a:gd name="connsiteX653" fmla="*/ 6885802 w 8734227"/>
                <a:gd name="connsiteY653" fmla="*/ 620360 h 1715383"/>
                <a:gd name="connsiteX654" fmla="*/ 6897781 w 8734227"/>
                <a:gd name="connsiteY654" fmla="*/ 630384 h 1715383"/>
                <a:gd name="connsiteX655" fmla="*/ 6908214 w 8734227"/>
                <a:gd name="connsiteY655" fmla="*/ 641180 h 1715383"/>
                <a:gd name="connsiteX656" fmla="*/ 6917874 w 8734227"/>
                <a:gd name="connsiteY656" fmla="*/ 651975 h 1715383"/>
                <a:gd name="connsiteX657" fmla="*/ 6925989 w 8734227"/>
                <a:gd name="connsiteY657" fmla="*/ 663156 h 1715383"/>
                <a:gd name="connsiteX658" fmla="*/ 6932944 w 8734227"/>
                <a:gd name="connsiteY658" fmla="*/ 674723 h 1715383"/>
                <a:gd name="connsiteX659" fmla="*/ 6938740 w 8734227"/>
                <a:gd name="connsiteY659" fmla="*/ 685904 h 1715383"/>
                <a:gd name="connsiteX660" fmla="*/ 6943377 w 8734227"/>
                <a:gd name="connsiteY660" fmla="*/ 697084 h 1715383"/>
                <a:gd name="connsiteX661" fmla="*/ 6947628 w 8734227"/>
                <a:gd name="connsiteY661" fmla="*/ 707495 h 1715383"/>
                <a:gd name="connsiteX662" fmla="*/ 6950719 w 8734227"/>
                <a:gd name="connsiteY662" fmla="*/ 717133 h 1715383"/>
                <a:gd name="connsiteX663" fmla="*/ 6953424 w 8734227"/>
                <a:gd name="connsiteY663" fmla="*/ 726772 h 1715383"/>
                <a:gd name="connsiteX664" fmla="*/ 6954970 w 8734227"/>
                <a:gd name="connsiteY664" fmla="*/ 734484 h 1715383"/>
                <a:gd name="connsiteX665" fmla="*/ 6956129 w 8734227"/>
                <a:gd name="connsiteY665" fmla="*/ 741809 h 1715383"/>
                <a:gd name="connsiteX666" fmla="*/ 6956902 w 8734227"/>
                <a:gd name="connsiteY666" fmla="*/ 747592 h 1715383"/>
                <a:gd name="connsiteX667" fmla="*/ 6957674 w 8734227"/>
                <a:gd name="connsiteY667" fmla="*/ 752219 h 1715383"/>
                <a:gd name="connsiteX668" fmla="*/ 6957674 w 8734227"/>
                <a:gd name="connsiteY668" fmla="*/ 754532 h 1715383"/>
                <a:gd name="connsiteX669" fmla="*/ 6957674 w 8734227"/>
                <a:gd name="connsiteY669" fmla="*/ 755689 h 1715383"/>
                <a:gd name="connsiteX670" fmla="*/ 6547307 w 8734227"/>
                <a:gd name="connsiteY670" fmla="*/ 755689 h 1715383"/>
                <a:gd name="connsiteX671" fmla="*/ 6547307 w 8734227"/>
                <a:gd name="connsiteY671" fmla="*/ 754532 h 1715383"/>
                <a:gd name="connsiteX672" fmla="*/ 6547307 w 8734227"/>
                <a:gd name="connsiteY672" fmla="*/ 752219 h 1715383"/>
                <a:gd name="connsiteX673" fmla="*/ 6547694 w 8734227"/>
                <a:gd name="connsiteY673" fmla="*/ 747978 h 1715383"/>
                <a:gd name="connsiteX674" fmla="*/ 6548853 w 8734227"/>
                <a:gd name="connsiteY674" fmla="*/ 742580 h 1715383"/>
                <a:gd name="connsiteX675" fmla="*/ 6550012 w 8734227"/>
                <a:gd name="connsiteY675" fmla="*/ 736026 h 1715383"/>
                <a:gd name="connsiteX676" fmla="*/ 6550785 w 8734227"/>
                <a:gd name="connsiteY676" fmla="*/ 728315 h 1715383"/>
                <a:gd name="connsiteX677" fmla="*/ 6553103 w 8734227"/>
                <a:gd name="connsiteY677" fmla="*/ 719832 h 1715383"/>
                <a:gd name="connsiteX678" fmla="*/ 6556194 w 8734227"/>
                <a:gd name="connsiteY678" fmla="*/ 710579 h 1715383"/>
                <a:gd name="connsiteX679" fmla="*/ 6559286 w 8734227"/>
                <a:gd name="connsiteY679" fmla="*/ 700555 h 1715383"/>
                <a:gd name="connsiteX680" fmla="*/ 6563537 w 8734227"/>
                <a:gd name="connsiteY680" fmla="*/ 690145 h 1715383"/>
                <a:gd name="connsiteX681" fmla="*/ 6568559 w 8734227"/>
                <a:gd name="connsiteY681" fmla="*/ 679349 h 1715383"/>
                <a:gd name="connsiteX682" fmla="*/ 6574356 w 8734227"/>
                <a:gd name="connsiteY682" fmla="*/ 668168 h 1715383"/>
                <a:gd name="connsiteX683" fmla="*/ 6581698 w 8734227"/>
                <a:gd name="connsiteY683" fmla="*/ 657758 h 1715383"/>
                <a:gd name="connsiteX684" fmla="*/ 6590198 w 8734227"/>
                <a:gd name="connsiteY684" fmla="*/ 646963 h 1715383"/>
                <a:gd name="connsiteX685" fmla="*/ 6599472 w 8734227"/>
                <a:gd name="connsiteY685" fmla="*/ 636553 h 1715383"/>
                <a:gd name="connsiteX686" fmla="*/ 6609906 w 8734227"/>
                <a:gd name="connsiteY686" fmla="*/ 626529 h 1715383"/>
                <a:gd name="connsiteX687" fmla="*/ 6621884 w 8734227"/>
                <a:gd name="connsiteY687" fmla="*/ 617275 h 1715383"/>
                <a:gd name="connsiteX688" fmla="*/ 6635408 w 8734227"/>
                <a:gd name="connsiteY688" fmla="*/ 608793 h 1715383"/>
                <a:gd name="connsiteX689" fmla="*/ 6650865 w 8734227"/>
                <a:gd name="connsiteY689" fmla="*/ 601082 h 1715383"/>
                <a:gd name="connsiteX690" fmla="*/ 6652226 w 8734227"/>
                <a:gd name="connsiteY690" fmla="*/ 600545 h 1715383"/>
                <a:gd name="connsiteX691" fmla="*/ 6617634 w 8734227"/>
                <a:gd name="connsiteY691" fmla="*/ 550580 h 1715383"/>
                <a:gd name="connsiteX692" fmla="*/ 6617634 w 8734227"/>
                <a:gd name="connsiteY692" fmla="*/ 549797 h 1715383"/>
                <a:gd name="connsiteX693" fmla="*/ 6617634 w 8734227"/>
                <a:gd name="connsiteY693" fmla="*/ 548231 h 1715383"/>
                <a:gd name="connsiteX694" fmla="*/ 6618783 w 8734227"/>
                <a:gd name="connsiteY694" fmla="*/ 547058 h 1715383"/>
                <a:gd name="connsiteX695" fmla="*/ 6620316 w 8734227"/>
                <a:gd name="connsiteY695" fmla="*/ 546275 h 1715383"/>
                <a:gd name="connsiteX696" fmla="*/ 6621082 w 8734227"/>
                <a:gd name="connsiteY696" fmla="*/ 545101 h 1715383"/>
                <a:gd name="connsiteX697" fmla="*/ 6622232 w 8734227"/>
                <a:gd name="connsiteY697" fmla="*/ 545101 h 1715383"/>
                <a:gd name="connsiteX698" fmla="*/ 4183017 w 8734227"/>
                <a:gd name="connsiteY698" fmla="*/ 463640 h 1715383"/>
                <a:gd name="connsiteX699" fmla="*/ 4142768 w 8734227"/>
                <a:gd name="connsiteY699" fmla="*/ 589602 h 1715383"/>
                <a:gd name="connsiteX700" fmla="*/ 4026815 w 8734227"/>
                <a:gd name="connsiteY700" fmla="*/ 644831 h 1715383"/>
                <a:gd name="connsiteX701" fmla="*/ 4060355 w 8734227"/>
                <a:gd name="connsiteY701" fmla="*/ 532435 h 1715383"/>
                <a:gd name="connsiteX702" fmla="*/ 4183017 w 8734227"/>
                <a:gd name="connsiteY702" fmla="*/ 463640 h 1715383"/>
                <a:gd name="connsiteX703" fmla="*/ 142606 w 8734227"/>
                <a:gd name="connsiteY703" fmla="*/ 435886 h 1715383"/>
                <a:gd name="connsiteX704" fmla="*/ 142606 w 8734227"/>
                <a:gd name="connsiteY704" fmla="*/ 1564635 h 1715383"/>
                <a:gd name="connsiteX705" fmla="*/ 2167619 w 8734227"/>
                <a:gd name="connsiteY705" fmla="*/ 1564635 h 1715383"/>
                <a:gd name="connsiteX706" fmla="*/ 2167619 w 8734227"/>
                <a:gd name="connsiteY706" fmla="*/ 435886 h 1715383"/>
                <a:gd name="connsiteX707" fmla="*/ 5049402 w 8734227"/>
                <a:gd name="connsiteY707" fmla="*/ 408930 h 1715383"/>
                <a:gd name="connsiteX708" fmla="*/ 5033704 w 8734227"/>
                <a:gd name="connsiteY708" fmla="*/ 424628 h 1715383"/>
                <a:gd name="connsiteX709" fmla="*/ 5049402 w 8734227"/>
                <a:gd name="connsiteY709" fmla="*/ 440326 h 1715383"/>
                <a:gd name="connsiteX710" fmla="*/ 5223681 w 8734227"/>
                <a:gd name="connsiteY710" fmla="*/ 440326 h 1715383"/>
                <a:gd name="connsiteX711" fmla="*/ 5239379 w 8734227"/>
                <a:gd name="connsiteY711" fmla="*/ 424628 h 1715383"/>
                <a:gd name="connsiteX712" fmla="*/ 5223681 w 8734227"/>
                <a:gd name="connsiteY712" fmla="*/ 408930 h 1715383"/>
                <a:gd name="connsiteX713" fmla="*/ 2518597 w 8734227"/>
                <a:gd name="connsiteY713" fmla="*/ 402274 h 1715383"/>
                <a:gd name="connsiteX714" fmla="*/ 2481061 w 8734227"/>
                <a:gd name="connsiteY714" fmla="*/ 439810 h 1715383"/>
                <a:gd name="connsiteX715" fmla="*/ 2481061 w 8734227"/>
                <a:gd name="connsiteY715" fmla="*/ 1467497 h 1715383"/>
                <a:gd name="connsiteX716" fmla="*/ 2518597 w 8734227"/>
                <a:gd name="connsiteY716" fmla="*/ 1505033 h 1715383"/>
                <a:gd name="connsiteX717" fmla="*/ 3130747 w 8734227"/>
                <a:gd name="connsiteY717" fmla="*/ 1505033 h 1715383"/>
                <a:gd name="connsiteX718" fmla="*/ 3168284 w 8734227"/>
                <a:gd name="connsiteY718" fmla="*/ 1467497 h 1715383"/>
                <a:gd name="connsiteX719" fmla="*/ 3168284 w 8734227"/>
                <a:gd name="connsiteY719" fmla="*/ 439810 h 1715383"/>
                <a:gd name="connsiteX720" fmla="*/ 3130747 w 8734227"/>
                <a:gd name="connsiteY720" fmla="*/ 402274 h 1715383"/>
                <a:gd name="connsiteX721" fmla="*/ 2776017 w 8734227"/>
                <a:gd name="connsiteY721" fmla="*/ 362170 h 1715383"/>
                <a:gd name="connsiteX722" fmla="*/ 2771932 w 8734227"/>
                <a:gd name="connsiteY722" fmla="*/ 363863 h 1715383"/>
                <a:gd name="connsiteX723" fmla="*/ 2770239 w 8734227"/>
                <a:gd name="connsiteY723" fmla="*/ 367948 h 1715383"/>
                <a:gd name="connsiteX724" fmla="*/ 2771932 w 8734227"/>
                <a:gd name="connsiteY724" fmla="*/ 372033 h 1715383"/>
                <a:gd name="connsiteX725" fmla="*/ 2776017 w 8734227"/>
                <a:gd name="connsiteY725" fmla="*/ 373725 h 1715383"/>
                <a:gd name="connsiteX726" fmla="*/ 2872301 w 8734227"/>
                <a:gd name="connsiteY726" fmla="*/ 373725 h 1715383"/>
                <a:gd name="connsiteX727" fmla="*/ 2878078 w 8734227"/>
                <a:gd name="connsiteY727" fmla="*/ 367948 h 1715383"/>
                <a:gd name="connsiteX728" fmla="*/ 2872301 w 8734227"/>
                <a:gd name="connsiteY728" fmla="*/ 362170 h 1715383"/>
                <a:gd name="connsiteX729" fmla="*/ 8074277 w 8734227"/>
                <a:gd name="connsiteY729" fmla="*/ 335996 h 1715383"/>
                <a:gd name="connsiteX730" fmla="*/ 8029436 w 8734227"/>
                <a:gd name="connsiteY730" fmla="*/ 380837 h 1715383"/>
                <a:gd name="connsiteX731" fmla="*/ 8029436 w 8734227"/>
                <a:gd name="connsiteY731" fmla="*/ 1435314 h 1715383"/>
                <a:gd name="connsiteX732" fmla="*/ 8074277 w 8734227"/>
                <a:gd name="connsiteY732" fmla="*/ 1480155 h 1715383"/>
                <a:gd name="connsiteX733" fmla="*/ 8657174 w 8734227"/>
                <a:gd name="connsiteY733" fmla="*/ 1480155 h 1715383"/>
                <a:gd name="connsiteX734" fmla="*/ 8702015 w 8734227"/>
                <a:gd name="connsiteY734" fmla="*/ 1435314 h 1715383"/>
                <a:gd name="connsiteX735" fmla="*/ 8702015 w 8734227"/>
                <a:gd name="connsiteY735" fmla="*/ 380837 h 1715383"/>
                <a:gd name="connsiteX736" fmla="*/ 8657174 w 8734227"/>
                <a:gd name="connsiteY736" fmla="*/ 335996 h 1715383"/>
                <a:gd name="connsiteX737" fmla="*/ 5759891 w 8734227"/>
                <a:gd name="connsiteY737" fmla="*/ 305930 h 1715383"/>
                <a:gd name="connsiteX738" fmla="*/ 5759891 w 8734227"/>
                <a:gd name="connsiteY738" fmla="*/ 1478569 h 1715383"/>
                <a:gd name="connsiteX739" fmla="*/ 7741904 w 8734227"/>
                <a:gd name="connsiteY739" fmla="*/ 1478569 h 1715383"/>
                <a:gd name="connsiteX740" fmla="*/ 7741904 w 8734227"/>
                <a:gd name="connsiteY740" fmla="*/ 305930 h 1715383"/>
                <a:gd name="connsiteX741" fmla="*/ 4878987 w 8734227"/>
                <a:gd name="connsiteY741" fmla="*/ 300646 h 1715383"/>
                <a:gd name="connsiteX742" fmla="*/ 5394095 w 8734227"/>
                <a:gd name="connsiteY742" fmla="*/ 300646 h 1715383"/>
                <a:gd name="connsiteX743" fmla="*/ 5492672 w 8734227"/>
                <a:gd name="connsiteY743" fmla="*/ 399224 h 1715383"/>
                <a:gd name="connsiteX744" fmla="*/ 5492672 w 8734227"/>
                <a:gd name="connsiteY744" fmla="*/ 1616806 h 1715383"/>
                <a:gd name="connsiteX745" fmla="*/ 5394095 w 8734227"/>
                <a:gd name="connsiteY745" fmla="*/ 1715383 h 1715383"/>
                <a:gd name="connsiteX746" fmla="*/ 4878987 w 8734227"/>
                <a:gd name="connsiteY746" fmla="*/ 1715383 h 1715383"/>
                <a:gd name="connsiteX747" fmla="*/ 4780410 w 8734227"/>
                <a:gd name="connsiteY747" fmla="*/ 1616806 h 1715383"/>
                <a:gd name="connsiteX748" fmla="*/ 4780410 w 8734227"/>
                <a:gd name="connsiteY748" fmla="*/ 399224 h 1715383"/>
                <a:gd name="connsiteX749" fmla="*/ 4878987 w 8734227"/>
                <a:gd name="connsiteY749" fmla="*/ 300646 h 1715383"/>
                <a:gd name="connsiteX750" fmla="*/ 2442872 w 8734227"/>
                <a:gd name="connsiteY750" fmla="*/ 299635 h 1715383"/>
                <a:gd name="connsiteX751" fmla="*/ 3205445 w 8734227"/>
                <a:gd name="connsiteY751" fmla="*/ 299635 h 1715383"/>
                <a:gd name="connsiteX752" fmla="*/ 3205445 w 8734227"/>
                <a:gd name="connsiteY752" fmla="*/ 1714372 h 1715383"/>
                <a:gd name="connsiteX753" fmla="*/ 2442872 w 8734227"/>
                <a:gd name="connsiteY753" fmla="*/ 1714372 h 1715383"/>
                <a:gd name="connsiteX754" fmla="*/ 8046360 w 8734227"/>
                <a:gd name="connsiteY754" fmla="*/ 292188 h 1715383"/>
                <a:gd name="connsiteX755" fmla="*/ 8685091 w 8734227"/>
                <a:gd name="connsiteY755" fmla="*/ 292188 h 1715383"/>
                <a:gd name="connsiteX756" fmla="*/ 8734227 w 8734227"/>
                <a:gd name="connsiteY756" fmla="*/ 341324 h 1715383"/>
                <a:gd name="connsiteX757" fmla="*/ 8734227 w 8734227"/>
                <a:gd name="connsiteY757" fmla="*/ 1657789 h 1715383"/>
                <a:gd name="connsiteX758" fmla="*/ 8685091 w 8734227"/>
                <a:gd name="connsiteY758" fmla="*/ 1706925 h 1715383"/>
                <a:gd name="connsiteX759" fmla="*/ 8046360 w 8734227"/>
                <a:gd name="connsiteY759" fmla="*/ 1706925 h 1715383"/>
                <a:gd name="connsiteX760" fmla="*/ 7997224 w 8734227"/>
                <a:gd name="connsiteY760" fmla="*/ 1657789 h 1715383"/>
                <a:gd name="connsiteX761" fmla="*/ 7997224 w 8734227"/>
                <a:gd name="connsiteY761" fmla="*/ 341324 h 1715383"/>
                <a:gd name="connsiteX762" fmla="*/ 8046360 w 8734227"/>
                <a:gd name="connsiteY762" fmla="*/ 292188 h 1715383"/>
                <a:gd name="connsiteX763" fmla="*/ 31495 w 8734227"/>
                <a:gd name="connsiteY763" fmla="*/ 284741 h 1715383"/>
                <a:gd name="connsiteX764" fmla="*/ 2278731 w 8734227"/>
                <a:gd name="connsiteY764" fmla="*/ 284741 h 1715383"/>
                <a:gd name="connsiteX765" fmla="*/ 2310225 w 8734227"/>
                <a:gd name="connsiteY765" fmla="*/ 316235 h 1715383"/>
                <a:gd name="connsiteX766" fmla="*/ 2310225 w 8734227"/>
                <a:gd name="connsiteY766" fmla="*/ 1682878 h 1715383"/>
                <a:gd name="connsiteX767" fmla="*/ 2278731 w 8734227"/>
                <a:gd name="connsiteY767" fmla="*/ 1714372 h 1715383"/>
                <a:gd name="connsiteX768" fmla="*/ 31495 w 8734227"/>
                <a:gd name="connsiteY768" fmla="*/ 1714372 h 1715383"/>
                <a:gd name="connsiteX769" fmla="*/ 0 w 8734227"/>
                <a:gd name="connsiteY769" fmla="*/ 1682878 h 1715383"/>
                <a:gd name="connsiteX770" fmla="*/ 0 w 8734227"/>
                <a:gd name="connsiteY770" fmla="*/ 316235 h 1715383"/>
                <a:gd name="connsiteX771" fmla="*/ 31495 w 8734227"/>
                <a:gd name="connsiteY771" fmla="*/ 284741 h 1715383"/>
                <a:gd name="connsiteX772" fmla="*/ 3506920 w 8734227"/>
                <a:gd name="connsiteY772" fmla="*/ 153677 h 1715383"/>
                <a:gd name="connsiteX773" fmla="*/ 3506920 w 8734227"/>
                <a:gd name="connsiteY773" fmla="*/ 1550448 h 1715383"/>
                <a:gd name="connsiteX774" fmla="*/ 4548522 w 8734227"/>
                <a:gd name="connsiteY774" fmla="*/ 1550448 h 1715383"/>
                <a:gd name="connsiteX775" fmla="*/ 4548522 w 8734227"/>
                <a:gd name="connsiteY775" fmla="*/ 153677 h 1715383"/>
                <a:gd name="connsiteX776" fmla="*/ 5691386 w 8734227"/>
                <a:gd name="connsiteY776" fmla="*/ 137045 h 1715383"/>
                <a:gd name="connsiteX777" fmla="*/ 7813595 w 8734227"/>
                <a:gd name="connsiteY777" fmla="*/ 137045 h 1715383"/>
                <a:gd name="connsiteX778" fmla="*/ 7907603 w 8734227"/>
                <a:gd name="connsiteY778" fmla="*/ 231053 h 1715383"/>
                <a:gd name="connsiteX779" fmla="*/ 7907603 w 8734227"/>
                <a:gd name="connsiteY779" fmla="*/ 1620364 h 1715383"/>
                <a:gd name="connsiteX780" fmla="*/ 7813595 w 8734227"/>
                <a:gd name="connsiteY780" fmla="*/ 1714372 h 1715383"/>
                <a:gd name="connsiteX781" fmla="*/ 5691386 w 8734227"/>
                <a:gd name="connsiteY781" fmla="*/ 1714372 h 1715383"/>
                <a:gd name="connsiteX782" fmla="*/ 5597378 w 8734227"/>
                <a:gd name="connsiteY782" fmla="*/ 1620364 h 1715383"/>
                <a:gd name="connsiteX783" fmla="*/ 5597378 w 8734227"/>
                <a:gd name="connsiteY783" fmla="*/ 231053 h 1715383"/>
                <a:gd name="connsiteX784" fmla="*/ 5691386 w 8734227"/>
                <a:gd name="connsiteY784" fmla="*/ 137045 h 1715383"/>
                <a:gd name="connsiteX785" fmla="*/ 3445917 w 8734227"/>
                <a:gd name="connsiteY785" fmla="*/ 0 h 1715383"/>
                <a:gd name="connsiteX786" fmla="*/ 4609525 w 8734227"/>
                <a:gd name="connsiteY786" fmla="*/ 0 h 1715383"/>
                <a:gd name="connsiteX787" fmla="*/ 4697076 w 8734227"/>
                <a:gd name="connsiteY787" fmla="*/ 87551 h 1715383"/>
                <a:gd name="connsiteX788" fmla="*/ 4697076 w 8734227"/>
                <a:gd name="connsiteY788" fmla="*/ 1626821 h 1715383"/>
                <a:gd name="connsiteX789" fmla="*/ 4609525 w 8734227"/>
                <a:gd name="connsiteY789" fmla="*/ 1714372 h 1715383"/>
                <a:gd name="connsiteX790" fmla="*/ 3445917 w 8734227"/>
                <a:gd name="connsiteY790" fmla="*/ 1714372 h 1715383"/>
                <a:gd name="connsiteX791" fmla="*/ 3358365 w 8734227"/>
                <a:gd name="connsiteY791" fmla="*/ 1626821 h 1715383"/>
                <a:gd name="connsiteX792" fmla="*/ 3358365 w 8734227"/>
                <a:gd name="connsiteY792" fmla="*/ 87551 h 1715383"/>
                <a:gd name="connsiteX793" fmla="*/ 3445917 w 8734227"/>
                <a:gd name="connsiteY793" fmla="*/ 0 h 1715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Lst>
              <a:rect l="l" t="t" r="r" b="b"/>
              <a:pathLst>
                <a:path w="8734227" h="1715383">
                  <a:moveTo>
                    <a:pt x="1152413" y="1636663"/>
                  </a:moveTo>
                  <a:lnTo>
                    <a:pt x="1152413" y="1663491"/>
                  </a:lnTo>
                  <a:lnTo>
                    <a:pt x="1188645" y="1668494"/>
                  </a:lnTo>
                  <a:cubicBezTo>
                    <a:pt x="1188629" y="1657883"/>
                    <a:pt x="1188610" y="1647273"/>
                    <a:pt x="1188591" y="1636663"/>
                  </a:cubicBezTo>
                  <a:close/>
                  <a:moveTo>
                    <a:pt x="1121597" y="1636663"/>
                  </a:moveTo>
                  <a:cubicBezTo>
                    <a:pt x="1121579" y="1646324"/>
                    <a:pt x="1121565" y="1655665"/>
                    <a:pt x="1121599" y="1659239"/>
                  </a:cubicBezTo>
                  <a:lnTo>
                    <a:pt x="1149027" y="1663024"/>
                  </a:lnTo>
                  <a:lnTo>
                    <a:pt x="1149027" y="1636663"/>
                  </a:lnTo>
                  <a:close/>
                  <a:moveTo>
                    <a:pt x="5975882" y="1616729"/>
                  </a:moveTo>
                  <a:lnTo>
                    <a:pt x="5975882" y="1629353"/>
                  </a:lnTo>
                  <a:lnTo>
                    <a:pt x="6053370" y="1629353"/>
                  </a:lnTo>
                  <a:lnTo>
                    <a:pt x="6053370" y="1616729"/>
                  </a:lnTo>
                  <a:close/>
                  <a:moveTo>
                    <a:pt x="8268937" y="1608864"/>
                  </a:moveTo>
                  <a:lnTo>
                    <a:pt x="8268937" y="1614441"/>
                  </a:lnTo>
                  <a:lnTo>
                    <a:pt x="8303165" y="1614441"/>
                  </a:lnTo>
                  <a:lnTo>
                    <a:pt x="8303165" y="1608864"/>
                  </a:lnTo>
                  <a:close/>
                  <a:moveTo>
                    <a:pt x="1149027" y="1606864"/>
                  </a:moveTo>
                  <a:lnTo>
                    <a:pt x="1121599" y="1610703"/>
                  </a:lnTo>
                  <a:cubicBezTo>
                    <a:pt x="1121635" y="1614275"/>
                    <a:pt x="1121621" y="1623618"/>
                    <a:pt x="1121602" y="1633277"/>
                  </a:cubicBezTo>
                  <a:lnTo>
                    <a:pt x="1149027" y="1633277"/>
                  </a:lnTo>
                  <a:close/>
                  <a:moveTo>
                    <a:pt x="4027721" y="1601447"/>
                  </a:moveTo>
                  <a:cubicBezTo>
                    <a:pt x="4005255" y="1601447"/>
                    <a:pt x="3987043" y="1619659"/>
                    <a:pt x="3987043" y="1642124"/>
                  </a:cubicBezTo>
                  <a:cubicBezTo>
                    <a:pt x="3987043" y="1664589"/>
                    <a:pt x="4005255" y="1682801"/>
                    <a:pt x="4027721" y="1682801"/>
                  </a:cubicBezTo>
                  <a:cubicBezTo>
                    <a:pt x="4050186" y="1682801"/>
                    <a:pt x="4068398" y="1664589"/>
                    <a:pt x="4068398" y="1642124"/>
                  </a:cubicBezTo>
                  <a:cubicBezTo>
                    <a:pt x="4068398" y="1619659"/>
                    <a:pt x="4050186" y="1601447"/>
                    <a:pt x="4027721" y="1601447"/>
                  </a:cubicBezTo>
                  <a:close/>
                  <a:moveTo>
                    <a:pt x="1188532" y="1601335"/>
                  </a:moveTo>
                  <a:lnTo>
                    <a:pt x="1152413" y="1606390"/>
                  </a:lnTo>
                  <a:lnTo>
                    <a:pt x="1152413" y="1633277"/>
                  </a:lnTo>
                  <a:lnTo>
                    <a:pt x="1188586" y="1633277"/>
                  </a:lnTo>
                  <a:close/>
                  <a:moveTo>
                    <a:pt x="8268937" y="1596942"/>
                  </a:moveTo>
                  <a:lnTo>
                    <a:pt x="8268937" y="1602519"/>
                  </a:lnTo>
                  <a:lnTo>
                    <a:pt x="8303165" y="1602519"/>
                  </a:lnTo>
                  <a:lnTo>
                    <a:pt x="8303165" y="1596942"/>
                  </a:lnTo>
                  <a:close/>
                  <a:moveTo>
                    <a:pt x="2818847" y="1594679"/>
                  </a:moveTo>
                  <a:lnTo>
                    <a:pt x="2818847" y="1625793"/>
                  </a:lnTo>
                  <a:lnTo>
                    <a:pt x="2860864" y="1631591"/>
                  </a:lnTo>
                  <a:cubicBezTo>
                    <a:pt x="2860844" y="1619288"/>
                    <a:pt x="2860823" y="1606986"/>
                    <a:pt x="2860802" y="1594679"/>
                  </a:cubicBezTo>
                  <a:close/>
                  <a:moveTo>
                    <a:pt x="2783108" y="1594679"/>
                  </a:moveTo>
                  <a:lnTo>
                    <a:pt x="2783110" y="1620860"/>
                  </a:lnTo>
                  <a:lnTo>
                    <a:pt x="2814919" y="1625251"/>
                  </a:lnTo>
                  <a:lnTo>
                    <a:pt x="2814919" y="1594679"/>
                  </a:lnTo>
                  <a:close/>
                  <a:moveTo>
                    <a:pt x="8460169" y="1594535"/>
                  </a:moveTo>
                  <a:lnTo>
                    <a:pt x="8460169" y="1609826"/>
                  </a:lnTo>
                  <a:lnTo>
                    <a:pt x="8439786" y="1609826"/>
                  </a:lnTo>
                  <a:lnTo>
                    <a:pt x="8439786" y="1595380"/>
                  </a:lnTo>
                  <a:lnTo>
                    <a:pt x="8435075" y="1600091"/>
                  </a:lnTo>
                  <a:lnTo>
                    <a:pt x="8435075" y="1614633"/>
                  </a:lnTo>
                  <a:lnTo>
                    <a:pt x="8464880" y="1614633"/>
                  </a:lnTo>
                  <a:lnTo>
                    <a:pt x="8464880" y="1599246"/>
                  </a:lnTo>
                  <a:close/>
                  <a:moveTo>
                    <a:pt x="6240640" y="1591376"/>
                  </a:moveTo>
                  <a:lnTo>
                    <a:pt x="6240640" y="1624080"/>
                  </a:lnTo>
                  <a:lnTo>
                    <a:pt x="6197045" y="1624080"/>
                  </a:lnTo>
                  <a:lnTo>
                    <a:pt x="6197045" y="1593184"/>
                  </a:lnTo>
                  <a:lnTo>
                    <a:pt x="6186968" y="1603261"/>
                  </a:lnTo>
                  <a:lnTo>
                    <a:pt x="6186968" y="1634363"/>
                  </a:lnTo>
                  <a:lnTo>
                    <a:pt x="6250715" y="1634363"/>
                  </a:lnTo>
                  <a:lnTo>
                    <a:pt x="6250715" y="1601453"/>
                  </a:lnTo>
                  <a:close/>
                  <a:moveTo>
                    <a:pt x="5975882" y="1589739"/>
                  </a:moveTo>
                  <a:lnTo>
                    <a:pt x="5975882" y="1602364"/>
                  </a:lnTo>
                  <a:lnTo>
                    <a:pt x="6053370" y="1602364"/>
                  </a:lnTo>
                  <a:lnTo>
                    <a:pt x="6053370" y="1589739"/>
                  </a:lnTo>
                  <a:close/>
                  <a:moveTo>
                    <a:pt x="8268937" y="1585020"/>
                  </a:moveTo>
                  <a:lnTo>
                    <a:pt x="8268937" y="1590597"/>
                  </a:lnTo>
                  <a:lnTo>
                    <a:pt x="8303165" y="1590597"/>
                  </a:lnTo>
                  <a:lnTo>
                    <a:pt x="8303165" y="1585020"/>
                  </a:lnTo>
                  <a:close/>
                  <a:moveTo>
                    <a:pt x="8612398" y="1579252"/>
                  </a:moveTo>
                  <a:cubicBezTo>
                    <a:pt x="8617655" y="1579252"/>
                    <a:pt x="8621916" y="1583513"/>
                    <a:pt x="8621916" y="1588770"/>
                  </a:cubicBezTo>
                  <a:cubicBezTo>
                    <a:pt x="8621916" y="1594027"/>
                    <a:pt x="8617655" y="1598288"/>
                    <a:pt x="8612398" y="1598288"/>
                  </a:cubicBezTo>
                  <a:cubicBezTo>
                    <a:pt x="8607141" y="1598288"/>
                    <a:pt x="8602879" y="1594027"/>
                    <a:pt x="8602880" y="1588770"/>
                  </a:cubicBezTo>
                  <a:cubicBezTo>
                    <a:pt x="8602879" y="1583513"/>
                    <a:pt x="8607141" y="1579252"/>
                    <a:pt x="8612398" y="1579252"/>
                  </a:cubicBezTo>
                  <a:close/>
                  <a:moveTo>
                    <a:pt x="8612398" y="1573932"/>
                  </a:moveTo>
                  <a:cubicBezTo>
                    <a:pt x="8604203" y="1573932"/>
                    <a:pt x="8597559" y="1580575"/>
                    <a:pt x="8597559" y="1588770"/>
                  </a:cubicBezTo>
                  <a:cubicBezTo>
                    <a:pt x="8597559" y="1596965"/>
                    <a:pt x="8604203" y="1603608"/>
                    <a:pt x="8612398" y="1603608"/>
                  </a:cubicBezTo>
                  <a:cubicBezTo>
                    <a:pt x="8615668" y="1603608"/>
                    <a:pt x="8618691" y="1602551"/>
                    <a:pt x="8620988" y="1600545"/>
                  </a:cubicBezTo>
                  <a:lnTo>
                    <a:pt x="8633111" y="1612668"/>
                  </a:lnTo>
                  <a:lnTo>
                    <a:pt x="8636873" y="1608907"/>
                  </a:lnTo>
                  <a:lnTo>
                    <a:pt x="8624637" y="1596671"/>
                  </a:lnTo>
                  <a:cubicBezTo>
                    <a:pt x="8626365" y="1594500"/>
                    <a:pt x="8627236" y="1591737"/>
                    <a:pt x="8627236" y="1588770"/>
                  </a:cubicBezTo>
                  <a:cubicBezTo>
                    <a:pt x="8627236" y="1580575"/>
                    <a:pt x="8620593" y="1573932"/>
                    <a:pt x="8612398" y="1573932"/>
                  </a:cubicBezTo>
                  <a:close/>
                  <a:moveTo>
                    <a:pt x="8104689" y="1573371"/>
                  </a:moveTo>
                  <a:lnTo>
                    <a:pt x="8094578" y="1583482"/>
                  </a:lnTo>
                  <a:lnTo>
                    <a:pt x="8104865" y="1593770"/>
                  </a:lnTo>
                  <a:lnTo>
                    <a:pt x="8112479" y="1593770"/>
                  </a:lnTo>
                  <a:lnTo>
                    <a:pt x="8104788" y="1586078"/>
                  </a:lnTo>
                  <a:lnTo>
                    <a:pt x="8117510" y="1586078"/>
                  </a:lnTo>
                  <a:cubicBezTo>
                    <a:pt x="8123935" y="1586078"/>
                    <a:pt x="8129144" y="1591287"/>
                    <a:pt x="8129144" y="1597712"/>
                  </a:cubicBezTo>
                  <a:cubicBezTo>
                    <a:pt x="8129144" y="1604137"/>
                    <a:pt x="8123935" y="1609345"/>
                    <a:pt x="8117510" y="1609345"/>
                  </a:cubicBezTo>
                  <a:lnTo>
                    <a:pt x="8101646" y="1609345"/>
                  </a:lnTo>
                  <a:lnTo>
                    <a:pt x="8101646" y="1614633"/>
                  </a:lnTo>
                  <a:lnTo>
                    <a:pt x="8118183" y="1614633"/>
                  </a:lnTo>
                  <a:cubicBezTo>
                    <a:pt x="8127528" y="1614633"/>
                    <a:pt x="8135104" y="1607057"/>
                    <a:pt x="8135104" y="1597711"/>
                  </a:cubicBezTo>
                  <a:cubicBezTo>
                    <a:pt x="8135104" y="1588366"/>
                    <a:pt x="8127528" y="1580790"/>
                    <a:pt x="8118183" y="1580790"/>
                  </a:cubicBezTo>
                  <a:lnTo>
                    <a:pt x="8104884" y="1580790"/>
                  </a:lnTo>
                  <a:lnTo>
                    <a:pt x="8112303" y="1573371"/>
                  </a:lnTo>
                  <a:close/>
                  <a:moveTo>
                    <a:pt x="8255477" y="1573098"/>
                  </a:moveTo>
                  <a:lnTo>
                    <a:pt x="8255477" y="1578675"/>
                  </a:lnTo>
                  <a:lnTo>
                    <a:pt x="8303165" y="1578675"/>
                  </a:lnTo>
                  <a:lnTo>
                    <a:pt x="8303165" y="1573098"/>
                  </a:lnTo>
                  <a:close/>
                  <a:moveTo>
                    <a:pt x="8450362" y="1572906"/>
                  </a:moveTo>
                  <a:lnTo>
                    <a:pt x="8439786" y="1583482"/>
                  </a:lnTo>
                  <a:lnTo>
                    <a:pt x="8439786" y="1583447"/>
                  </a:lnTo>
                  <a:lnTo>
                    <a:pt x="8435075" y="1588158"/>
                  </a:lnTo>
                  <a:lnTo>
                    <a:pt x="8435075" y="1588193"/>
                  </a:lnTo>
                  <a:lnTo>
                    <a:pt x="8425148" y="1598120"/>
                  </a:lnTo>
                  <a:lnTo>
                    <a:pt x="8429121" y="1602092"/>
                  </a:lnTo>
                  <a:lnTo>
                    <a:pt x="8450362" y="1580852"/>
                  </a:lnTo>
                  <a:lnTo>
                    <a:pt x="8450418" y="1580908"/>
                  </a:lnTo>
                  <a:lnTo>
                    <a:pt x="8450438" y="1580888"/>
                  </a:lnTo>
                  <a:lnTo>
                    <a:pt x="8471671" y="1602122"/>
                  </a:lnTo>
                  <a:lnTo>
                    <a:pt x="8475624" y="1598168"/>
                  </a:lnTo>
                  <a:lnTo>
                    <a:pt x="8464880" y="1587424"/>
                  </a:lnTo>
                  <a:lnTo>
                    <a:pt x="8464880" y="1574444"/>
                  </a:lnTo>
                  <a:lnTo>
                    <a:pt x="8460169" y="1574444"/>
                  </a:lnTo>
                  <a:lnTo>
                    <a:pt x="8460169" y="1582713"/>
                  </a:lnTo>
                  <a:close/>
                  <a:moveTo>
                    <a:pt x="3085285" y="1568490"/>
                  </a:moveTo>
                  <a:cubicBezTo>
                    <a:pt x="3094821" y="1568490"/>
                    <a:pt x="3102553" y="1576222"/>
                    <a:pt x="3102553" y="1585759"/>
                  </a:cubicBezTo>
                  <a:cubicBezTo>
                    <a:pt x="3102553" y="1595295"/>
                    <a:pt x="3094821" y="1603029"/>
                    <a:pt x="3085285" y="1603029"/>
                  </a:cubicBezTo>
                  <a:cubicBezTo>
                    <a:pt x="3075745" y="1603029"/>
                    <a:pt x="3068014" y="1595295"/>
                    <a:pt x="3068014" y="1585759"/>
                  </a:cubicBezTo>
                  <a:cubicBezTo>
                    <a:pt x="3068014" y="1576222"/>
                    <a:pt x="3075745" y="1568490"/>
                    <a:pt x="3085285" y="1568490"/>
                  </a:cubicBezTo>
                  <a:close/>
                  <a:moveTo>
                    <a:pt x="5975882" y="1562748"/>
                  </a:moveTo>
                  <a:lnTo>
                    <a:pt x="5975882" y="1575374"/>
                  </a:lnTo>
                  <a:lnTo>
                    <a:pt x="6053370" y="1575374"/>
                  </a:lnTo>
                  <a:lnTo>
                    <a:pt x="6053370" y="1562748"/>
                  </a:lnTo>
                  <a:close/>
                  <a:moveTo>
                    <a:pt x="2566537" y="1561821"/>
                  </a:moveTo>
                  <a:lnTo>
                    <a:pt x="2541313" y="1590869"/>
                  </a:lnTo>
                  <a:lnTo>
                    <a:pt x="2566537" y="1621153"/>
                  </a:lnTo>
                  <a:lnTo>
                    <a:pt x="2582362" y="1621153"/>
                  </a:lnTo>
                  <a:lnTo>
                    <a:pt x="2563569" y="1598903"/>
                  </a:lnTo>
                  <a:lnTo>
                    <a:pt x="2606103" y="1598903"/>
                  </a:lnTo>
                  <a:lnTo>
                    <a:pt x="2606103" y="1583453"/>
                  </a:lnTo>
                  <a:lnTo>
                    <a:pt x="2563569" y="1583453"/>
                  </a:lnTo>
                  <a:lnTo>
                    <a:pt x="2582362" y="1561821"/>
                  </a:lnTo>
                  <a:close/>
                  <a:moveTo>
                    <a:pt x="2814919" y="1560122"/>
                  </a:moveTo>
                  <a:lnTo>
                    <a:pt x="2783110" y="1564573"/>
                  </a:lnTo>
                  <a:cubicBezTo>
                    <a:pt x="2783153" y="1568719"/>
                    <a:pt x="2783136" y="1579552"/>
                    <a:pt x="2783116" y="1590755"/>
                  </a:cubicBezTo>
                  <a:lnTo>
                    <a:pt x="2814919" y="1590755"/>
                  </a:lnTo>
                  <a:close/>
                  <a:moveTo>
                    <a:pt x="3085194" y="1559855"/>
                  </a:moveTo>
                  <a:cubicBezTo>
                    <a:pt x="3070889" y="1559855"/>
                    <a:pt x="3059291" y="1571452"/>
                    <a:pt x="3059291" y="1585759"/>
                  </a:cubicBezTo>
                  <a:cubicBezTo>
                    <a:pt x="3059291" y="1590148"/>
                    <a:pt x="3060382" y="1594283"/>
                    <a:pt x="3062416" y="1597850"/>
                  </a:cubicBezTo>
                  <a:lnTo>
                    <a:pt x="3038712" y="1621553"/>
                  </a:lnTo>
                  <a:cubicBezTo>
                    <a:pt x="3037588" y="1622676"/>
                    <a:pt x="3037588" y="1624498"/>
                    <a:pt x="3038712" y="1625623"/>
                  </a:cubicBezTo>
                  <a:lnTo>
                    <a:pt x="3046852" y="1633764"/>
                  </a:lnTo>
                  <a:cubicBezTo>
                    <a:pt x="3047978" y="1634888"/>
                    <a:pt x="3049799" y="1634888"/>
                    <a:pt x="3050925" y="1633764"/>
                  </a:cubicBezTo>
                  <a:lnTo>
                    <a:pt x="3075079" y="1609610"/>
                  </a:lnTo>
                  <a:cubicBezTo>
                    <a:pt x="3078186" y="1610931"/>
                    <a:pt x="3081604" y="1611663"/>
                    <a:pt x="3085194" y="1611663"/>
                  </a:cubicBezTo>
                  <a:cubicBezTo>
                    <a:pt x="3099501" y="1611663"/>
                    <a:pt x="3111099" y="1600065"/>
                    <a:pt x="3111099" y="1585759"/>
                  </a:cubicBezTo>
                  <a:cubicBezTo>
                    <a:pt x="3111099" y="1571452"/>
                    <a:pt x="3099501" y="1559855"/>
                    <a:pt x="3085194" y="1559855"/>
                  </a:cubicBezTo>
                  <a:close/>
                  <a:moveTo>
                    <a:pt x="2860734" y="1553710"/>
                  </a:moveTo>
                  <a:lnTo>
                    <a:pt x="2818847" y="1559572"/>
                  </a:lnTo>
                  <a:lnTo>
                    <a:pt x="2818847" y="1590755"/>
                  </a:lnTo>
                  <a:lnTo>
                    <a:pt x="2860797" y="1590755"/>
                  </a:lnTo>
                  <a:close/>
                  <a:moveTo>
                    <a:pt x="6408449" y="1550368"/>
                  </a:moveTo>
                  <a:cubicBezTo>
                    <a:pt x="6422885" y="1550368"/>
                    <a:pt x="6434588" y="1562071"/>
                    <a:pt x="6434588" y="1576506"/>
                  </a:cubicBezTo>
                  <a:cubicBezTo>
                    <a:pt x="6434588" y="1590942"/>
                    <a:pt x="6422885" y="1602645"/>
                    <a:pt x="6408449" y="1602645"/>
                  </a:cubicBezTo>
                  <a:cubicBezTo>
                    <a:pt x="6394014" y="1602645"/>
                    <a:pt x="6382311" y="1590942"/>
                    <a:pt x="6382311" y="1576506"/>
                  </a:cubicBezTo>
                  <a:cubicBezTo>
                    <a:pt x="6382311" y="1562071"/>
                    <a:pt x="6394014" y="1550368"/>
                    <a:pt x="6408449" y="1550368"/>
                  </a:cubicBezTo>
                  <a:close/>
                  <a:moveTo>
                    <a:pt x="6219663" y="1545115"/>
                  </a:moveTo>
                  <a:lnTo>
                    <a:pt x="6197045" y="1567734"/>
                  </a:lnTo>
                  <a:lnTo>
                    <a:pt x="6197045" y="1567661"/>
                  </a:lnTo>
                  <a:lnTo>
                    <a:pt x="6186968" y="1577738"/>
                  </a:lnTo>
                  <a:lnTo>
                    <a:pt x="6186968" y="1577811"/>
                  </a:lnTo>
                  <a:lnTo>
                    <a:pt x="6165737" y="1599043"/>
                  </a:lnTo>
                  <a:lnTo>
                    <a:pt x="6174233" y="1607540"/>
                  </a:lnTo>
                  <a:lnTo>
                    <a:pt x="6219663" y="1562110"/>
                  </a:lnTo>
                  <a:lnTo>
                    <a:pt x="6219784" y="1562231"/>
                  </a:lnTo>
                  <a:lnTo>
                    <a:pt x="6219828" y="1562188"/>
                  </a:lnTo>
                  <a:lnTo>
                    <a:pt x="6265241" y="1607603"/>
                  </a:lnTo>
                  <a:lnTo>
                    <a:pt x="6273696" y="1599147"/>
                  </a:lnTo>
                  <a:lnTo>
                    <a:pt x="6250715" y="1576167"/>
                  </a:lnTo>
                  <a:lnTo>
                    <a:pt x="6250715" y="1548405"/>
                  </a:lnTo>
                  <a:lnTo>
                    <a:pt x="6240640" y="1548405"/>
                  </a:lnTo>
                  <a:lnTo>
                    <a:pt x="6240640" y="1566092"/>
                  </a:lnTo>
                  <a:close/>
                  <a:moveTo>
                    <a:pt x="6408449" y="1535759"/>
                  </a:moveTo>
                  <a:cubicBezTo>
                    <a:pt x="6385946" y="1535759"/>
                    <a:pt x="6367702" y="1554003"/>
                    <a:pt x="6367702" y="1576506"/>
                  </a:cubicBezTo>
                  <a:cubicBezTo>
                    <a:pt x="6367702" y="1599011"/>
                    <a:pt x="6385946" y="1617255"/>
                    <a:pt x="6408449" y="1617255"/>
                  </a:cubicBezTo>
                  <a:cubicBezTo>
                    <a:pt x="6417430" y="1617255"/>
                    <a:pt x="6425732" y="1614350"/>
                    <a:pt x="6432040" y="1608842"/>
                  </a:cubicBezTo>
                  <a:lnTo>
                    <a:pt x="6465332" y="1642134"/>
                  </a:lnTo>
                  <a:lnTo>
                    <a:pt x="6475661" y="1631804"/>
                  </a:lnTo>
                  <a:lnTo>
                    <a:pt x="6442062" y="1598203"/>
                  </a:lnTo>
                  <a:cubicBezTo>
                    <a:pt x="6446807" y="1592243"/>
                    <a:pt x="6449198" y="1584655"/>
                    <a:pt x="6449198" y="1576506"/>
                  </a:cubicBezTo>
                  <a:cubicBezTo>
                    <a:pt x="6449198" y="1554003"/>
                    <a:pt x="6430954" y="1535759"/>
                    <a:pt x="6408449" y="1535759"/>
                  </a:cubicBezTo>
                  <a:close/>
                  <a:moveTo>
                    <a:pt x="5945410" y="1535759"/>
                  </a:moveTo>
                  <a:lnTo>
                    <a:pt x="5945410" y="1548383"/>
                  </a:lnTo>
                  <a:lnTo>
                    <a:pt x="6053370" y="1548383"/>
                  </a:lnTo>
                  <a:lnTo>
                    <a:pt x="6053370" y="1535759"/>
                  </a:lnTo>
                  <a:close/>
                  <a:moveTo>
                    <a:pt x="5791471" y="1535759"/>
                  </a:moveTo>
                  <a:lnTo>
                    <a:pt x="5765016" y="1562214"/>
                  </a:lnTo>
                  <a:lnTo>
                    <a:pt x="5791932" y="1589132"/>
                  </a:lnTo>
                  <a:lnTo>
                    <a:pt x="5811855" y="1589132"/>
                  </a:lnTo>
                  <a:lnTo>
                    <a:pt x="5791731" y="1569006"/>
                  </a:lnTo>
                  <a:lnTo>
                    <a:pt x="5825016" y="1569006"/>
                  </a:lnTo>
                  <a:cubicBezTo>
                    <a:pt x="5841827" y="1569006"/>
                    <a:pt x="5855455" y="1582634"/>
                    <a:pt x="5855455" y="1599445"/>
                  </a:cubicBezTo>
                  <a:cubicBezTo>
                    <a:pt x="5855455" y="1616255"/>
                    <a:pt x="5841827" y="1629884"/>
                    <a:pt x="5825016" y="1629884"/>
                  </a:cubicBezTo>
                  <a:lnTo>
                    <a:pt x="5783509" y="1629884"/>
                  </a:lnTo>
                  <a:lnTo>
                    <a:pt x="5783509" y="1643718"/>
                  </a:lnTo>
                  <a:lnTo>
                    <a:pt x="5826777" y="1643718"/>
                  </a:lnTo>
                  <a:cubicBezTo>
                    <a:pt x="5851228" y="1643718"/>
                    <a:pt x="5871050" y="1623897"/>
                    <a:pt x="5871050" y="1599445"/>
                  </a:cubicBezTo>
                  <a:cubicBezTo>
                    <a:pt x="5871050" y="1574993"/>
                    <a:pt x="5851228" y="1555170"/>
                    <a:pt x="5826777" y="1555170"/>
                  </a:cubicBezTo>
                  <a:lnTo>
                    <a:pt x="5791982" y="1555170"/>
                  </a:lnTo>
                  <a:lnTo>
                    <a:pt x="5811394" y="1535759"/>
                  </a:lnTo>
                  <a:close/>
                  <a:moveTo>
                    <a:pt x="5136541" y="1520601"/>
                  </a:moveTo>
                  <a:cubicBezTo>
                    <a:pt x="5097616" y="1520601"/>
                    <a:pt x="5066061" y="1552156"/>
                    <a:pt x="5066061" y="1591081"/>
                  </a:cubicBezTo>
                  <a:cubicBezTo>
                    <a:pt x="5066061" y="1630006"/>
                    <a:pt x="5097616" y="1661562"/>
                    <a:pt x="5136541" y="1661562"/>
                  </a:cubicBezTo>
                  <a:cubicBezTo>
                    <a:pt x="5175466" y="1661562"/>
                    <a:pt x="5207022" y="1630006"/>
                    <a:pt x="5207022" y="1591081"/>
                  </a:cubicBezTo>
                  <a:cubicBezTo>
                    <a:pt x="5207022" y="1552156"/>
                    <a:pt x="5175466" y="1520601"/>
                    <a:pt x="5136541" y="1520601"/>
                  </a:cubicBezTo>
                  <a:close/>
                  <a:moveTo>
                    <a:pt x="2804155" y="1019973"/>
                  </a:moveTo>
                  <a:lnTo>
                    <a:pt x="3072374" y="1019973"/>
                  </a:lnTo>
                  <a:cubicBezTo>
                    <a:pt x="3072507" y="1098634"/>
                    <a:pt x="3072639" y="1177294"/>
                    <a:pt x="3072771" y="1255954"/>
                  </a:cubicBezTo>
                  <a:lnTo>
                    <a:pt x="2804155" y="1218873"/>
                  </a:lnTo>
                  <a:close/>
                  <a:moveTo>
                    <a:pt x="2575684" y="1019973"/>
                  </a:moveTo>
                  <a:lnTo>
                    <a:pt x="2779051" y="1019973"/>
                  </a:lnTo>
                  <a:lnTo>
                    <a:pt x="2779051" y="1215407"/>
                  </a:lnTo>
                  <a:lnTo>
                    <a:pt x="2575706" y="1187336"/>
                  </a:lnTo>
                  <a:cubicBezTo>
                    <a:pt x="2575443" y="1160848"/>
                    <a:pt x="2575553" y="1091590"/>
                    <a:pt x="2575684" y="1019973"/>
                  </a:cubicBezTo>
                  <a:close/>
                  <a:moveTo>
                    <a:pt x="1127626" y="1017379"/>
                  </a:moveTo>
                  <a:lnTo>
                    <a:pt x="1496190" y="1017379"/>
                  </a:lnTo>
                  <a:cubicBezTo>
                    <a:pt x="1496372" y="1125468"/>
                    <a:pt x="1496554" y="1233556"/>
                    <a:pt x="1496735" y="1341644"/>
                  </a:cubicBezTo>
                  <a:lnTo>
                    <a:pt x="1127626" y="1290690"/>
                  </a:lnTo>
                  <a:close/>
                  <a:moveTo>
                    <a:pt x="813680" y="1017379"/>
                  </a:moveTo>
                  <a:lnTo>
                    <a:pt x="1093130" y="1017379"/>
                  </a:lnTo>
                  <a:lnTo>
                    <a:pt x="1093130" y="1285928"/>
                  </a:lnTo>
                  <a:lnTo>
                    <a:pt x="813711" y="1247355"/>
                  </a:lnTo>
                  <a:cubicBezTo>
                    <a:pt x="813348" y="1210958"/>
                    <a:pt x="813500" y="1115789"/>
                    <a:pt x="813680" y="1017379"/>
                  </a:cubicBezTo>
                  <a:close/>
                  <a:moveTo>
                    <a:pt x="8200722" y="882974"/>
                  </a:moveTo>
                  <a:lnTo>
                    <a:pt x="8221059" y="882974"/>
                  </a:lnTo>
                  <a:lnTo>
                    <a:pt x="8511008" y="882974"/>
                  </a:lnTo>
                  <a:lnTo>
                    <a:pt x="8531346" y="882974"/>
                  </a:lnTo>
                  <a:lnTo>
                    <a:pt x="8531346" y="1018677"/>
                  </a:lnTo>
                  <a:lnTo>
                    <a:pt x="8530729" y="1018677"/>
                  </a:lnTo>
                  <a:lnTo>
                    <a:pt x="8530729" y="1161453"/>
                  </a:lnTo>
                  <a:lnTo>
                    <a:pt x="8529496" y="1167628"/>
                  </a:lnTo>
                  <a:lnTo>
                    <a:pt x="8527031" y="1173185"/>
                  </a:lnTo>
                  <a:lnTo>
                    <a:pt x="8522717" y="1177508"/>
                  </a:lnTo>
                  <a:lnTo>
                    <a:pt x="8517171" y="1180286"/>
                  </a:lnTo>
                  <a:lnTo>
                    <a:pt x="8511008" y="1181521"/>
                  </a:lnTo>
                  <a:lnTo>
                    <a:pt x="8468428" y="1181521"/>
                  </a:lnTo>
                  <a:lnTo>
                    <a:pt x="8468428" y="1268851"/>
                  </a:lnTo>
                  <a:lnTo>
                    <a:pt x="8467189" y="1277782"/>
                  </a:lnTo>
                  <a:lnTo>
                    <a:pt x="8463782" y="1286098"/>
                  </a:lnTo>
                  <a:lnTo>
                    <a:pt x="8458516" y="1293182"/>
                  </a:lnTo>
                  <a:lnTo>
                    <a:pt x="8451391" y="1299034"/>
                  </a:lnTo>
                  <a:lnTo>
                    <a:pt x="8443027" y="1302422"/>
                  </a:lnTo>
                  <a:lnTo>
                    <a:pt x="8433424" y="1303654"/>
                  </a:lnTo>
                  <a:lnTo>
                    <a:pt x="8424131" y="1302422"/>
                  </a:lnTo>
                  <a:lnTo>
                    <a:pt x="8415767" y="1299034"/>
                  </a:lnTo>
                  <a:lnTo>
                    <a:pt x="8408642" y="1293182"/>
                  </a:lnTo>
                  <a:lnTo>
                    <a:pt x="8403066" y="1286098"/>
                  </a:lnTo>
                  <a:lnTo>
                    <a:pt x="8399349" y="1277782"/>
                  </a:lnTo>
                  <a:lnTo>
                    <a:pt x="8398109" y="1268851"/>
                  </a:lnTo>
                  <a:lnTo>
                    <a:pt x="8398109" y="1181521"/>
                  </a:lnTo>
                  <a:lnTo>
                    <a:pt x="8332725" y="1181521"/>
                  </a:lnTo>
                  <a:lnTo>
                    <a:pt x="8332725" y="1268851"/>
                  </a:lnTo>
                  <a:lnTo>
                    <a:pt x="8331196" y="1277782"/>
                  </a:lnTo>
                  <a:lnTo>
                    <a:pt x="8328139" y="1286098"/>
                  </a:lnTo>
                  <a:lnTo>
                    <a:pt x="8322636" y="1293182"/>
                  </a:lnTo>
                  <a:lnTo>
                    <a:pt x="8315605" y="1299034"/>
                  </a:lnTo>
                  <a:lnTo>
                    <a:pt x="8307351" y="1302422"/>
                  </a:lnTo>
                  <a:lnTo>
                    <a:pt x="8297874" y="1303654"/>
                  </a:lnTo>
                  <a:lnTo>
                    <a:pt x="8288702" y="1302422"/>
                  </a:lnTo>
                  <a:lnTo>
                    <a:pt x="8280448" y="1299034"/>
                  </a:lnTo>
                  <a:lnTo>
                    <a:pt x="8273417" y="1293182"/>
                  </a:lnTo>
                  <a:lnTo>
                    <a:pt x="8267914" y="1286098"/>
                  </a:lnTo>
                  <a:lnTo>
                    <a:pt x="8264245" y="1277782"/>
                  </a:lnTo>
                  <a:lnTo>
                    <a:pt x="8263023" y="1268851"/>
                  </a:lnTo>
                  <a:lnTo>
                    <a:pt x="8263023" y="1181521"/>
                  </a:lnTo>
                  <a:lnTo>
                    <a:pt x="8221059" y="1181521"/>
                  </a:lnTo>
                  <a:lnTo>
                    <a:pt x="8214589" y="1180286"/>
                  </a:lnTo>
                  <a:lnTo>
                    <a:pt x="8209350" y="1177508"/>
                  </a:lnTo>
                  <a:lnTo>
                    <a:pt x="8205037" y="1173185"/>
                  </a:lnTo>
                  <a:lnTo>
                    <a:pt x="8202263" y="1167628"/>
                  </a:lnTo>
                  <a:lnTo>
                    <a:pt x="8201339" y="1161453"/>
                  </a:lnTo>
                  <a:lnTo>
                    <a:pt x="8201339" y="1018677"/>
                  </a:lnTo>
                  <a:lnTo>
                    <a:pt x="8200722" y="1018677"/>
                  </a:lnTo>
                  <a:close/>
                  <a:moveTo>
                    <a:pt x="5227484" y="878578"/>
                  </a:moveTo>
                  <a:cubicBezTo>
                    <a:pt x="5296602" y="878578"/>
                    <a:pt x="5323885" y="928253"/>
                    <a:pt x="5323885" y="928253"/>
                  </a:cubicBezTo>
                  <a:cubicBezTo>
                    <a:pt x="5323885" y="928253"/>
                    <a:pt x="5270531" y="955850"/>
                    <a:pt x="5270531" y="1022696"/>
                  </a:cubicBezTo>
                  <a:cubicBezTo>
                    <a:pt x="5270531" y="1098128"/>
                    <a:pt x="5337223" y="1123886"/>
                    <a:pt x="5337223" y="1123886"/>
                  </a:cubicBezTo>
                  <a:cubicBezTo>
                    <a:pt x="5337223" y="1123886"/>
                    <a:pt x="5290539" y="1255739"/>
                    <a:pt x="5228091" y="1255739"/>
                  </a:cubicBezTo>
                  <a:cubicBezTo>
                    <a:pt x="5199595" y="1255739"/>
                    <a:pt x="5177162" y="1236114"/>
                    <a:pt x="5146848" y="1236114"/>
                  </a:cubicBezTo>
                  <a:cubicBezTo>
                    <a:pt x="5115927" y="1236114"/>
                    <a:pt x="5085006" y="1256965"/>
                    <a:pt x="5064998" y="1256965"/>
                  </a:cubicBezTo>
                  <a:cubicBezTo>
                    <a:pt x="5008007" y="1256965"/>
                    <a:pt x="4935858" y="1131858"/>
                    <a:pt x="4935858" y="1031282"/>
                  </a:cubicBezTo>
                  <a:cubicBezTo>
                    <a:pt x="4935858" y="931932"/>
                    <a:pt x="4997094" y="879805"/>
                    <a:pt x="5054085" y="879805"/>
                  </a:cubicBezTo>
                  <a:cubicBezTo>
                    <a:pt x="5091675" y="879805"/>
                    <a:pt x="5120777" y="901882"/>
                    <a:pt x="5140179" y="901882"/>
                  </a:cubicBezTo>
                  <a:cubicBezTo>
                    <a:pt x="5156548" y="901882"/>
                    <a:pt x="5187469" y="878578"/>
                    <a:pt x="5227484" y="878578"/>
                  </a:cubicBezTo>
                  <a:close/>
                  <a:moveTo>
                    <a:pt x="8583622" y="871871"/>
                  </a:moveTo>
                  <a:lnTo>
                    <a:pt x="8592915" y="873105"/>
                  </a:lnTo>
                  <a:lnTo>
                    <a:pt x="8601898" y="876806"/>
                  </a:lnTo>
                  <a:lnTo>
                    <a:pt x="8609023" y="882357"/>
                  </a:lnTo>
                  <a:lnTo>
                    <a:pt x="8614289" y="889451"/>
                  </a:lnTo>
                  <a:lnTo>
                    <a:pt x="8617697" y="897778"/>
                  </a:lnTo>
                  <a:lnTo>
                    <a:pt x="8618936" y="907339"/>
                  </a:lnTo>
                  <a:lnTo>
                    <a:pt x="8618936" y="1064631"/>
                  </a:lnTo>
                  <a:lnTo>
                    <a:pt x="8617697" y="1073884"/>
                  </a:lnTo>
                  <a:lnTo>
                    <a:pt x="8614289" y="1082520"/>
                  </a:lnTo>
                  <a:lnTo>
                    <a:pt x="8609023" y="1089613"/>
                  </a:lnTo>
                  <a:lnTo>
                    <a:pt x="8601898" y="1095165"/>
                  </a:lnTo>
                  <a:lnTo>
                    <a:pt x="8592915" y="1098249"/>
                  </a:lnTo>
                  <a:lnTo>
                    <a:pt x="8583622" y="1099482"/>
                  </a:lnTo>
                  <a:lnTo>
                    <a:pt x="8574638" y="1098249"/>
                  </a:lnTo>
                  <a:lnTo>
                    <a:pt x="8566274" y="1095165"/>
                  </a:lnTo>
                  <a:lnTo>
                    <a:pt x="8559149" y="1089613"/>
                  </a:lnTo>
                  <a:lnTo>
                    <a:pt x="8553264" y="1082520"/>
                  </a:lnTo>
                  <a:lnTo>
                    <a:pt x="8549856" y="1073884"/>
                  </a:lnTo>
                  <a:lnTo>
                    <a:pt x="8548617" y="1064631"/>
                  </a:lnTo>
                  <a:lnTo>
                    <a:pt x="8548617" y="907339"/>
                  </a:lnTo>
                  <a:lnTo>
                    <a:pt x="8549856" y="897778"/>
                  </a:lnTo>
                  <a:lnTo>
                    <a:pt x="8553264" y="889451"/>
                  </a:lnTo>
                  <a:lnTo>
                    <a:pt x="8559149" y="882357"/>
                  </a:lnTo>
                  <a:lnTo>
                    <a:pt x="8566274" y="876806"/>
                  </a:lnTo>
                  <a:lnTo>
                    <a:pt x="8574638" y="873105"/>
                  </a:lnTo>
                  <a:close/>
                  <a:moveTo>
                    <a:pt x="8147521" y="871871"/>
                  </a:moveTo>
                  <a:lnTo>
                    <a:pt x="8157040" y="873105"/>
                  </a:lnTo>
                  <a:lnTo>
                    <a:pt x="8165331" y="876806"/>
                  </a:lnTo>
                  <a:lnTo>
                    <a:pt x="8172394" y="882357"/>
                  </a:lnTo>
                  <a:lnTo>
                    <a:pt x="8177921" y="889451"/>
                  </a:lnTo>
                  <a:lnTo>
                    <a:pt x="8181606" y="897778"/>
                  </a:lnTo>
                  <a:lnTo>
                    <a:pt x="8182834" y="907339"/>
                  </a:lnTo>
                  <a:lnTo>
                    <a:pt x="8182834" y="1064631"/>
                  </a:lnTo>
                  <a:lnTo>
                    <a:pt x="8181606" y="1073884"/>
                  </a:lnTo>
                  <a:lnTo>
                    <a:pt x="8177921" y="1082520"/>
                  </a:lnTo>
                  <a:lnTo>
                    <a:pt x="8172394" y="1089613"/>
                  </a:lnTo>
                  <a:lnTo>
                    <a:pt x="8165331" y="1095165"/>
                  </a:lnTo>
                  <a:lnTo>
                    <a:pt x="8157040" y="1098249"/>
                  </a:lnTo>
                  <a:lnTo>
                    <a:pt x="8147521" y="1099482"/>
                  </a:lnTo>
                  <a:lnTo>
                    <a:pt x="8138309" y="1098249"/>
                  </a:lnTo>
                  <a:lnTo>
                    <a:pt x="8130018" y="1095165"/>
                  </a:lnTo>
                  <a:lnTo>
                    <a:pt x="8122956" y="1089613"/>
                  </a:lnTo>
                  <a:lnTo>
                    <a:pt x="8117428" y="1082520"/>
                  </a:lnTo>
                  <a:lnTo>
                    <a:pt x="8113743" y="1073884"/>
                  </a:lnTo>
                  <a:lnTo>
                    <a:pt x="8112515" y="1064631"/>
                  </a:lnTo>
                  <a:lnTo>
                    <a:pt x="8112515" y="907339"/>
                  </a:lnTo>
                  <a:lnTo>
                    <a:pt x="8113743" y="897778"/>
                  </a:lnTo>
                  <a:lnTo>
                    <a:pt x="8117428" y="889451"/>
                  </a:lnTo>
                  <a:lnTo>
                    <a:pt x="8122956" y="882357"/>
                  </a:lnTo>
                  <a:lnTo>
                    <a:pt x="8130018" y="876806"/>
                  </a:lnTo>
                  <a:lnTo>
                    <a:pt x="8138309" y="873105"/>
                  </a:lnTo>
                  <a:close/>
                  <a:moveTo>
                    <a:pt x="2779051" y="799046"/>
                  </a:moveTo>
                  <a:lnTo>
                    <a:pt x="2779051" y="994869"/>
                  </a:lnTo>
                  <a:lnTo>
                    <a:pt x="2575728" y="994869"/>
                  </a:lnTo>
                  <a:cubicBezTo>
                    <a:pt x="2575859" y="923253"/>
                    <a:pt x="2575969" y="853994"/>
                    <a:pt x="2575706" y="827507"/>
                  </a:cubicBezTo>
                  <a:close/>
                  <a:moveTo>
                    <a:pt x="6545761" y="779646"/>
                  </a:moveTo>
                  <a:lnTo>
                    <a:pt x="6571241" y="779646"/>
                  </a:lnTo>
                  <a:lnTo>
                    <a:pt x="6934512" y="779646"/>
                  </a:lnTo>
                  <a:lnTo>
                    <a:pt x="6959993" y="779646"/>
                  </a:lnTo>
                  <a:lnTo>
                    <a:pt x="6959993" y="949666"/>
                  </a:lnTo>
                  <a:lnTo>
                    <a:pt x="6959220" y="949666"/>
                  </a:lnTo>
                  <a:lnTo>
                    <a:pt x="6959220" y="1128547"/>
                  </a:lnTo>
                  <a:lnTo>
                    <a:pt x="6957675" y="1136283"/>
                  </a:lnTo>
                  <a:lnTo>
                    <a:pt x="6954587" y="1143246"/>
                  </a:lnTo>
                  <a:lnTo>
                    <a:pt x="6949182" y="1148661"/>
                  </a:lnTo>
                  <a:lnTo>
                    <a:pt x="6942234" y="1152143"/>
                  </a:lnTo>
                  <a:lnTo>
                    <a:pt x="6934512" y="1153690"/>
                  </a:lnTo>
                  <a:lnTo>
                    <a:pt x="6881165" y="1153690"/>
                  </a:lnTo>
                  <a:lnTo>
                    <a:pt x="6881165" y="1263103"/>
                  </a:lnTo>
                  <a:lnTo>
                    <a:pt x="6879613" y="1274294"/>
                  </a:lnTo>
                  <a:lnTo>
                    <a:pt x="6875343" y="1284713"/>
                  </a:lnTo>
                  <a:lnTo>
                    <a:pt x="6868745" y="1293588"/>
                  </a:lnTo>
                  <a:lnTo>
                    <a:pt x="6859819" y="1300920"/>
                  </a:lnTo>
                  <a:lnTo>
                    <a:pt x="6849340" y="1305165"/>
                  </a:lnTo>
                  <a:lnTo>
                    <a:pt x="6837308" y="1306708"/>
                  </a:lnTo>
                  <a:lnTo>
                    <a:pt x="6825665" y="1305165"/>
                  </a:lnTo>
                  <a:lnTo>
                    <a:pt x="6815186" y="1300920"/>
                  </a:lnTo>
                  <a:lnTo>
                    <a:pt x="6806259" y="1293588"/>
                  </a:lnTo>
                  <a:lnTo>
                    <a:pt x="6799273" y="1284713"/>
                  </a:lnTo>
                  <a:lnTo>
                    <a:pt x="6794616" y="1274294"/>
                  </a:lnTo>
                  <a:lnTo>
                    <a:pt x="6793064" y="1263103"/>
                  </a:lnTo>
                  <a:lnTo>
                    <a:pt x="6793064" y="1153690"/>
                  </a:lnTo>
                  <a:lnTo>
                    <a:pt x="6711145" y="1153690"/>
                  </a:lnTo>
                  <a:lnTo>
                    <a:pt x="6711145" y="1263103"/>
                  </a:lnTo>
                  <a:lnTo>
                    <a:pt x="6709230" y="1274294"/>
                  </a:lnTo>
                  <a:lnTo>
                    <a:pt x="6705399" y="1284713"/>
                  </a:lnTo>
                  <a:lnTo>
                    <a:pt x="6698505" y="1293588"/>
                  </a:lnTo>
                  <a:lnTo>
                    <a:pt x="6689696" y="1300920"/>
                  </a:lnTo>
                  <a:lnTo>
                    <a:pt x="6679354" y="1305165"/>
                  </a:lnTo>
                  <a:lnTo>
                    <a:pt x="6667480" y="1306708"/>
                  </a:lnTo>
                  <a:lnTo>
                    <a:pt x="6655990" y="1305165"/>
                  </a:lnTo>
                  <a:lnTo>
                    <a:pt x="6645648" y="1300920"/>
                  </a:lnTo>
                  <a:lnTo>
                    <a:pt x="6636839" y="1293588"/>
                  </a:lnTo>
                  <a:lnTo>
                    <a:pt x="6629944" y="1284713"/>
                  </a:lnTo>
                  <a:lnTo>
                    <a:pt x="6625348" y="1274294"/>
                  </a:lnTo>
                  <a:lnTo>
                    <a:pt x="6623816" y="1263103"/>
                  </a:lnTo>
                  <a:lnTo>
                    <a:pt x="6623816" y="1153690"/>
                  </a:lnTo>
                  <a:lnTo>
                    <a:pt x="6571241" y="1153690"/>
                  </a:lnTo>
                  <a:lnTo>
                    <a:pt x="6563134" y="1152143"/>
                  </a:lnTo>
                  <a:lnTo>
                    <a:pt x="6556571" y="1148661"/>
                  </a:lnTo>
                  <a:lnTo>
                    <a:pt x="6551167" y="1143246"/>
                  </a:lnTo>
                  <a:lnTo>
                    <a:pt x="6547692" y="1136283"/>
                  </a:lnTo>
                  <a:lnTo>
                    <a:pt x="6546534" y="1128547"/>
                  </a:lnTo>
                  <a:lnTo>
                    <a:pt x="6546534" y="949666"/>
                  </a:lnTo>
                  <a:lnTo>
                    <a:pt x="6545761" y="949666"/>
                  </a:lnTo>
                  <a:close/>
                  <a:moveTo>
                    <a:pt x="8437587" y="772562"/>
                  </a:moveTo>
                  <a:lnTo>
                    <a:pt x="8431419" y="774092"/>
                  </a:lnTo>
                  <a:lnTo>
                    <a:pt x="8425867" y="776846"/>
                  </a:lnTo>
                  <a:lnTo>
                    <a:pt x="8421858" y="780824"/>
                  </a:lnTo>
                  <a:lnTo>
                    <a:pt x="8418774" y="786333"/>
                  </a:lnTo>
                  <a:lnTo>
                    <a:pt x="8417848" y="792453"/>
                  </a:lnTo>
                  <a:lnTo>
                    <a:pt x="8418774" y="798880"/>
                  </a:lnTo>
                  <a:lnTo>
                    <a:pt x="8421858" y="804083"/>
                  </a:lnTo>
                  <a:lnTo>
                    <a:pt x="8425867" y="808367"/>
                  </a:lnTo>
                  <a:lnTo>
                    <a:pt x="8431419" y="811121"/>
                  </a:lnTo>
                  <a:lnTo>
                    <a:pt x="8437587" y="812039"/>
                  </a:lnTo>
                  <a:lnTo>
                    <a:pt x="8443755" y="811121"/>
                  </a:lnTo>
                  <a:lnTo>
                    <a:pt x="8449307" y="808367"/>
                  </a:lnTo>
                  <a:lnTo>
                    <a:pt x="8453316" y="804083"/>
                  </a:lnTo>
                  <a:lnTo>
                    <a:pt x="8456401" y="798880"/>
                  </a:lnTo>
                  <a:lnTo>
                    <a:pt x="8457326" y="792453"/>
                  </a:lnTo>
                  <a:lnTo>
                    <a:pt x="8456401" y="786333"/>
                  </a:lnTo>
                  <a:lnTo>
                    <a:pt x="8453316" y="780824"/>
                  </a:lnTo>
                  <a:lnTo>
                    <a:pt x="8449307" y="776846"/>
                  </a:lnTo>
                  <a:lnTo>
                    <a:pt x="8443755" y="774092"/>
                  </a:lnTo>
                  <a:close/>
                  <a:moveTo>
                    <a:pt x="8293556" y="772562"/>
                  </a:moveTo>
                  <a:lnTo>
                    <a:pt x="8287388" y="774092"/>
                  </a:lnTo>
                  <a:lnTo>
                    <a:pt x="8281836" y="776846"/>
                  </a:lnTo>
                  <a:lnTo>
                    <a:pt x="8277827" y="780824"/>
                  </a:lnTo>
                  <a:lnTo>
                    <a:pt x="8275360" y="786333"/>
                  </a:lnTo>
                  <a:lnTo>
                    <a:pt x="8274126" y="792453"/>
                  </a:lnTo>
                  <a:lnTo>
                    <a:pt x="8275360" y="798880"/>
                  </a:lnTo>
                  <a:lnTo>
                    <a:pt x="8277827" y="804083"/>
                  </a:lnTo>
                  <a:lnTo>
                    <a:pt x="8281836" y="808367"/>
                  </a:lnTo>
                  <a:lnTo>
                    <a:pt x="8287388" y="811121"/>
                  </a:lnTo>
                  <a:lnTo>
                    <a:pt x="8293556" y="812039"/>
                  </a:lnTo>
                  <a:lnTo>
                    <a:pt x="8300033" y="811121"/>
                  </a:lnTo>
                  <a:lnTo>
                    <a:pt x="8305276" y="808367"/>
                  </a:lnTo>
                  <a:lnTo>
                    <a:pt x="8309902" y="804083"/>
                  </a:lnTo>
                  <a:lnTo>
                    <a:pt x="8312370" y="798880"/>
                  </a:lnTo>
                  <a:lnTo>
                    <a:pt x="8313603" y="792453"/>
                  </a:lnTo>
                  <a:lnTo>
                    <a:pt x="8312370" y="786333"/>
                  </a:lnTo>
                  <a:lnTo>
                    <a:pt x="8309902" y="780824"/>
                  </a:lnTo>
                  <a:lnTo>
                    <a:pt x="8305276" y="776846"/>
                  </a:lnTo>
                  <a:lnTo>
                    <a:pt x="8300033" y="774092"/>
                  </a:lnTo>
                  <a:close/>
                  <a:moveTo>
                    <a:pt x="7025488" y="765735"/>
                  </a:moveTo>
                  <a:lnTo>
                    <a:pt x="7037131" y="767281"/>
                  </a:lnTo>
                  <a:lnTo>
                    <a:pt x="7048387" y="771918"/>
                  </a:lnTo>
                  <a:lnTo>
                    <a:pt x="7057313" y="778873"/>
                  </a:lnTo>
                  <a:lnTo>
                    <a:pt x="7063911" y="787761"/>
                  </a:lnTo>
                  <a:lnTo>
                    <a:pt x="7068181" y="798193"/>
                  </a:lnTo>
                  <a:lnTo>
                    <a:pt x="7069733" y="810172"/>
                  </a:lnTo>
                  <a:lnTo>
                    <a:pt x="7069733" y="1007241"/>
                  </a:lnTo>
                  <a:lnTo>
                    <a:pt x="7068181" y="1018833"/>
                  </a:lnTo>
                  <a:lnTo>
                    <a:pt x="7063911" y="1029653"/>
                  </a:lnTo>
                  <a:lnTo>
                    <a:pt x="7057313" y="1038540"/>
                  </a:lnTo>
                  <a:lnTo>
                    <a:pt x="7048387" y="1045496"/>
                  </a:lnTo>
                  <a:lnTo>
                    <a:pt x="7037131" y="1049360"/>
                  </a:lnTo>
                  <a:lnTo>
                    <a:pt x="7025488" y="1050905"/>
                  </a:lnTo>
                  <a:lnTo>
                    <a:pt x="7014233" y="1049360"/>
                  </a:lnTo>
                  <a:lnTo>
                    <a:pt x="7003754" y="1045496"/>
                  </a:lnTo>
                  <a:lnTo>
                    <a:pt x="6994827" y="1038540"/>
                  </a:lnTo>
                  <a:lnTo>
                    <a:pt x="6987453" y="1029653"/>
                  </a:lnTo>
                  <a:lnTo>
                    <a:pt x="6983184" y="1018833"/>
                  </a:lnTo>
                  <a:lnTo>
                    <a:pt x="6981632" y="1007241"/>
                  </a:lnTo>
                  <a:lnTo>
                    <a:pt x="6981632" y="810172"/>
                  </a:lnTo>
                  <a:lnTo>
                    <a:pt x="6983184" y="798193"/>
                  </a:lnTo>
                  <a:lnTo>
                    <a:pt x="6987453" y="787761"/>
                  </a:lnTo>
                  <a:lnTo>
                    <a:pt x="6994827" y="778873"/>
                  </a:lnTo>
                  <a:lnTo>
                    <a:pt x="7003754" y="771918"/>
                  </a:lnTo>
                  <a:lnTo>
                    <a:pt x="7014233" y="767281"/>
                  </a:lnTo>
                  <a:close/>
                  <a:moveTo>
                    <a:pt x="6479106" y="765735"/>
                  </a:moveTo>
                  <a:lnTo>
                    <a:pt x="6491033" y="767281"/>
                  </a:lnTo>
                  <a:lnTo>
                    <a:pt x="6501421" y="771918"/>
                  </a:lnTo>
                  <a:lnTo>
                    <a:pt x="6510269" y="778873"/>
                  </a:lnTo>
                  <a:lnTo>
                    <a:pt x="6517194" y="787761"/>
                  </a:lnTo>
                  <a:lnTo>
                    <a:pt x="6521811" y="798193"/>
                  </a:lnTo>
                  <a:lnTo>
                    <a:pt x="6523349" y="810172"/>
                  </a:lnTo>
                  <a:lnTo>
                    <a:pt x="6523349" y="1007241"/>
                  </a:lnTo>
                  <a:lnTo>
                    <a:pt x="6521811" y="1018833"/>
                  </a:lnTo>
                  <a:lnTo>
                    <a:pt x="6517194" y="1029653"/>
                  </a:lnTo>
                  <a:lnTo>
                    <a:pt x="6510269" y="1038540"/>
                  </a:lnTo>
                  <a:lnTo>
                    <a:pt x="6501421" y="1045496"/>
                  </a:lnTo>
                  <a:lnTo>
                    <a:pt x="6491033" y="1049360"/>
                  </a:lnTo>
                  <a:lnTo>
                    <a:pt x="6479106" y="1050905"/>
                  </a:lnTo>
                  <a:lnTo>
                    <a:pt x="6467565" y="1049360"/>
                  </a:lnTo>
                  <a:lnTo>
                    <a:pt x="6457177" y="1045496"/>
                  </a:lnTo>
                  <a:lnTo>
                    <a:pt x="6448329" y="1038540"/>
                  </a:lnTo>
                  <a:lnTo>
                    <a:pt x="6441404" y="1029653"/>
                  </a:lnTo>
                  <a:lnTo>
                    <a:pt x="6436787" y="1018833"/>
                  </a:lnTo>
                  <a:lnTo>
                    <a:pt x="6435248" y="1007241"/>
                  </a:lnTo>
                  <a:lnTo>
                    <a:pt x="6435248" y="810172"/>
                  </a:lnTo>
                  <a:lnTo>
                    <a:pt x="6436787" y="798193"/>
                  </a:lnTo>
                  <a:lnTo>
                    <a:pt x="6441404" y="787761"/>
                  </a:lnTo>
                  <a:lnTo>
                    <a:pt x="6448329" y="778873"/>
                  </a:lnTo>
                  <a:lnTo>
                    <a:pt x="6457177" y="771918"/>
                  </a:lnTo>
                  <a:lnTo>
                    <a:pt x="6467565" y="767281"/>
                  </a:lnTo>
                  <a:close/>
                  <a:moveTo>
                    <a:pt x="5234778" y="759063"/>
                  </a:moveTo>
                  <a:cubicBezTo>
                    <a:pt x="5234778" y="759063"/>
                    <a:pt x="5241447" y="799517"/>
                    <a:pt x="5209318" y="838744"/>
                  </a:cubicBezTo>
                  <a:cubicBezTo>
                    <a:pt x="5174764" y="880424"/>
                    <a:pt x="5135967" y="873682"/>
                    <a:pt x="5135967" y="873682"/>
                  </a:cubicBezTo>
                  <a:cubicBezTo>
                    <a:pt x="5135967" y="873682"/>
                    <a:pt x="5128693" y="840583"/>
                    <a:pt x="5157184" y="802581"/>
                  </a:cubicBezTo>
                  <a:cubicBezTo>
                    <a:pt x="5189313" y="759063"/>
                    <a:pt x="5234778" y="759063"/>
                    <a:pt x="5234778" y="759063"/>
                  </a:cubicBezTo>
                  <a:close/>
                  <a:moveTo>
                    <a:pt x="3071934" y="758052"/>
                  </a:moveTo>
                  <a:lnTo>
                    <a:pt x="3072332" y="994869"/>
                  </a:lnTo>
                  <a:lnTo>
                    <a:pt x="2804155" y="994869"/>
                  </a:lnTo>
                  <a:lnTo>
                    <a:pt x="2804155" y="795532"/>
                  </a:lnTo>
                  <a:close/>
                  <a:moveTo>
                    <a:pt x="1093130" y="713799"/>
                  </a:moveTo>
                  <a:lnTo>
                    <a:pt x="1093130" y="982883"/>
                  </a:lnTo>
                  <a:lnTo>
                    <a:pt x="813740" y="982883"/>
                  </a:lnTo>
                  <a:cubicBezTo>
                    <a:pt x="813921" y="884474"/>
                    <a:pt x="814072" y="789305"/>
                    <a:pt x="813710" y="752908"/>
                  </a:cubicBezTo>
                  <a:close/>
                  <a:moveTo>
                    <a:pt x="8262676" y="695457"/>
                  </a:moveTo>
                  <a:lnTo>
                    <a:pt x="8263593" y="695770"/>
                  </a:lnTo>
                  <a:lnTo>
                    <a:pt x="8263899" y="695770"/>
                  </a:lnTo>
                  <a:lnTo>
                    <a:pt x="8292641" y="737285"/>
                  </a:lnTo>
                  <a:lnTo>
                    <a:pt x="8297874" y="735220"/>
                  </a:lnTo>
                  <a:lnTo>
                    <a:pt x="8312986" y="730912"/>
                  </a:lnTo>
                  <a:lnTo>
                    <a:pt x="8328715" y="727527"/>
                  </a:lnTo>
                  <a:lnTo>
                    <a:pt x="8346604" y="725681"/>
                  </a:lnTo>
                  <a:lnTo>
                    <a:pt x="8365726" y="725065"/>
                  </a:lnTo>
                  <a:lnTo>
                    <a:pt x="8385465" y="725988"/>
                  </a:lnTo>
                  <a:lnTo>
                    <a:pt x="8403661" y="728142"/>
                  </a:lnTo>
                  <a:lnTo>
                    <a:pt x="8420624" y="731835"/>
                  </a:lnTo>
                  <a:lnTo>
                    <a:pt x="8435428" y="736451"/>
                  </a:lnTo>
                  <a:lnTo>
                    <a:pt x="8438249" y="737667"/>
                  </a:lnTo>
                  <a:lnTo>
                    <a:pt x="8467449" y="695770"/>
                  </a:lnTo>
                  <a:lnTo>
                    <a:pt x="8468071" y="695770"/>
                  </a:lnTo>
                  <a:lnTo>
                    <a:pt x="8468693" y="695457"/>
                  </a:lnTo>
                  <a:lnTo>
                    <a:pt x="8469626" y="695770"/>
                  </a:lnTo>
                  <a:lnTo>
                    <a:pt x="8470870" y="695770"/>
                  </a:lnTo>
                  <a:lnTo>
                    <a:pt x="8471803" y="696707"/>
                  </a:lnTo>
                  <a:lnTo>
                    <a:pt x="8472736" y="697332"/>
                  </a:lnTo>
                  <a:lnTo>
                    <a:pt x="8473358" y="698268"/>
                  </a:lnTo>
                  <a:lnTo>
                    <a:pt x="8473980" y="699518"/>
                  </a:lnTo>
                  <a:lnTo>
                    <a:pt x="8473358" y="700143"/>
                  </a:lnTo>
                  <a:lnTo>
                    <a:pt x="8445137" y="740635"/>
                  </a:lnTo>
                  <a:lnTo>
                    <a:pt x="8448998" y="742298"/>
                  </a:lnTo>
                  <a:lnTo>
                    <a:pt x="8461335" y="748760"/>
                  </a:lnTo>
                  <a:lnTo>
                    <a:pt x="8472129" y="755838"/>
                  </a:lnTo>
                  <a:lnTo>
                    <a:pt x="8481691" y="763839"/>
                  </a:lnTo>
                  <a:lnTo>
                    <a:pt x="8490018" y="772456"/>
                  </a:lnTo>
                  <a:lnTo>
                    <a:pt x="8497728" y="781072"/>
                  </a:lnTo>
                  <a:lnTo>
                    <a:pt x="8504205" y="789997"/>
                  </a:lnTo>
                  <a:lnTo>
                    <a:pt x="8509757" y="799229"/>
                  </a:lnTo>
                  <a:lnTo>
                    <a:pt x="8514383" y="808153"/>
                  </a:lnTo>
                  <a:lnTo>
                    <a:pt x="8518084" y="817077"/>
                  </a:lnTo>
                  <a:lnTo>
                    <a:pt x="8521477" y="825386"/>
                  </a:lnTo>
                  <a:lnTo>
                    <a:pt x="8523944" y="833079"/>
                  </a:lnTo>
                  <a:lnTo>
                    <a:pt x="8526103" y="840773"/>
                  </a:lnTo>
                  <a:lnTo>
                    <a:pt x="8527336" y="846927"/>
                  </a:lnTo>
                  <a:lnTo>
                    <a:pt x="8528262" y="852774"/>
                  </a:lnTo>
                  <a:lnTo>
                    <a:pt x="8528879" y="857390"/>
                  </a:lnTo>
                  <a:lnTo>
                    <a:pt x="8529495" y="861083"/>
                  </a:lnTo>
                  <a:lnTo>
                    <a:pt x="8529495" y="862929"/>
                  </a:lnTo>
                  <a:lnTo>
                    <a:pt x="8529495" y="863853"/>
                  </a:lnTo>
                  <a:lnTo>
                    <a:pt x="8201956" y="863853"/>
                  </a:lnTo>
                  <a:lnTo>
                    <a:pt x="8201956" y="862929"/>
                  </a:lnTo>
                  <a:lnTo>
                    <a:pt x="8201956" y="861083"/>
                  </a:lnTo>
                  <a:lnTo>
                    <a:pt x="8202265" y="857698"/>
                  </a:lnTo>
                  <a:lnTo>
                    <a:pt x="8203190" y="853390"/>
                  </a:lnTo>
                  <a:lnTo>
                    <a:pt x="8204115" y="848158"/>
                  </a:lnTo>
                  <a:lnTo>
                    <a:pt x="8204732" y="842004"/>
                  </a:lnTo>
                  <a:lnTo>
                    <a:pt x="8206582" y="835233"/>
                  </a:lnTo>
                  <a:lnTo>
                    <a:pt x="8209050" y="827848"/>
                  </a:lnTo>
                  <a:lnTo>
                    <a:pt x="8211517" y="819847"/>
                  </a:lnTo>
                  <a:lnTo>
                    <a:pt x="8214910" y="811538"/>
                  </a:lnTo>
                  <a:lnTo>
                    <a:pt x="8218919" y="802922"/>
                  </a:lnTo>
                  <a:lnTo>
                    <a:pt x="8223546" y="793997"/>
                  </a:lnTo>
                  <a:lnTo>
                    <a:pt x="8229405" y="785688"/>
                  </a:lnTo>
                  <a:lnTo>
                    <a:pt x="8236190" y="777072"/>
                  </a:lnTo>
                  <a:lnTo>
                    <a:pt x="8243592" y="768763"/>
                  </a:lnTo>
                  <a:lnTo>
                    <a:pt x="8251920" y="760762"/>
                  </a:lnTo>
                  <a:lnTo>
                    <a:pt x="8261481" y="753376"/>
                  </a:lnTo>
                  <a:lnTo>
                    <a:pt x="8272275" y="746606"/>
                  </a:lnTo>
                  <a:lnTo>
                    <a:pt x="8284612" y="740452"/>
                  </a:lnTo>
                  <a:lnTo>
                    <a:pt x="8285699" y="740023"/>
                  </a:lnTo>
                  <a:lnTo>
                    <a:pt x="8258088" y="700143"/>
                  </a:lnTo>
                  <a:lnTo>
                    <a:pt x="8258088" y="699518"/>
                  </a:lnTo>
                  <a:lnTo>
                    <a:pt x="8258088" y="698268"/>
                  </a:lnTo>
                  <a:lnTo>
                    <a:pt x="8259006" y="697332"/>
                  </a:lnTo>
                  <a:lnTo>
                    <a:pt x="8260229" y="696707"/>
                  </a:lnTo>
                  <a:lnTo>
                    <a:pt x="8260841" y="695770"/>
                  </a:lnTo>
                  <a:lnTo>
                    <a:pt x="8261758" y="695770"/>
                  </a:lnTo>
                  <a:close/>
                  <a:moveTo>
                    <a:pt x="1495584" y="657469"/>
                  </a:moveTo>
                  <a:lnTo>
                    <a:pt x="1496132" y="982883"/>
                  </a:lnTo>
                  <a:lnTo>
                    <a:pt x="1127626" y="982883"/>
                  </a:lnTo>
                  <a:lnTo>
                    <a:pt x="1127626" y="708970"/>
                  </a:lnTo>
                  <a:close/>
                  <a:moveTo>
                    <a:pt x="4171486" y="652571"/>
                  </a:moveTo>
                  <a:cubicBezTo>
                    <a:pt x="4280748" y="652571"/>
                    <a:pt x="4323878" y="731098"/>
                    <a:pt x="4323878" y="731098"/>
                  </a:cubicBezTo>
                  <a:cubicBezTo>
                    <a:pt x="4323878" y="731098"/>
                    <a:pt x="4239535" y="774724"/>
                    <a:pt x="4239535" y="880396"/>
                  </a:cubicBezTo>
                  <a:cubicBezTo>
                    <a:pt x="4239535" y="999640"/>
                    <a:pt x="4344963" y="1040357"/>
                    <a:pt x="4344963" y="1040357"/>
                  </a:cubicBezTo>
                  <a:cubicBezTo>
                    <a:pt x="4344963" y="1040357"/>
                    <a:pt x="4271164" y="1248792"/>
                    <a:pt x="4172445" y="1248792"/>
                  </a:cubicBezTo>
                  <a:cubicBezTo>
                    <a:pt x="4127398" y="1248792"/>
                    <a:pt x="4091936" y="1217769"/>
                    <a:pt x="4044015" y="1217769"/>
                  </a:cubicBezTo>
                  <a:cubicBezTo>
                    <a:pt x="3995134" y="1217769"/>
                    <a:pt x="3946254" y="1250731"/>
                    <a:pt x="3914626" y="1250731"/>
                  </a:cubicBezTo>
                  <a:cubicBezTo>
                    <a:pt x="3824533" y="1250731"/>
                    <a:pt x="3710479" y="1052960"/>
                    <a:pt x="3710479" y="893968"/>
                  </a:cubicBezTo>
                  <a:cubicBezTo>
                    <a:pt x="3710479" y="736915"/>
                    <a:pt x="3807281" y="654510"/>
                    <a:pt x="3897374" y="654510"/>
                  </a:cubicBezTo>
                  <a:cubicBezTo>
                    <a:pt x="3956797" y="654510"/>
                    <a:pt x="4002802" y="689411"/>
                    <a:pt x="4033472" y="689411"/>
                  </a:cubicBezTo>
                  <a:cubicBezTo>
                    <a:pt x="4059350" y="689411"/>
                    <a:pt x="4108230" y="652571"/>
                    <a:pt x="4171486" y="652571"/>
                  </a:cubicBezTo>
                  <a:close/>
                  <a:moveTo>
                    <a:pt x="6842525" y="641312"/>
                  </a:moveTo>
                  <a:lnTo>
                    <a:pt x="6834796" y="643229"/>
                  </a:lnTo>
                  <a:lnTo>
                    <a:pt x="6827841" y="646680"/>
                  </a:lnTo>
                  <a:lnTo>
                    <a:pt x="6822818" y="651664"/>
                  </a:lnTo>
                  <a:lnTo>
                    <a:pt x="6818953" y="658566"/>
                  </a:lnTo>
                  <a:lnTo>
                    <a:pt x="6817794" y="666234"/>
                  </a:lnTo>
                  <a:lnTo>
                    <a:pt x="6818953" y="674286"/>
                  </a:lnTo>
                  <a:lnTo>
                    <a:pt x="6822818" y="680804"/>
                  </a:lnTo>
                  <a:lnTo>
                    <a:pt x="6827841" y="686172"/>
                  </a:lnTo>
                  <a:lnTo>
                    <a:pt x="6834796" y="689622"/>
                  </a:lnTo>
                  <a:lnTo>
                    <a:pt x="6842525" y="690772"/>
                  </a:lnTo>
                  <a:lnTo>
                    <a:pt x="6850253" y="689622"/>
                  </a:lnTo>
                  <a:lnTo>
                    <a:pt x="6857208" y="686172"/>
                  </a:lnTo>
                  <a:lnTo>
                    <a:pt x="6862231" y="680804"/>
                  </a:lnTo>
                  <a:lnTo>
                    <a:pt x="6866096" y="674286"/>
                  </a:lnTo>
                  <a:lnTo>
                    <a:pt x="6867255" y="666234"/>
                  </a:lnTo>
                  <a:lnTo>
                    <a:pt x="6866096" y="658566"/>
                  </a:lnTo>
                  <a:lnTo>
                    <a:pt x="6862231" y="651664"/>
                  </a:lnTo>
                  <a:lnTo>
                    <a:pt x="6857208" y="646680"/>
                  </a:lnTo>
                  <a:lnTo>
                    <a:pt x="6850253" y="643229"/>
                  </a:lnTo>
                  <a:close/>
                  <a:moveTo>
                    <a:pt x="6662071" y="641312"/>
                  </a:moveTo>
                  <a:lnTo>
                    <a:pt x="6654343" y="643229"/>
                  </a:lnTo>
                  <a:lnTo>
                    <a:pt x="6647388" y="646680"/>
                  </a:lnTo>
                  <a:lnTo>
                    <a:pt x="6642364" y="651664"/>
                  </a:lnTo>
                  <a:lnTo>
                    <a:pt x="6639273" y="658566"/>
                  </a:lnTo>
                  <a:lnTo>
                    <a:pt x="6637727" y="666234"/>
                  </a:lnTo>
                  <a:lnTo>
                    <a:pt x="6639273" y="674286"/>
                  </a:lnTo>
                  <a:lnTo>
                    <a:pt x="6642364" y="680804"/>
                  </a:lnTo>
                  <a:lnTo>
                    <a:pt x="6647388" y="686172"/>
                  </a:lnTo>
                  <a:lnTo>
                    <a:pt x="6654343" y="689622"/>
                  </a:lnTo>
                  <a:lnTo>
                    <a:pt x="6662071" y="690772"/>
                  </a:lnTo>
                  <a:lnTo>
                    <a:pt x="6670186" y="689622"/>
                  </a:lnTo>
                  <a:lnTo>
                    <a:pt x="6676755" y="686172"/>
                  </a:lnTo>
                  <a:lnTo>
                    <a:pt x="6682551" y="680804"/>
                  </a:lnTo>
                  <a:lnTo>
                    <a:pt x="6685642" y="674286"/>
                  </a:lnTo>
                  <a:lnTo>
                    <a:pt x="6687188" y="666234"/>
                  </a:lnTo>
                  <a:lnTo>
                    <a:pt x="6685642" y="658566"/>
                  </a:lnTo>
                  <a:lnTo>
                    <a:pt x="6682551" y="651664"/>
                  </a:lnTo>
                  <a:lnTo>
                    <a:pt x="6676755" y="646680"/>
                  </a:lnTo>
                  <a:lnTo>
                    <a:pt x="6670186" y="643229"/>
                  </a:lnTo>
                  <a:close/>
                  <a:moveTo>
                    <a:pt x="4828217" y="546687"/>
                  </a:moveTo>
                  <a:lnTo>
                    <a:pt x="4828217" y="1471905"/>
                  </a:lnTo>
                  <a:lnTo>
                    <a:pt x="5444866" y="1471905"/>
                  </a:lnTo>
                  <a:lnTo>
                    <a:pt x="5444866" y="546687"/>
                  </a:lnTo>
                  <a:close/>
                  <a:moveTo>
                    <a:pt x="6623381" y="544709"/>
                  </a:moveTo>
                  <a:lnTo>
                    <a:pt x="6624531" y="545101"/>
                  </a:lnTo>
                  <a:lnTo>
                    <a:pt x="6624914" y="545101"/>
                  </a:lnTo>
                  <a:lnTo>
                    <a:pt x="6660924" y="597114"/>
                  </a:lnTo>
                  <a:lnTo>
                    <a:pt x="6667480" y="594528"/>
                  </a:lnTo>
                  <a:lnTo>
                    <a:pt x="6686415" y="589130"/>
                  </a:lnTo>
                  <a:lnTo>
                    <a:pt x="6706121" y="584889"/>
                  </a:lnTo>
                  <a:lnTo>
                    <a:pt x="6728533" y="582576"/>
                  </a:lnTo>
                  <a:lnTo>
                    <a:pt x="6752491" y="581804"/>
                  </a:lnTo>
                  <a:lnTo>
                    <a:pt x="6777221" y="582961"/>
                  </a:lnTo>
                  <a:lnTo>
                    <a:pt x="6800019" y="585660"/>
                  </a:lnTo>
                  <a:lnTo>
                    <a:pt x="6821272" y="590287"/>
                  </a:lnTo>
                  <a:lnTo>
                    <a:pt x="6839819" y="596070"/>
                  </a:lnTo>
                  <a:lnTo>
                    <a:pt x="6843354" y="597593"/>
                  </a:lnTo>
                  <a:lnTo>
                    <a:pt x="6879938" y="545101"/>
                  </a:lnTo>
                  <a:lnTo>
                    <a:pt x="6880717" y="545101"/>
                  </a:lnTo>
                  <a:lnTo>
                    <a:pt x="6881497" y="544709"/>
                  </a:lnTo>
                  <a:lnTo>
                    <a:pt x="6882665" y="545101"/>
                  </a:lnTo>
                  <a:lnTo>
                    <a:pt x="6884224" y="545101"/>
                  </a:lnTo>
                  <a:lnTo>
                    <a:pt x="6885393" y="546275"/>
                  </a:lnTo>
                  <a:lnTo>
                    <a:pt x="6886562" y="547058"/>
                  </a:lnTo>
                  <a:lnTo>
                    <a:pt x="6887341" y="548231"/>
                  </a:lnTo>
                  <a:lnTo>
                    <a:pt x="6888121" y="549797"/>
                  </a:lnTo>
                  <a:lnTo>
                    <a:pt x="6887341" y="550580"/>
                  </a:lnTo>
                  <a:lnTo>
                    <a:pt x="6851984" y="601312"/>
                  </a:lnTo>
                  <a:lnTo>
                    <a:pt x="6856821" y="603396"/>
                  </a:lnTo>
                  <a:lnTo>
                    <a:pt x="6872278" y="611492"/>
                  </a:lnTo>
                  <a:lnTo>
                    <a:pt x="6885802" y="620360"/>
                  </a:lnTo>
                  <a:lnTo>
                    <a:pt x="6897781" y="630384"/>
                  </a:lnTo>
                  <a:lnTo>
                    <a:pt x="6908214" y="641180"/>
                  </a:lnTo>
                  <a:lnTo>
                    <a:pt x="6917874" y="651975"/>
                  </a:lnTo>
                  <a:lnTo>
                    <a:pt x="6925989" y="663156"/>
                  </a:lnTo>
                  <a:lnTo>
                    <a:pt x="6932944" y="674723"/>
                  </a:lnTo>
                  <a:lnTo>
                    <a:pt x="6938740" y="685904"/>
                  </a:lnTo>
                  <a:lnTo>
                    <a:pt x="6943377" y="697084"/>
                  </a:lnTo>
                  <a:lnTo>
                    <a:pt x="6947628" y="707495"/>
                  </a:lnTo>
                  <a:lnTo>
                    <a:pt x="6950719" y="717133"/>
                  </a:lnTo>
                  <a:lnTo>
                    <a:pt x="6953424" y="726772"/>
                  </a:lnTo>
                  <a:lnTo>
                    <a:pt x="6954970" y="734484"/>
                  </a:lnTo>
                  <a:lnTo>
                    <a:pt x="6956129" y="741809"/>
                  </a:lnTo>
                  <a:lnTo>
                    <a:pt x="6956902" y="747592"/>
                  </a:lnTo>
                  <a:lnTo>
                    <a:pt x="6957674" y="752219"/>
                  </a:lnTo>
                  <a:lnTo>
                    <a:pt x="6957674" y="754532"/>
                  </a:lnTo>
                  <a:lnTo>
                    <a:pt x="6957674" y="755689"/>
                  </a:lnTo>
                  <a:lnTo>
                    <a:pt x="6547307" y="755689"/>
                  </a:lnTo>
                  <a:lnTo>
                    <a:pt x="6547307" y="754532"/>
                  </a:lnTo>
                  <a:lnTo>
                    <a:pt x="6547307" y="752219"/>
                  </a:lnTo>
                  <a:lnTo>
                    <a:pt x="6547694" y="747978"/>
                  </a:lnTo>
                  <a:lnTo>
                    <a:pt x="6548853" y="742580"/>
                  </a:lnTo>
                  <a:lnTo>
                    <a:pt x="6550012" y="736026"/>
                  </a:lnTo>
                  <a:lnTo>
                    <a:pt x="6550785" y="728315"/>
                  </a:lnTo>
                  <a:lnTo>
                    <a:pt x="6553103" y="719832"/>
                  </a:lnTo>
                  <a:lnTo>
                    <a:pt x="6556194" y="710579"/>
                  </a:lnTo>
                  <a:lnTo>
                    <a:pt x="6559286" y="700555"/>
                  </a:lnTo>
                  <a:lnTo>
                    <a:pt x="6563537" y="690145"/>
                  </a:lnTo>
                  <a:lnTo>
                    <a:pt x="6568559" y="679349"/>
                  </a:lnTo>
                  <a:lnTo>
                    <a:pt x="6574356" y="668168"/>
                  </a:lnTo>
                  <a:lnTo>
                    <a:pt x="6581698" y="657758"/>
                  </a:lnTo>
                  <a:lnTo>
                    <a:pt x="6590198" y="646963"/>
                  </a:lnTo>
                  <a:lnTo>
                    <a:pt x="6599472" y="636553"/>
                  </a:lnTo>
                  <a:lnTo>
                    <a:pt x="6609906" y="626529"/>
                  </a:lnTo>
                  <a:lnTo>
                    <a:pt x="6621884" y="617275"/>
                  </a:lnTo>
                  <a:lnTo>
                    <a:pt x="6635408" y="608793"/>
                  </a:lnTo>
                  <a:lnTo>
                    <a:pt x="6650865" y="601082"/>
                  </a:lnTo>
                  <a:lnTo>
                    <a:pt x="6652226" y="600545"/>
                  </a:lnTo>
                  <a:lnTo>
                    <a:pt x="6617634" y="550580"/>
                  </a:lnTo>
                  <a:lnTo>
                    <a:pt x="6617634" y="549797"/>
                  </a:lnTo>
                  <a:lnTo>
                    <a:pt x="6617634" y="548231"/>
                  </a:lnTo>
                  <a:lnTo>
                    <a:pt x="6618783" y="547058"/>
                  </a:lnTo>
                  <a:lnTo>
                    <a:pt x="6620316" y="546275"/>
                  </a:lnTo>
                  <a:lnTo>
                    <a:pt x="6621082" y="545101"/>
                  </a:lnTo>
                  <a:lnTo>
                    <a:pt x="6622232" y="545101"/>
                  </a:lnTo>
                  <a:close/>
                  <a:moveTo>
                    <a:pt x="4183017" y="463640"/>
                  </a:moveTo>
                  <a:cubicBezTo>
                    <a:pt x="4183017" y="463640"/>
                    <a:pt x="4193558" y="527590"/>
                    <a:pt x="4142768" y="589602"/>
                  </a:cubicBezTo>
                  <a:cubicBezTo>
                    <a:pt x="4088146" y="655489"/>
                    <a:pt x="4026815" y="644831"/>
                    <a:pt x="4026815" y="644831"/>
                  </a:cubicBezTo>
                  <a:cubicBezTo>
                    <a:pt x="4026815" y="644831"/>
                    <a:pt x="4015315" y="592508"/>
                    <a:pt x="4060355" y="532435"/>
                  </a:cubicBezTo>
                  <a:cubicBezTo>
                    <a:pt x="4111145" y="463640"/>
                    <a:pt x="4183017" y="463640"/>
                    <a:pt x="4183017" y="463640"/>
                  </a:cubicBezTo>
                  <a:close/>
                  <a:moveTo>
                    <a:pt x="142606" y="435886"/>
                  </a:moveTo>
                  <a:lnTo>
                    <a:pt x="142606" y="1564635"/>
                  </a:lnTo>
                  <a:lnTo>
                    <a:pt x="2167619" y="1564635"/>
                  </a:lnTo>
                  <a:lnTo>
                    <a:pt x="2167619" y="435886"/>
                  </a:lnTo>
                  <a:close/>
                  <a:moveTo>
                    <a:pt x="5049402" y="408930"/>
                  </a:moveTo>
                  <a:cubicBezTo>
                    <a:pt x="5040732" y="408930"/>
                    <a:pt x="5033704" y="415958"/>
                    <a:pt x="5033704" y="424628"/>
                  </a:cubicBezTo>
                  <a:cubicBezTo>
                    <a:pt x="5033704" y="433298"/>
                    <a:pt x="5040732" y="440326"/>
                    <a:pt x="5049402" y="440326"/>
                  </a:cubicBezTo>
                  <a:lnTo>
                    <a:pt x="5223681" y="440326"/>
                  </a:lnTo>
                  <a:cubicBezTo>
                    <a:pt x="5232350" y="440326"/>
                    <a:pt x="5239379" y="433298"/>
                    <a:pt x="5239379" y="424628"/>
                  </a:cubicBezTo>
                  <a:cubicBezTo>
                    <a:pt x="5239379" y="415958"/>
                    <a:pt x="5232350" y="408930"/>
                    <a:pt x="5223681" y="408930"/>
                  </a:cubicBezTo>
                  <a:close/>
                  <a:moveTo>
                    <a:pt x="2518597" y="402274"/>
                  </a:moveTo>
                  <a:cubicBezTo>
                    <a:pt x="2497867" y="402274"/>
                    <a:pt x="2481061" y="419079"/>
                    <a:pt x="2481061" y="439810"/>
                  </a:cubicBezTo>
                  <a:lnTo>
                    <a:pt x="2481061" y="1467497"/>
                  </a:lnTo>
                  <a:cubicBezTo>
                    <a:pt x="2481061" y="1488228"/>
                    <a:pt x="2497867" y="1505033"/>
                    <a:pt x="2518597" y="1505033"/>
                  </a:cubicBezTo>
                  <a:lnTo>
                    <a:pt x="3130747" y="1505033"/>
                  </a:lnTo>
                  <a:cubicBezTo>
                    <a:pt x="3151478" y="1505033"/>
                    <a:pt x="3168284" y="1488228"/>
                    <a:pt x="3168284" y="1467497"/>
                  </a:cubicBezTo>
                  <a:lnTo>
                    <a:pt x="3168284" y="439810"/>
                  </a:lnTo>
                  <a:cubicBezTo>
                    <a:pt x="3168284" y="419079"/>
                    <a:pt x="3151478" y="402274"/>
                    <a:pt x="3130747" y="402274"/>
                  </a:cubicBezTo>
                  <a:close/>
                  <a:moveTo>
                    <a:pt x="2776017" y="362170"/>
                  </a:moveTo>
                  <a:cubicBezTo>
                    <a:pt x="2774421" y="362170"/>
                    <a:pt x="2772977" y="362818"/>
                    <a:pt x="2771932" y="363863"/>
                  </a:cubicBezTo>
                  <a:lnTo>
                    <a:pt x="2770239" y="367948"/>
                  </a:lnTo>
                  <a:lnTo>
                    <a:pt x="2771932" y="372033"/>
                  </a:lnTo>
                  <a:cubicBezTo>
                    <a:pt x="2772977" y="373077"/>
                    <a:pt x="2774421" y="373725"/>
                    <a:pt x="2776017" y="373725"/>
                  </a:cubicBezTo>
                  <a:lnTo>
                    <a:pt x="2872301" y="373725"/>
                  </a:lnTo>
                  <a:cubicBezTo>
                    <a:pt x="2875492" y="373725"/>
                    <a:pt x="2878078" y="371138"/>
                    <a:pt x="2878078" y="367948"/>
                  </a:cubicBezTo>
                  <a:cubicBezTo>
                    <a:pt x="2878078" y="364757"/>
                    <a:pt x="2875492" y="362170"/>
                    <a:pt x="2872301" y="362170"/>
                  </a:cubicBezTo>
                  <a:close/>
                  <a:moveTo>
                    <a:pt x="8074277" y="335996"/>
                  </a:moveTo>
                  <a:cubicBezTo>
                    <a:pt x="8049512" y="335996"/>
                    <a:pt x="8029436" y="356072"/>
                    <a:pt x="8029436" y="380837"/>
                  </a:cubicBezTo>
                  <a:lnTo>
                    <a:pt x="8029436" y="1435314"/>
                  </a:lnTo>
                  <a:cubicBezTo>
                    <a:pt x="8029436" y="1460079"/>
                    <a:pt x="8049512" y="1480155"/>
                    <a:pt x="8074277" y="1480155"/>
                  </a:cubicBezTo>
                  <a:lnTo>
                    <a:pt x="8657174" y="1480155"/>
                  </a:lnTo>
                  <a:cubicBezTo>
                    <a:pt x="8681939" y="1480155"/>
                    <a:pt x="8702015" y="1460079"/>
                    <a:pt x="8702015" y="1435314"/>
                  </a:cubicBezTo>
                  <a:lnTo>
                    <a:pt x="8702015" y="380837"/>
                  </a:lnTo>
                  <a:cubicBezTo>
                    <a:pt x="8702015" y="356072"/>
                    <a:pt x="8681939" y="335996"/>
                    <a:pt x="8657174" y="335996"/>
                  </a:cubicBezTo>
                  <a:close/>
                  <a:moveTo>
                    <a:pt x="5759891" y="305930"/>
                  </a:moveTo>
                  <a:lnTo>
                    <a:pt x="5759891" y="1478569"/>
                  </a:lnTo>
                  <a:lnTo>
                    <a:pt x="7741904" y="1478569"/>
                  </a:lnTo>
                  <a:lnTo>
                    <a:pt x="7741904" y="305930"/>
                  </a:lnTo>
                  <a:close/>
                  <a:moveTo>
                    <a:pt x="4878987" y="300646"/>
                  </a:moveTo>
                  <a:lnTo>
                    <a:pt x="5394095" y="300646"/>
                  </a:lnTo>
                  <a:cubicBezTo>
                    <a:pt x="5448538" y="300646"/>
                    <a:pt x="5492672" y="344781"/>
                    <a:pt x="5492672" y="399224"/>
                  </a:cubicBezTo>
                  <a:lnTo>
                    <a:pt x="5492672" y="1616806"/>
                  </a:lnTo>
                  <a:cubicBezTo>
                    <a:pt x="5492672" y="1671249"/>
                    <a:pt x="5448538" y="1715383"/>
                    <a:pt x="5394095" y="1715383"/>
                  </a:cubicBezTo>
                  <a:lnTo>
                    <a:pt x="4878987" y="1715383"/>
                  </a:lnTo>
                  <a:cubicBezTo>
                    <a:pt x="4824545" y="1715383"/>
                    <a:pt x="4780410" y="1671249"/>
                    <a:pt x="4780410" y="1616806"/>
                  </a:cubicBezTo>
                  <a:lnTo>
                    <a:pt x="4780410" y="399224"/>
                  </a:lnTo>
                  <a:cubicBezTo>
                    <a:pt x="4780410" y="344781"/>
                    <a:pt x="4824545" y="300646"/>
                    <a:pt x="4878987" y="300646"/>
                  </a:cubicBezTo>
                  <a:close/>
                  <a:moveTo>
                    <a:pt x="2442872" y="299635"/>
                  </a:moveTo>
                  <a:lnTo>
                    <a:pt x="3205445" y="299635"/>
                  </a:lnTo>
                  <a:lnTo>
                    <a:pt x="3205445" y="1714372"/>
                  </a:lnTo>
                  <a:lnTo>
                    <a:pt x="2442872" y="1714372"/>
                  </a:lnTo>
                  <a:close/>
                  <a:moveTo>
                    <a:pt x="8046360" y="292188"/>
                  </a:moveTo>
                  <a:lnTo>
                    <a:pt x="8685091" y="292188"/>
                  </a:lnTo>
                  <a:cubicBezTo>
                    <a:pt x="8712228" y="292188"/>
                    <a:pt x="8734227" y="314187"/>
                    <a:pt x="8734227" y="341324"/>
                  </a:cubicBezTo>
                  <a:lnTo>
                    <a:pt x="8734227" y="1657789"/>
                  </a:lnTo>
                  <a:cubicBezTo>
                    <a:pt x="8734227" y="1684926"/>
                    <a:pt x="8712228" y="1706925"/>
                    <a:pt x="8685091" y="1706925"/>
                  </a:cubicBezTo>
                  <a:lnTo>
                    <a:pt x="8046360" y="1706925"/>
                  </a:lnTo>
                  <a:cubicBezTo>
                    <a:pt x="8019223" y="1706925"/>
                    <a:pt x="7997224" y="1684926"/>
                    <a:pt x="7997224" y="1657789"/>
                  </a:cubicBezTo>
                  <a:lnTo>
                    <a:pt x="7997224" y="341324"/>
                  </a:lnTo>
                  <a:cubicBezTo>
                    <a:pt x="7997224" y="314187"/>
                    <a:pt x="8019223" y="292188"/>
                    <a:pt x="8046360" y="292188"/>
                  </a:cubicBezTo>
                  <a:close/>
                  <a:moveTo>
                    <a:pt x="31495" y="284741"/>
                  </a:moveTo>
                  <a:lnTo>
                    <a:pt x="2278731" y="284741"/>
                  </a:lnTo>
                  <a:cubicBezTo>
                    <a:pt x="2296124" y="284741"/>
                    <a:pt x="2310225" y="298841"/>
                    <a:pt x="2310225" y="316235"/>
                  </a:cubicBezTo>
                  <a:lnTo>
                    <a:pt x="2310225" y="1682878"/>
                  </a:lnTo>
                  <a:cubicBezTo>
                    <a:pt x="2310225" y="1700272"/>
                    <a:pt x="2296124" y="1714372"/>
                    <a:pt x="2278731" y="1714372"/>
                  </a:cubicBezTo>
                  <a:lnTo>
                    <a:pt x="31495" y="1714372"/>
                  </a:lnTo>
                  <a:cubicBezTo>
                    <a:pt x="14101" y="1714372"/>
                    <a:pt x="0" y="1700272"/>
                    <a:pt x="0" y="1682878"/>
                  </a:cubicBezTo>
                  <a:lnTo>
                    <a:pt x="0" y="316235"/>
                  </a:lnTo>
                  <a:cubicBezTo>
                    <a:pt x="0" y="298841"/>
                    <a:pt x="14101" y="284741"/>
                    <a:pt x="31495" y="284741"/>
                  </a:cubicBezTo>
                  <a:close/>
                  <a:moveTo>
                    <a:pt x="3506920" y="153677"/>
                  </a:moveTo>
                  <a:lnTo>
                    <a:pt x="3506920" y="1550448"/>
                  </a:lnTo>
                  <a:lnTo>
                    <a:pt x="4548522" y="1550448"/>
                  </a:lnTo>
                  <a:lnTo>
                    <a:pt x="4548522" y="153677"/>
                  </a:lnTo>
                  <a:close/>
                  <a:moveTo>
                    <a:pt x="5691386" y="137045"/>
                  </a:moveTo>
                  <a:lnTo>
                    <a:pt x="7813595" y="137045"/>
                  </a:lnTo>
                  <a:cubicBezTo>
                    <a:pt x="7865514" y="137045"/>
                    <a:pt x="7907603" y="179134"/>
                    <a:pt x="7907603" y="231053"/>
                  </a:cubicBezTo>
                  <a:lnTo>
                    <a:pt x="7907603" y="1620364"/>
                  </a:lnTo>
                  <a:cubicBezTo>
                    <a:pt x="7907603" y="1672283"/>
                    <a:pt x="7865514" y="1714372"/>
                    <a:pt x="7813595" y="1714372"/>
                  </a:cubicBezTo>
                  <a:lnTo>
                    <a:pt x="5691386" y="1714372"/>
                  </a:lnTo>
                  <a:cubicBezTo>
                    <a:pt x="5639467" y="1714372"/>
                    <a:pt x="5597378" y="1672283"/>
                    <a:pt x="5597378" y="1620364"/>
                  </a:cubicBezTo>
                  <a:lnTo>
                    <a:pt x="5597378" y="231053"/>
                  </a:lnTo>
                  <a:cubicBezTo>
                    <a:pt x="5597378" y="179134"/>
                    <a:pt x="5639467" y="137045"/>
                    <a:pt x="5691386" y="137045"/>
                  </a:cubicBezTo>
                  <a:close/>
                  <a:moveTo>
                    <a:pt x="3445917" y="0"/>
                  </a:moveTo>
                  <a:lnTo>
                    <a:pt x="4609525" y="0"/>
                  </a:lnTo>
                  <a:cubicBezTo>
                    <a:pt x="4657878" y="0"/>
                    <a:pt x="4697076" y="39198"/>
                    <a:pt x="4697076" y="87551"/>
                  </a:cubicBezTo>
                  <a:lnTo>
                    <a:pt x="4697076" y="1626821"/>
                  </a:lnTo>
                  <a:cubicBezTo>
                    <a:pt x="4697076" y="1675174"/>
                    <a:pt x="4657878" y="1714372"/>
                    <a:pt x="4609525" y="1714372"/>
                  </a:cubicBezTo>
                  <a:lnTo>
                    <a:pt x="3445917" y="1714372"/>
                  </a:lnTo>
                  <a:cubicBezTo>
                    <a:pt x="3397564" y="1714372"/>
                    <a:pt x="3358365" y="1675174"/>
                    <a:pt x="3358365" y="1626821"/>
                  </a:cubicBezTo>
                  <a:lnTo>
                    <a:pt x="3358365" y="87551"/>
                  </a:lnTo>
                  <a:cubicBezTo>
                    <a:pt x="3358365" y="39198"/>
                    <a:pt x="3397564" y="0"/>
                    <a:pt x="3445917" y="0"/>
                  </a:cubicBezTo>
                  <a:close/>
                </a:path>
              </a:pathLst>
            </a:custGeom>
            <a:solidFill>
              <a:srgbClr val="303030"/>
            </a:solidFill>
            <a:ln w="10795"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2F2F2"/>
                </a:solidFill>
                <a:effectLst/>
                <a:uLnTx/>
                <a:uFillTx/>
                <a:latin typeface="Segoe Semibold"/>
              </a:endParaRPr>
            </a:p>
          </p:txBody>
        </p:sp>
        <p:grpSp>
          <p:nvGrpSpPr>
            <p:cNvPr id="47" name="Clients"/>
            <p:cNvGrpSpPr/>
            <p:nvPr/>
          </p:nvGrpSpPr>
          <p:grpSpPr>
            <a:xfrm>
              <a:off x="2389632" y="67056"/>
              <a:ext cx="6038088" cy="2700525"/>
              <a:chOff x="2389632" y="67056"/>
              <a:chExt cx="6038088" cy="2700525"/>
            </a:xfrm>
          </p:grpSpPr>
          <p:sp>
            <p:nvSpPr>
              <p:cNvPr id="48" name="Rectangle 47"/>
              <p:cNvSpPr/>
              <p:nvPr/>
            </p:nvSpPr>
            <p:spPr bwMode="auto">
              <a:xfrm>
                <a:off x="2389632" y="67056"/>
                <a:ext cx="6038088" cy="1217942"/>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800" dirty="0" smtClean="0">
                    <a:solidFill>
                      <a:schemeClr val="accent6"/>
                    </a:solidFill>
                    <a:ea typeface="Segoe UI" pitchFamily="34" charset="0"/>
                    <a:cs typeface="Segoe UI" pitchFamily="34" charset="0"/>
                  </a:rPr>
                  <a:t>Customers</a:t>
                </a:r>
              </a:p>
              <a:p>
                <a:pPr defTabSz="932472" fontAlgn="base">
                  <a:lnSpc>
                    <a:spcPct val="90000"/>
                  </a:lnSpc>
                  <a:spcBef>
                    <a:spcPct val="0"/>
                  </a:spcBef>
                  <a:spcAft>
                    <a:spcPct val="0"/>
                  </a:spcAft>
                </a:pPr>
                <a:r>
                  <a:rPr lang="en-US" sz="1800" dirty="0" smtClean="0">
                    <a:solidFill>
                      <a:schemeClr val="accent6"/>
                    </a:solidFill>
                    <a:ea typeface="Segoe UI" pitchFamily="34" charset="0"/>
                    <a:cs typeface="Segoe UI" pitchFamily="34" charset="0"/>
                  </a:rPr>
                  <a:t>in field</a:t>
                </a:r>
              </a:p>
            </p:txBody>
          </p:sp>
          <p:grpSp>
            <p:nvGrpSpPr>
              <p:cNvPr id="49" name="Group 48"/>
              <p:cNvGrpSpPr/>
              <p:nvPr/>
            </p:nvGrpSpPr>
            <p:grpSpPr>
              <a:xfrm>
                <a:off x="4888991" y="1409189"/>
                <a:ext cx="2080629" cy="1358392"/>
                <a:chOff x="4888991" y="1237488"/>
                <a:chExt cx="2080629" cy="1889760"/>
              </a:xfrm>
              <a:solidFill>
                <a:schemeClr val="accent3"/>
              </a:solidFill>
            </p:grpSpPr>
            <p:sp>
              <p:nvSpPr>
                <p:cNvPr id="50" name="Down Arrow 49"/>
                <p:cNvSpPr/>
                <p:nvPr/>
              </p:nvSpPr>
              <p:spPr bwMode="auto">
                <a:xfrm>
                  <a:off x="5737281" y="1237488"/>
                  <a:ext cx="384048" cy="1889760"/>
                </a:xfrm>
                <a:prstGeom prst="down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1" name="Down Arrow 50"/>
                <p:cNvSpPr/>
                <p:nvPr/>
              </p:nvSpPr>
              <p:spPr bwMode="auto">
                <a:xfrm>
                  <a:off x="5313136" y="1237488"/>
                  <a:ext cx="384048" cy="1889760"/>
                </a:xfrm>
                <a:prstGeom prst="down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2" name="Down Arrow 51"/>
                <p:cNvSpPr/>
                <p:nvPr/>
              </p:nvSpPr>
              <p:spPr bwMode="auto">
                <a:xfrm>
                  <a:off x="4888991" y="1237488"/>
                  <a:ext cx="384048" cy="1889760"/>
                </a:xfrm>
                <a:prstGeom prst="down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3" name="Down Arrow 52"/>
                <p:cNvSpPr/>
                <p:nvPr/>
              </p:nvSpPr>
              <p:spPr bwMode="auto">
                <a:xfrm>
                  <a:off x="6585572" y="1237488"/>
                  <a:ext cx="384048" cy="1889760"/>
                </a:xfrm>
                <a:prstGeom prst="down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4" name="Down Arrow 53"/>
                <p:cNvSpPr/>
                <p:nvPr/>
              </p:nvSpPr>
              <p:spPr bwMode="auto">
                <a:xfrm>
                  <a:off x="6161426" y="1237488"/>
                  <a:ext cx="384048" cy="1889760"/>
                </a:xfrm>
                <a:prstGeom prst="down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grpSp>
    </p:spTree>
    <p:extLst>
      <p:ext uri="{BB962C8B-B14F-4D97-AF65-F5344CB8AC3E}">
        <p14:creationId xmlns:p14="http://schemas.microsoft.com/office/powerpoint/2010/main" val="1187743778"/>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00088" y="74423"/>
            <a:ext cx="5388737" cy="899665"/>
          </a:xfrm>
        </p:spPr>
        <p:txBody>
          <a:bodyPr/>
          <a:lstStyle/>
          <a:p>
            <a:r>
              <a:rPr lang="en-US" dirty="0" smtClean="0"/>
              <a:t>Scenario #3: Cloud Services</a:t>
            </a:r>
            <a:endParaRPr lang="en-US" dirty="0"/>
          </a:p>
        </p:txBody>
      </p:sp>
      <p:grpSp>
        <p:nvGrpSpPr>
          <p:cNvPr id="4" name="Group 3"/>
          <p:cNvGrpSpPr/>
          <p:nvPr/>
        </p:nvGrpSpPr>
        <p:grpSpPr>
          <a:xfrm>
            <a:off x="2944368" y="2901696"/>
            <a:ext cx="2468880" cy="3694176"/>
            <a:chOff x="4724400" y="2901696"/>
            <a:chExt cx="2468880" cy="3694176"/>
          </a:xfrm>
        </p:grpSpPr>
        <p:sp>
          <p:nvSpPr>
            <p:cNvPr id="7" name="Rectangle 6"/>
            <p:cNvSpPr/>
            <p:nvPr/>
          </p:nvSpPr>
          <p:spPr bwMode="auto">
            <a:xfrm>
              <a:off x="5153230" y="3291840"/>
              <a:ext cx="857426" cy="5303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Web</a:t>
              </a:r>
            </a:p>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Role</a:t>
              </a:r>
            </a:p>
          </p:txBody>
        </p:sp>
        <p:sp>
          <p:nvSpPr>
            <p:cNvPr id="6" name="Rectangle 5"/>
            <p:cNvSpPr/>
            <p:nvPr/>
          </p:nvSpPr>
          <p:spPr bwMode="auto">
            <a:xfrm>
              <a:off x="4724400" y="2901696"/>
              <a:ext cx="2468880" cy="3694176"/>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solidFill>
                    <a:schemeClr val="accent6"/>
                  </a:solidFill>
                  <a:ea typeface="Segoe UI" pitchFamily="34" charset="0"/>
                  <a:cs typeface="Segoe UI" pitchFamily="34" charset="0"/>
                </a:rPr>
                <a:t>Windows Azure</a:t>
              </a:r>
            </a:p>
          </p:txBody>
        </p:sp>
        <p:sp>
          <p:nvSpPr>
            <p:cNvPr id="40" name="Rectangle 39"/>
            <p:cNvSpPr/>
            <p:nvPr/>
          </p:nvSpPr>
          <p:spPr bwMode="auto">
            <a:xfrm>
              <a:off x="6124486" y="3291840"/>
              <a:ext cx="857426" cy="5303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Web</a:t>
              </a:r>
            </a:p>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Role</a:t>
              </a:r>
            </a:p>
          </p:txBody>
        </p:sp>
        <p:sp>
          <p:nvSpPr>
            <p:cNvPr id="41" name="Rectangle 40"/>
            <p:cNvSpPr/>
            <p:nvPr/>
          </p:nvSpPr>
          <p:spPr bwMode="auto">
            <a:xfrm>
              <a:off x="5153230" y="3902662"/>
              <a:ext cx="857426" cy="5303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Web</a:t>
              </a:r>
            </a:p>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Role</a:t>
              </a:r>
            </a:p>
          </p:txBody>
        </p:sp>
        <p:sp>
          <p:nvSpPr>
            <p:cNvPr id="42" name="Rectangle 41"/>
            <p:cNvSpPr/>
            <p:nvPr/>
          </p:nvSpPr>
          <p:spPr bwMode="auto">
            <a:xfrm>
              <a:off x="6124486" y="3902662"/>
              <a:ext cx="857426" cy="5303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Web</a:t>
              </a:r>
            </a:p>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Role</a:t>
              </a:r>
            </a:p>
          </p:txBody>
        </p:sp>
      </p:grpSp>
      <p:sp>
        <p:nvSpPr>
          <p:cNvPr id="37" name="TextBox 36"/>
          <p:cNvSpPr txBox="1"/>
          <p:nvPr/>
        </p:nvSpPr>
        <p:spPr>
          <a:xfrm>
            <a:off x="6089903" y="1761744"/>
            <a:ext cx="5273623" cy="1957459"/>
          </a:xfrm>
          <a:prstGeom prst="rect">
            <a:avLst/>
          </a:prstGeom>
          <a:noFill/>
        </p:spPr>
        <p:txBody>
          <a:bodyPr wrap="none" lIns="182880" tIns="146304" rIns="182880" bIns="146304" rtlCol="0">
            <a:spAutoFit/>
          </a:bodyPr>
          <a:lstStyle/>
          <a:p>
            <a:pPr marL="342900" indent="-342900">
              <a:lnSpc>
                <a:spcPct val="90000"/>
              </a:lnSpc>
              <a:buFontTx/>
              <a:buChar char="-"/>
            </a:pPr>
            <a:r>
              <a:rPr lang="en-US" sz="2400" dirty="0" smtClean="0">
                <a:gradFill>
                  <a:gsLst>
                    <a:gs pos="2917">
                      <a:schemeClr val="tx1"/>
                    </a:gs>
                    <a:gs pos="30000">
                      <a:schemeClr val="tx1"/>
                    </a:gs>
                  </a:gsLst>
                  <a:lin ang="5400000" scaled="0"/>
                </a:gradFill>
              </a:rPr>
              <a:t>More work to migrate code</a:t>
            </a:r>
          </a:p>
          <a:p>
            <a:pPr marL="342900" indent="-342900">
              <a:lnSpc>
                <a:spcPct val="90000"/>
              </a:lnSpc>
              <a:buFontTx/>
              <a:buChar char="-"/>
            </a:pPr>
            <a:r>
              <a:rPr lang="en-US" sz="2400" dirty="0" smtClean="0">
                <a:gradFill>
                  <a:gsLst>
                    <a:gs pos="2917">
                      <a:schemeClr val="tx1"/>
                    </a:gs>
                    <a:gs pos="30000">
                      <a:schemeClr val="tx1"/>
                    </a:gs>
                  </a:gsLst>
                  <a:lin ang="5400000" scaled="0"/>
                </a:gradFill>
              </a:rPr>
              <a:t>Can easily scale horizontally</a:t>
            </a:r>
          </a:p>
          <a:p>
            <a:pPr marL="342900" indent="-342900">
              <a:lnSpc>
                <a:spcPct val="90000"/>
              </a:lnSpc>
              <a:buFontTx/>
              <a:buChar char="-"/>
            </a:pPr>
            <a:r>
              <a:rPr lang="en-US" sz="2400" dirty="0" smtClean="0">
                <a:gradFill>
                  <a:gsLst>
                    <a:gs pos="2917">
                      <a:schemeClr val="tx1"/>
                    </a:gs>
                    <a:gs pos="30000">
                      <a:schemeClr val="tx1"/>
                    </a:gs>
                  </a:gsLst>
                  <a:lin ang="5400000" scaled="0"/>
                </a:gradFill>
              </a:rPr>
              <a:t>99% no management of servers</a:t>
            </a:r>
          </a:p>
          <a:p>
            <a:pPr marL="342900" indent="-342900">
              <a:lnSpc>
                <a:spcPct val="90000"/>
              </a:lnSpc>
              <a:buFontTx/>
              <a:buChar char="-"/>
            </a:pPr>
            <a:r>
              <a:rPr lang="en-US" sz="2400" dirty="0" smtClean="0">
                <a:gradFill>
                  <a:gsLst>
                    <a:gs pos="2917">
                      <a:schemeClr val="tx1"/>
                    </a:gs>
                    <a:gs pos="30000">
                      <a:schemeClr val="tx1"/>
                    </a:gs>
                  </a:gsLst>
                  <a:lin ang="5400000" scaled="0"/>
                </a:gradFill>
              </a:rPr>
              <a:t>Auto-scaling by load through day</a:t>
            </a:r>
          </a:p>
          <a:p>
            <a:pPr marL="342900" indent="-342900">
              <a:lnSpc>
                <a:spcPct val="90000"/>
              </a:lnSpc>
              <a:buFontTx/>
              <a:buChar char="-"/>
            </a:pPr>
            <a:endParaRPr lang="en-US" sz="2400" dirty="0" smtClean="0">
              <a:gradFill>
                <a:gsLst>
                  <a:gs pos="2917">
                    <a:schemeClr val="tx1"/>
                  </a:gs>
                  <a:gs pos="30000">
                    <a:schemeClr val="tx1"/>
                  </a:gs>
                </a:gsLst>
                <a:lin ang="5400000" scaled="0"/>
              </a:gradFill>
            </a:endParaRPr>
          </a:p>
        </p:txBody>
      </p:sp>
      <p:sp>
        <p:nvSpPr>
          <p:cNvPr id="38" name="TextBox 37"/>
          <p:cNvSpPr txBox="1"/>
          <p:nvPr/>
        </p:nvSpPr>
        <p:spPr>
          <a:xfrm>
            <a:off x="6117336" y="3719846"/>
            <a:ext cx="4204421" cy="2419124"/>
          </a:xfrm>
          <a:prstGeom prst="rect">
            <a:avLst/>
          </a:prstGeom>
          <a:noFill/>
        </p:spPr>
        <p:txBody>
          <a:bodyPr wrap="none" lIns="182880" tIns="146304" rIns="182880" bIns="146304" rtlCol="0">
            <a:spAutoFit/>
          </a:bodyPr>
          <a:lstStyle/>
          <a:p>
            <a:pPr marL="342900" indent="-342900">
              <a:buFontTx/>
              <a:buChar char="-"/>
            </a:pPr>
            <a:r>
              <a:rPr lang="en-US" sz="2000" dirty="0" smtClean="0"/>
              <a:t>Four small (single core) servers</a:t>
            </a:r>
          </a:p>
          <a:p>
            <a:pPr marL="799705" lvl="1" indent="-342900">
              <a:buFontTx/>
              <a:buChar char="-"/>
            </a:pPr>
            <a:r>
              <a:rPr lang="en-US" sz="2000" dirty="0" smtClean="0"/>
              <a:t>$</a:t>
            </a:r>
            <a:r>
              <a:rPr lang="en-US" sz="2000" dirty="0"/>
              <a:t>230.40 / </a:t>
            </a:r>
            <a:r>
              <a:rPr lang="en-US" sz="2000" dirty="0" smtClean="0"/>
              <a:t>month</a:t>
            </a:r>
          </a:p>
          <a:p>
            <a:pPr marL="342900" indent="-342900">
              <a:buFontTx/>
              <a:buChar char="-"/>
            </a:pPr>
            <a:r>
              <a:rPr lang="en-US" sz="2000" dirty="0" smtClean="0"/>
              <a:t>SQL </a:t>
            </a:r>
            <a:r>
              <a:rPr lang="en-US" sz="2000" dirty="0"/>
              <a:t>Database – </a:t>
            </a:r>
            <a:r>
              <a:rPr lang="en-US" sz="2000" dirty="0" smtClean="0"/>
              <a:t>10GB</a:t>
            </a:r>
          </a:p>
          <a:p>
            <a:pPr marL="799705" lvl="1" indent="-342900">
              <a:buFontTx/>
              <a:buChar char="-"/>
            </a:pPr>
            <a:r>
              <a:rPr lang="en-US" sz="2000" dirty="0" smtClean="0"/>
              <a:t>$45.96 </a:t>
            </a:r>
            <a:r>
              <a:rPr lang="en-US" sz="2000" dirty="0"/>
              <a:t>/ </a:t>
            </a:r>
            <a:r>
              <a:rPr lang="en-US" sz="2000" dirty="0" smtClean="0"/>
              <a:t>month</a:t>
            </a:r>
          </a:p>
          <a:p>
            <a:pPr marL="799705" lvl="1" indent="-342900">
              <a:buFontTx/>
              <a:buChar char="-"/>
            </a:pPr>
            <a:endParaRPr lang="en-US" sz="2000" dirty="0"/>
          </a:p>
          <a:p>
            <a:r>
              <a:rPr lang="en-US" sz="2000" b="1" dirty="0"/>
              <a:t>Total: About $276.36 / month</a:t>
            </a:r>
            <a:endParaRPr lang="en-US" sz="2000" dirty="0"/>
          </a:p>
          <a:p>
            <a:pPr>
              <a:lnSpc>
                <a:spcPct val="90000"/>
              </a:lnSpc>
            </a:pPr>
            <a:endParaRPr lang="en-US" sz="2000" dirty="0" smtClean="0">
              <a:gradFill>
                <a:gsLst>
                  <a:gs pos="2917">
                    <a:schemeClr val="tx1"/>
                  </a:gs>
                  <a:gs pos="30000">
                    <a:schemeClr val="tx1"/>
                  </a:gs>
                </a:gsLst>
                <a:lin ang="5400000" scaled="0"/>
              </a:gradFill>
            </a:endParaRPr>
          </a:p>
        </p:txBody>
      </p:sp>
      <p:sp>
        <p:nvSpPr>
          <p:cNvPr id="3" name="Flowchart: Magnetic Disk 2"/>
          <p:cNvSpPr/>
          <p:nvPr/>
        </p:nvSpPr>
        <p:spPr bwMode="auto">
          <a:xfrm>
            <a:off x="3688080" y="4763495"/>
            <a:ext cx="1133856" cy="1285614"/>
          </a:xfrm>
          <a:prstGeom prst="flowChartMagneticDisk">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SQL</a:t>
            </a:r>
          </a:p>
          <a:p>
            <a:pPr algn="ctr" defTabSz="932472" fontAlgn="base">
              <a:lnSpc>
                <a:spcPct val="90000"/>
              </a:lnSpc>
              <a:spcBef>
                <a:spcPct val="0"/>
              </a:spcBef>
              <a:spcAft>
                <a:spcPct val="0"/>
              </a:spcAft>
            </a:pPr>
            <a:r>
              <a:rPr lang="en-US" sz="2400" dirty="0" err="1" smtClean="0">
                <a:gradFill>
                  <a:gsLst>
                    <a:gs pos="0">
                      <a:srgbClr val="FFFFFF"/>
                    </a:gs>
                    <a:gs pos="100000">
                      <a:srgbClr val="FFFFFF"/>
                    </a:gs>
                  </a:gsLst>
                  <a:lin ang="5400000" scaled="0"/>
                </a:gradFill>
                <a:ea typeface="Segoe UI" pitchFamily="34" charset="0"/>
                <a:cs typeface="Segoe UI" pitchFamily="34" charset="0"/>
              </a:rPr>
              <a:t>db</a:t>
            </a: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39" name="Customers"/>
          <p:cNvGrpSpPr/>
          <p:nvPr/>
        </p:nvGrpSpPr>
        <p:grpSpPr>
          <a:xfrm>
            <a:off x="425196" y="2767584"/>
            <a:ext cx="2567298" cy="3828287"/>
            <a:chOff x="425196" y="2767584"/>
            <a:chExt cx="2567298" cy="3828287"/>
          </a:xfrm>
        </p:grpSpPr>
        <p:sp>
          <p:nvSpPr>
            <p:cNvPr id="43" name="Rectangle 42"/>
            <p:cNvSpPr/>
            <p:nvPr/>
          </p:nvSpPr>
          <p:spPr bwMode="auto">
            <a:xfrm>
              <a:off x="749808" y="3822192"/>
              <a:ext cx="1414272" cy="755904"/>
            </a:xfrm>
            <a:prstGeom prst="rect">
              <a:avLst/>
            </a:prstGeom>
            <a:solidFill>
              <a:srgbClr val="30303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Customer SQL</a:t>
              </a:r>
              <a:endParaRPr lang="en-US" sz="1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18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43"/>
            <p:cNvSpPr/>
            <p:nvPr/>
          </p:nvSpPr>
          <p:spPr bwMode="auto">
            <a:xfrm>
              <a:off x="749808" y="4727448"/>
              <a:ext cx="1414272" cy="755904"/>
            </a:xfrm>
            <a:prstGeom prst="rect">
              <a:avLst/>
            </a:prstGeom>
            <a:solidFill>
              <a:srgbClr val="30303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Customer SQL</a:t>
              </a:r>
              <a:endParaRPr lang="en-US" sz="1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18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p:cNvSpPr/>
            <p:nvPr/>
          </p:nvSpPr>
          <p:spPr bwMode="auto">
            <a:xfrm>
              <a:off x="749808" y="5632704"/>
              <a:ext cx="1414272" cy="755904"/>
            </a:xfrm>
            <a:prstGeom prst="rect">
              <a:avLst/>
            </a:prstGeom>
            <a:solidFill>
              <a:srgbClr val="30303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Customer SQL</a:t>
              </a:r>
              <a:endParaRPr lang="en-US" sz="1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18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6" name="Rectangle 45"/>
            <p:cNvSpPr/>
            <p:nvPr/>
          </p:nvSpPr>
          <p:spPr bwMode="auto">
            <a:xfrm>
              <a:off x="425196" y="2767584"/>
              <a:ext cx="1946148" cy="3828287"/>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solidFill>
                    <a:schemeClr val="accent6"/>
                  </a:solidFill>
                  <a:ea typeface="Segoe UI" pitchFamily="34" charset="0"/>
                  <a:cs typeface="Segoe UI" pitchFamily="34" charset="0"/>
                </a:rPr>
                <a:t>Each customer’s datacenter</a:t>
              </a:r>
            </a:p>
          </p:txBody>
        </p:sp>
        <p:sp>
          <p:nvSpPr>
            <p:cNvPr id="47" name="Down Arrow 46"/>
            <p:cNvSpPr/>
            <p:nvPr/>
          </p:nvSpPr>
          <p:spPr bwMode="auto">
            <a:xfrm rot="16200000">
              <a:off x="2328030" y="4395215"/>
              <a:ext cx="755904" cy="573024"/>
            </a:xfrm>
            <a:prstGeom prst="down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48" name="Clients"/>
          <p:cNvGrpSpPr/>
          <p:nvPr/>
        </p:nvGrpSpPr>
        <p:grpSpPr>
          <a:xfrm>
            <a:off x="749808" y="67056"/>
            <a:ext cx="6038088" cy="2700525"/>
            <a:chOff x="2389632" y="67056"/>
            <a:chExt cx="6038088" cy="2700525"/>
          </a:xfrm>
        </p:grpSpPr>
        <p:sp>
          <p:nvSpPr>
            <p:cNvPr id="49" name="Freeform 48"/>
            <p:cNvSpPr/>
            <p:nvPr/>
          </p:nvSpPr>
          <p:spPr>
            <a:xfrm>
              <a:off x="3873860" y="191247"/>
              <a:ext cx="4480855" cy="880030"/>
            </a:xfrm>
            <a:custGeom>
              <a:avLst/>
              <a:gdLst>
                <a:gd name="connsiteX0" fmla="*/ 1152413 w 8734227"/>
                <a:gd name="connsiteY0" fmla="*/ 1636663 h 1715383"/>
                <a:gd name="connsiteX1" fmla="*/ 1152413 w 8734227"/>
                <a:gd name="connsiteY1" fmla="*/ 1663491 h 1715383"/>
                <a:gd name="connsiteX2" fmla="*/ 1188645 w 8734227"/>
                <a:gd name="connsiteY2" fmla="*/ 1668494 h 1715383"/>
                <a:gd name="connsiteX3" fmla="*/ 1188591 w 8734227"/>
                <a:gd name="connsiteY3" fmla="*/ 1636663 h 1715383"/>
                <a:gd name="connsiteX4" fmla="*/ 1121597 w 8734227"/>
                <a:gd name="connsiteY4" fmla="*/ 1636663 h 1715383"/>
                <a:gd name="connsiteX5" fmla="*/ 1121599 w 8734227"/>
                <a:gd name="connsiteY5" fmla="*/ 1659239 h 1715383"/>
                <a:gd name="connsiteX6" fmla="*/ 1149027 w 8734227"/>
                <a:gd name="connsiteY6" fmla="*/ 1663024 h 1715383"/>
                <a:gd name="connsiteX7" fmla="*/ 1149027 w 8734227"/>
                <a:gd name="connsiteY7" fmla="*/ 1636663 h 1715383"/>
                <a:gd name="connsiteX8" fmla="*/ 5975882 w 8734227"/>
                <a:gd name="connsiteY8" fmla="*/ 1616729 h 1715383"/>
                <a:gd name="connsiteX9" fmla="*/ 5975882 w 8734227"/>
                <a:gd name="connsiteY9" fmla="*/ 1629353 h 1715383"/>
                <a:gd name="connsiteX10" fmla="*/ 6053370 w 8734227"/>
                <a:gd name="connsiteY10" fmla="*/ 1629353 h 1715383"/>
                <a:gd name="connsiteX11" fmla="*/ 6053370 w 8734227"/>
                <a:gd name="connsiteY11" fmla="*/ 1616729 h 1715383"/>
                <a:gd name="connsiteX12" fmla="*/ 8268937 w 8734227"/>
                <a:gd name="connsiteY12" fmla="*/ 1608864 h 1715383"/>
                <a:gd name="connsiteX13" fmla="*/ 8268937 w 8734227"/>
                <a:gd name="connsiteY13" fmla="*/ 1614441 h 1715383"/>
                <a:gd name="connsiteX14" fmla="*/ 8303165 w 8734227"/>
                <a:gd name="connsiteY14" fmla="*/ 1614441 h 1715383"/>
                <a:gd name="connsiteX15" fmla="*/ 8303165 w 8734227"/>
                <a:gd name="connsiteY15" fmla="*/ 1608864 h 1715383"/>
                <a:gd name="connsiteX16" fmla="*/ 1149027 w 8734227"/>
                <a:gd name="connsiteY16" fmla="*/ 1606864 h 1715383"/>
                <a:gd name="connsiteX17" fmla="*/ 1121599 w 8734227"/>
                <a:gd name="connsiteY17" fmla="*/ 1610703 h 1715383"/>
                <a:gd name="connsiteX18" fmla="*/ 1121602 w 8734227"/>
                <a:gd name="connsiteY18" fmla="*/ 1633277 h 1715383"/>
                <a:gd name="connsiteX19" fmla="*/ 1149027 w 8734227"/>
                <a:gd name="connsiteY19" fmla="*/ 1633277 h 1715383"/>
                <a:gd name="connsiteX20" fmla="*/ 4027721 w 8734227"/>
                <a:gd name="connsiteY20" fmla="*/ 1601447 h 1715383"/>
                <a:gd name="connsiteX21" fmla="*/ 3987043 w 8734227"/>
                <a:gd name="connsiteY21" fmla="*/ 1642124 h 1715383"/>
                <a:gd name="connsiteX22" fmla="*/ 4027721 w 8734227"/>
                <a:gd name="connsiteY22" fmla="*/ 1682801 h 1715383"/>
                <a:gd name="connsiteX23" fmla="*/ 4068398 w 8734227"/>
                <a:gd name="connsiteY23" fmla="*/ 1642124 h 1715383"/>
                <a:gd name="connsiteX24" fmla="*/ 4027721 w 8734227"/>
                <a:gd name="connsiteY24" fmla="*/ 1601447 h 1715383"/>
                <a:gd name="connsiteX25" fmla="*/ 1188532 w 8734227"/>
                <a:gd name="connsiteY25" fmla="*/ 1601335 h 1715383"/>
                <a:gd name="connsiteX26" fmla="*/ 1152413 w 8734227"/>
                <a:gd name="connsiteY26" fmla="*/ 1606390 h 1715383"/>
                <a:gd name="connsiteX27" fmla="*/ 1152413 w 8734227"/>
                <a:gd name="connsiteY27" fmla="*/ 1633277 h 1715383"/>
                <a:gd name="connsiteX28" fmla="*/ 1188586 w 8734227"/>
                <a:gd name="connsiteY28" fmla="*/ 1633277 h 1715383"/>
                <a:gd name="connsiteX29" fmla="*/ 8268937 w 8734227"/>
                <a:gd name="connsiteY29" fmla="*/ 1596942 h 1715383"/>
                <a:gd name="connsiteX30" fmla="*/ 8268937 w 8734227"/>
                <a:gd name="connsiteY30" fmla="*/ 1602519 h 1715383"/>
                <a:gd name="connsiteX31" fmla="*/ 8303165 w 8734227"/>
                <a:gd name="connsiteY31" fmla="*/ 1602519 h 1715383"/>
                <a:gd name="connsiteX32" fmla="*/ 8303165 w 8734227"/>
                <a:gd name="connsiteY32" fmla="*/ 1596942 h 1715383"/>
                <a:gd name="connsiteX33" fmla="*/ 2818847 w 8734227"/>
                <a:gd name="connsiteY33" fmla="*/ 1594679 h 1715383"/>
                <a:gd name="connsiteX34" fmla="*/ 2818847 w 8734227"/>
                <a:gd name="connsiteY34" fmla="*/ 1625793 h 1715383"/>
                <a:gd name="connsiteX35" fmla="*/ 2860864 w 8734227"/>
                <a:gd name="connsiteY35" fmla="*/ 1631591 h 1715383"/>
                <a:gd name="connsiteX36" fmla="*/ 2860802 w 8734227"/>
                <a:gd name="connsiteY36" fmla="*/ 1594679 h 1715383"/>
                <a:gd name="connsiteX37" fmla="*/ 2783108 w 8734227"/>
                <a:gd name="connsiteY37" fmla="*/ 1594679 h 1715383"/>
                <a:gd name="connsiteX38" fmla="*/ 2783110 w 8734227"/>
                <a:gd name="connsiteY38" fmla="*/ 1620860 h 1715383"/>
                <a:gd name="connsiteX39" fmla="*/ 2814919 w 8734227"/>
                <a:gd name="connsiteY39" fmla="*/ 1625251 h 1715383"/>
                <a:gd name="connsiteX40" fmla="*/ 2814919 w 8734227"/>
                <a:gd name="connsiteY40" fmla="*/ 1594679 h 1715383"/>
                <a:gd name="connsiteX41" fmla="*/ 8460169 w 8734227"/>
                <a:gd name="connsiteY41" fmla="*/ 1594535 h 1715383"/>
                <a:gd name="connsiteX42" fmla="*/ 8460169 w 8734227"/>
                <a:gd name="connsiteY42" fmla="*/ 1609826 h 1715383"/>
                <a:gd name="connsiteX43" fmla="*/ 8439786 w 8734227"/>
                <a:gd name="connsiteY43" fmla="*/ 1609826 h 1715383"/>
                <a:gd name="connsiteX44" fmla="*/ 8439786 w 8734227"/>
                <a:gd name="connsiteY44" fmla="*/ 1595380 h 1715383"/>
                <a:gd name="connsiteX45" fmla="*/ 8435075 w 8734227"/>
                <a:gd name="connsiteY45" fmla="*/ 1600091 h 1715383"/>
                <a:gd name="connsiteX46" fmla="*/ 8435075 w 8734227"/>
                <a:gd name="connsiteY46" fmla="*/ 1614633 h 1715383"/>
                <a:gd name="connsiteX47" fmla="*/ 8464880 w 8734227"/>
                <a:gd name="connsiteY47" fmla="*/ 1614633 h 1715383"/>
                <a:gd name="connsiteX48" fmla="*/ 8464880 w 8734227"/>
                <a:gd name="connsiteY48" fmla="*/ 1599246 h 1715383"/>
                <a:gd name="connsiteX49" fmla="*/ 6240640 w 8734227"/>
                <a:gd name="connsiteY49" fmla="*/ 1591376 h 1715383"/>
                <a:gd name="connsiteX50" fmla="*/ 6240640 w 8734227"/>
                <a:gd name="connsiteY50" fmla="*/ 1624080 h 1715383"/>
                <a:gd name="connsiteX51" fmla="*/ 6197045 w 8734227"/>
                <a:gd name="connsiteY51" fmla="*/ 1624080 h 1715383"/>
                <a:gd name="connsiteX52" fmla="*/ 6197045 w 8734227"/>
                <a:gd name="connsiteY52" fmla="*/ 1593184 h 1715383"/>
                <a:gd name="connsiteX53" fmla="*/ 6186968 w 8734227"/>
                <a:gd name="connsiteY53" fmla="*/ 1603261 h 1715383"/>
                <a:gd name="connsiteX54" fmla="*/ 6186968 w 8734227"/>
                <a:gd name="connsiteY54" fmla="*/ 1634363 h 1715383"/>
                <a:gd name="connsiteX55" fmla="*/ 6250715 w 8734227"/>
                <a:gd name="connsiteY55" fmla="*/ 1634363 h 1715383"/>
                <a:gd name="connsiteX56" fmla="*/ 6250715 w 8734227"/>
                <a:gd name="connsiteY56" fmla="*/ 1601453 h 1715383"/>
                <a:gd name="connsiteX57" fmla="*/ 5975882 w 8734227"/>
                <a:gd name="connsiteY57" fmla="*/ 1589739 h 1715383"/>
                <a:gd name="connsiteX58" fmla="*/ 5975882 w 8734227"/>
                <a:gd name="connsiteY58" fmla="*/ 1602364 h 1715383"/>
                <a:gd name="connsiteX59" fmla="*/ 6053370 w 8734227"/>
                <a:gd name="connsiteY59" fmla="*/ 1602364 h 1715383"/>
                <a:gd name="connsiteX60" fmla="*/ 6053370 w 8734227"/>
                <a:gd name="connsiteY60" fmla="*/ 1589739 h 1715383"/>
                <a:gd name="connsiteX61" fmla="*/ 8268937 w 8734227"/>
                <a:gd name="connsiteY61" fmla="*/ 1585020 h 1715383"/>
                <a:gd name="connsiteX62" fmla="*/ 8268937 w 8734227"/>
                <a:gd name="connsiteY62" fmla="*/ 1590597 h 1715383"/>
                <a:gd name="connsiteX63" fmla="*/ 8303165 w 8734227"/>
                <a:gd name="connsiteY63" fmla="*/ 1590597 h 1715383"/>
                <a:gd name="connsiteX64" fmla="*/ 8303165 w 8734227"/>
                <a:gd name="connsiteY64" fmla="*/ 1585020 h 1715383"/>
                <a:gd name="connsiteX65" fmla="*/ 8612398 w 8734227"/>
                <a:gd name="connsiteY65" fmla="*/ 1579252 h 1715383"/>
                <a:gd name="connsiteX66" fmla="*/ 8621916 w 8734227"/>
                <a:gd name="connsiteY66" fmla="*/ 1588770 h 1715383"/>
                <a:gd name="connsiteX67" fmla="*/ 8612398 w 8734227"/>
                <a:gd name="connsiteY67" fmla="*/ 1598288 h 1715383"/>
                <a:gd name="connsiteX68" fmla="*/ 8602880 w 8734227"/>
                <a:gd name="connsiteY68" fmla="*/ 1588770 h 1715383"/>
                <a:gd name="connsiteX69" fmla="*/ 8612398 w 8734227"/>
                <a:gd name="connsiteY69" fmla="*/ 1579252 h 1715383"/>
                <a:gd name="connsiteX70" fmla="*/ 8612398 w 8734227"/>
                <a:gd name="connsiteY70" fmla="*/ 1573932 h 1715383"/>
                <a:gd name="connsiteX71" fmla="*/ 8597559 w 8734227"/>
                <a:gd name="connsiteY71" fmla="*/ 1588770 h 1715383"/>
                <a:gd name="connsiteX72" fmla="*/ 8612398 w 8734227"/>
                <a:gd name="connsiteY72" fmla="*/ 1603608 h 1715383"/>
                <a:gd name="connsiteX73" fmla="*/ 8620988 w 8734227"/>
                <a:gd name="connsiteY73" fmla="*/ 1600545 h 1715383"/>
                <a:gd name="connsiteX74" fmla="*/ 8633111 w 8734227"/>
                <a:gd name="connsiteY74" fmla="*/ 1612668 h 1715383"/>
                <a:gd name="connsiteX75" fmla="*/ 8636873 w 8734227"/>
                <a:gd name="connsiteY75" fmla="*/ 1608907 h 1715383"/>
                <a:gd name="connsiteX76" fmla="*/ 8624637 w 8734227"/>
                <a:gd name="connsiteY76" fmla="*/ 1596671 h 1715383"/>
                <a:gd name="connsiteX77" fmla="*/ 8627236 w 8734227"/>
                <a:gd name="connsiteY77" fmla="*/ 1588770 h 1715383"/>
                <a:gd name="connsiteX78" fmla="*/ 8612398 w 8734227"/>
                <a:gd name="connsiteY78" fmla="*/ 1573932 h 1715383"/>
                <a:gd name="connsiteX79" fmla="*/ 8104689 w 8734227"/>
                <a:gd name="connsiteY79" fmla="*/ 1573371 h 1715383"/>
                <a:gd name="connsiteX80" fmla="*/ 8094578 w 8734227"/>
                <a:gd name="connsiteY80" fmla="*/ 1583482 h 1715383"/>
                <a:gd name="connsiteX81" fmla="*/ 8104865 w 8734227"/>
                <a:gd name="connsiteY81" fmla="*/ 1593770 h 1715383"/>
                <a:gd name="connsiteX82" fmla="*/ 8112479 w 8734227"/>
                <a:gd name="connsiteY82" fmla="*/ 1593770 h 1715383"/>
                <a:gd name="connsiteX83" fmla="*/ 8104788 w 8734227"/>
                <a:gd name="connsiteY83" fmla="*/ 1586078 h 1715383"/>
                <a:gd name="connsiteX84" fmla="*/ 8117510 w 8734227"/>
                <a:gd name="connsiteY84" fmla="*/ 1586078 h 1715383"/>
                <a:gd name="connsiteX85" fmla="*/ 8129144 w 8734227"/>
                <a:gd name="connsiteY85" fmla="*/ 1597712 h 1715383"/>
                <a:gd name="connsiteX86" fmla="*/ 8117510 w 8734227"/>
                <a:gd name="connsiteY86" fmla="*/ 1609345 h 1715383"/>
                <a:gd name="connsiteX87" fmla="*/ 8101646 w 8734227"/>
                <a:gd name="connsiteY87" fmla="*/ 1609345 h 1715383"/>
                <a:gd name="connsiteX88" fmla="*/ 8101646 w 8734227"/>
                <a:gd name="connsiteY88" fmla="*/ 1614633 h 1715383"/>
                <a:gd name="connsiteX89" fmla="*/ 8118183 w 8734227"/>
                <a:gd name="connsiteY89" fmla="*/ 1614633 h 1715383"/>
                <a:gd name="connsiteX90" fmla="*/ 8135104 w 8734227"/>
                <a:gd name="connsiteY90" fmla="*/ 1597711 h 1715383"/>
                <a:gd name="connsiteX91" fmla="*/ 8118183 w 8734227"/>
                <a:gd name="connsiteY91" fmla="*/ 1580790 h 1715383"/>
                <a:gd name="connsiteX92" fmla="*/ 8104884 w 8734227"/>
                <a:gd name="connsiteY92" fmla="*/ 1580790 h 1715383"/>
                <a:gd name="connsiteX93" fmla="*/ 8112303 w 8734227"/>
                <a:gd name="connsiteY93" fmla="*/ 1573371 h 1715383"/>
                <a:gd name="connsiteX94" fmla="*/ 8255477 w 8734227"/>
                <a:gd name="connsiteY94" fmla="*/ 1573098 h 1715383"/>
                <a:gd name="connsiteX95" fmla="*/ 8255477 w 8734227"/>
                <a:gd name="connsiteY95" fmla="*/ 1578675 h 1715383"/>
                <a:gd name="connsiteX96" fmla="*/ 8303165 w 8734227"/>
                <a:gd name="connsiteY96" fmla="*/ 1578675 h 1715383"/>
                <a:gd name="connsiteX97" fmla="*/ 8303165 w 8734227"/>
                <a:gd name="connsiteY97" fmla="*/ 1573098 h 1715383"/>
                <a:gd name="connsiteX98" fmla="*/ 8450362 w 8734227"/>
                <a:gd name="connsiteY98" fmla="*/ 1572906 h 1715383"/>
                <a:gd name="connsiteX99" fmla="*/ 8439786 w 8734227"/>
                <a:gd name="connsiteY99" fmla="*/ 1583482 h 1715383"/>
                <a:gd name="connsiteX100" fmla="*/ 8439786 w 8734227"/>
                <a:gd name="connsiteY100" fmla="*/ 1583447 h 1715383"/>
                <a:gd name="connsiteX101" fmla="*/ 8435075 w 8734227"/>
                <a:gd name="connsiteY101" fmla="*/ 1588158 h 1715383"/>
                <a:gd name="connsiteX102" fmla="*/ 8435075 w 8734227"/>
                <a:gd name="connsiteY102" fmla="*/ 1588193 h 1715383"/>
                <a:gd name="connsiteX103" fmla="*/ 8425148 w 8734227"/>
                <a:gd name="connsiteY103" fmla="*/ 1598120 h 1715383"/>
                <a:gd name="connsiteX104" fmla="*/ 8429121 w 8734227"/>
                <a:gd name="connsiteY104" fmla="*/ 1602092 h 1715383"/>
                <a:gd name="connsiteX105" fmla="*/ 8450362 w 8734227"/>
                <a:gd name="connsiteY105" fmla="*/ 1580852 h 1715383"/>
                <a:gd name="connsiteX106" fmla="*/ 8450418 w 8734227"/>
                <a:gd name="connsiteY106" fmla="*/ 1580908 h 1715383"/>
                <a:gd name="connsiteX107" fmla="*/ 8450438 w 8734227"/>
                <a:gd name="connsiteY107" fmla="*/ 1580888 h 1715383"/>
                <a:gd name="connsiteX108" fmla="*/ 8471671 w 8734227"/>
                <a:gd name="connsiteY108" fmla="*/ 1602122 h 1715383"/>
                <a:gd name="connsiteX109" fmla="*/ 8475624 w 8734227"/>
                <a:gd name="connsiteY109" fmla="*/ 1598168 h 1715383"/>
                <a:gd name="connsiteX110" fmla="*/ 8464880 w 8734227"/>
                <a:gd name="connsiteY110" fmla="*/ 1587424 h 1715383"/>
                <a:gd name="connsiteX111" fmla="*/ 8464880 w 8734227"/>
                <a:gd name="connsiteY111" fmla="*/ 1574444 h 1715383"/>
                <a:gd name="connsiteX112" fmla="*/ 8460169 w 8734227"/>
                <a:gd name="connsiteY112" fmla="*/ 1574444 h 1715383"/>
                <a:gd name="connsiteX113" fmla="*/ 8460169 w 8734227"/>
                <a:gd name="connsiteY113" fmla="*/ 1582713 h 1715383"/>
                <a:gd name="connsiteX114" fmla="*/ 3085285 w 8734227"/>
                <a:gd name="connsiteY114" fmla="*/ 1568490 h 1715383"/>
                <a:gd name="connsiteX115" fmla="*/ 3102553 w 8734227"/>
                <a:gd name="connsiteY115" fmla="*/ 1585759 h 1715383"/>
                <a:gd name="connsiteX116" fmla="*/ 3085285 w 8734227"/>
                <a:gd name="connsiteY116" fmla="*/ 1603029 h 1715383"/>
                <a:gd name="connsiteX117" fmla="*/ 3068014 w 8734227"/>
                <a:gd name="connsiteY117" fmla="*/ 1585759 h 1715383"/>
                <a:gd name="connsiteX118" fmla="*/ 3085285 w 8734227"/>
                <a:gd name="connsiteY118" fmla="*/ 1568490 h 1715383"/>
                <a:gd name="connsiteX119" fmla="*/ 5975882 w 8734227"/>
                <a:gd name="connsiteY119" fmla="*/ 1562748 h 1715383"/>
                <a:gd name="connsiteX120" fmla="*/ 5975882 w 8734227"/>
                <a:gd name="connsiteY120" fmla="*/ 1575374 h 1715383"/>
                <a:gd name="connsiteX121" fmla="*/ 6053370 w 8734227"/>
                <a:gd name="connsiteY121" fmla="*/ 1575374 h 1715383"/>
                <a:gd name="connsiteX122" fmla="*/ 6053370 w 8734227"/>
                <a:gd name="connsiteY122" fmla="*/ 1562748 h 1715383"/>
                <a:gd name="connsiteX123" fmla="*/ 2566537 w 8734227"/>
                <a:gd name="connsiteY123" fmla="*/ 1561821 h 1715383"/>
                <a:gd name="connsiteX124" fmla="*/ 2541313 w 8734227"/>
                <a:gd name="connsiteY124" fmla="*/ 1590869 h 1715383"/>
                <a:gd name="connsiteX125" fmla="*/ 2566537 w 8734227"/>
                <a:gd name="connsiteY125" fmla="*/ 1621153 h 1715383"/>
                <a:gd name="connsiteX126" fmla="*/ 2582362 w 8734227"/>
                <a:gd name="connsiteY126" fmla="*/ 1621153 h 1715383"/>
                <a:gd name="connsiteX127" fmla="*/ 2563569 w 8734227"/>
                <a:gd name="connsiteY127" fmla="*/ 1598903 h 1715383"/>
                <a:gd name="connsiteX128" fmla="*/ 2606103 w 8734227"/>
                <a:gd name="connsiteY128" fmla="*/ 1598903 h 1715383"/>
                <a:gd name="connsiteX129" fmla="*/ 2606103 w 8734227"/>
                <a:gd name="connsiteY129" fmla="*/ 1583453 h 1715383"/>
                <a:gd name="connsiteX130" fmla="*/ 2563569 w 8734227"/>
                <a:gd name="connsiteY130" fmla="*/ 1583453 h 1715383"/>
                <a:gd name="connsiteX131" fmla="*/ 2582362 w 8734227"/>
                <a:gd name="connsiteY131" fmla="*/ 1561821 h 1715383"/>
                <a:gd name="connsiteX132" fmla="*/ 2814919 w 8734227"/>
                <a:gd name="connsiteY132" fmla="*/ 1560122 h 1715383"/>
                <a:gd name="connsiteX133" fmla="*/ 2783110 w 8734227"/>
                <a:gd name="connsiteY133" fmla="*/ 1564573 h 1715383"/>
                <a:gd name="connsiteX134" fmla="*/ 2783116 w 8734227"/>
                <a:gd name="connsiteY134" fmla="*/ 1590755 h 1715383"/>
                <a:gd name="connsiteX135" fmla="*/ 2814919 w 8734227"/>
                <a:gd name="connsiteY135" fmla="*/ 1590755 h 1715383"/>
                <a:gd name="connsiteX136" fmla="*/ 3085194 w 8734227"/>
                <a:gd name="connsiteY136" fmla="*/ 1559855 h 1715383"/>
                <a:gd name="connsiteX137" fmla="*/ 3059291 w 8734227"/>
                <a:gd name="connsiteY137" fmla="*/ 1585759 h 1715383"/>
                <a:gd name="connsiteX138" fmla="*/ 3062416 w 8734227"/>
                <a:gd name="connsiteY138" fmla="*/ 1597850 h 1715383"/>
                <a:gd name="connsiteX139" fmla="*/ 3038712 w 8734227"/>
                <a:gd name="connsiteY139" fmla="*/ 1621553 h 1715383"/>
                <a:gd name="connsiteX140" fmla="*/ 3038712 w 8734227"/>
                <a:gd name="connsiteY140" fmla="*/ 1625623 h 1715383"/>
                <a:gd name="connsiteX141" fmla="*/ 3046852 w 8734227"/>
                <a:gd name="connsiteY141" fmla="*/ 1633764 h 1715383"/>
                <a:gd name="connsiteX142" fmla="*/ 3050925 w 8734227"/>
                <a:gd name="connsiteY142" fmla="*/ 1633764 h 1715383"/>
                <a:gd name="connsiteX143" fmla="*/ 3075079 w 8734227"/>
                <a:gd name="connsiteY143" fmla="*/ 1609610 h 1715383"/>
                <a:gd name="connsiteX144" fmla="*/ 3085194 w 8734227"/>
                <a:gd name="connsiteY144" fmla="*/ 1611663 h 1715383"/>
                <a:gd name="connsiteX145" fmla="*/ 3111099 w 8734227"/>
                <a:gd name="connsiteY145" fmla="*/ 1585759 h 1715383"/>
                <a:gd name="connsiteX146" fmla="*/ 3085194 w 8734227"/>
                <a:gd name="connsiteY146" fmla="*/ 1559855 h 1715383"/>
                <a:gd name="connsiteX147" fmla="*/ 2860734 w 8734227"/>
                <a:gd name="connsiteY147" fmla="*/ 1553710 h 1715383"/>
                <a:gd name="connsiteX148" fmla="*/ 2818847 w 8734227"/>
                <a:gd name="connsiteY148" fmla="*/ 1559572 h 1715383"/>
                <a:gd name="connsiteX149" fmla="*/ 2818847 w 8734227"/>
                <a:gd name="connsiteY149" fmla="*/ 1590755 h 1715383"/>
                <a:gd name="connsiteX150" fmla="*/ 2860797 w 8734227"/>
                <a:gd name="connsiteY150" fmla="*/ 1590755 h 1715383"/>
                <a:gd name="connsiteX151" fmla="*/ 6408449 w 8734227"/>
                <a:gd name="connsiteY151" fmla="*/ 1550368 h 1715383"/>
                <a:gd name="connsiteX152" fmla="*/ 6434588 w 8734227"/>
                <a:gd name="connsiteY152" fmla="*/ 1576506 h 1715383"/>
                <a:gd name="connsiteX153" fmla="*/ 6408449 w 8734227"/>
                <a:gd name="connsiteY153" fmla="*/ 1602645 h 1715383"/>
                <a:gd name="connsiteX154" fmla="*/ 6382311 w 8734227"/>
                <a:gd name="connsiteY154" fmla="*/ 1576506 h 1715383"/>
                <a:gd name="connsiteX155" fmla="*/ 6408449 w 8734227"/>
                <a:gd name="connsiteY155" fmla="*/ 1550368 h 1715383"/>
                <a:gd name="connsiteX156" fmla="*/ 6219663 w 8734227"/>
                <a:gd name="connsiteY156" fmla="*/ 1545115 h 1715383"/>
                <a:gd name="connsiteX157" fmla="*/ 6197045 w 8734227"/>
                <a:gd name="connsiteY157" fmla="*/ 1567734 h 1715383"/>
                <a:gd name="connsiteX158" fmla="*/ 6197045 w 8734227"/>
                <a:gd name="connsiteY158" fmla="*/ 1567661 h 1715383"/>
                <a:gd name="connsiteX159" fmla="*/ 6186968 w 8734227"/>
                <a:gd name="connsiteY159" fmla="*/ 1577738 h 1715383"/>
                <a:gd name="connsiteX160" fmla="*/ 6186968 w 8734227"/>
                <a:gd name="connsiteY160" fmla="*/ 1577811 h 1715383"/>
                <a:gd name="connsiteX161" fmla="*/ 6165737 w 8734227"/>
                <a:gd name="connsiteY161" fmla="*/ 1599043 h 1715383"/>
                <a:gd name="connsiteX162" fmla="*/ 6174233 w 8734227"/>
                <a:gd name="connsiteY162" fmla="*/ 1607540 h 1715383"/>
                <a:gd name="connsiteX163" fmla="*/ 6219663 w 8734227"/>
                <a:gd name="connsiteY163" fmla="*/ 1562110 h 1715383"/>
                <a:gd name="connsiteX164" fmla="*/ 6219784 w 8734227"/>
                <a:gd name="connsiteY164" fmla="*/ 1562231 h 1715383"/>
                <a:gd name="connsiteX165" fmla="*/ 6219828 w 8734227"/>
                <a:gd name="connsiteY165" fmla="*/ 1562188 h 1715383"/>
                <a:gd name="connsiteX166" fmla="*/ 6265241 w 8734227"/>
                <a:gd name="connsiteY166" fmla="*/ 1607603 h 1715383"/>
                <a:gd name="connsiteX167" fmla="*/ 6273696 w 8734227"/>
                <a:gd name="connsiteY167" fmla="*/ 1599147 h 1715383"/>
                <a:gd name="connsiteX168" fmla="*/ 6250715 w 8734227"/>
                <a:gd name="connsiteY168" fmla="*/ 1576167 h 1715383"/>
                <a:gd name="connsiteX169" fmla="*/ 6250715 w 8734227"/>
                <a:gd name="connsiteY169" fmla="*/ 1548405 h 1715383"/>
                <a:gd name="connsiteX170" fmla="*/ 6240640 w 8734227"/>
                <a:gd name="connsiteY170" fmla="*/ 1548405 h 1715383"/>
                <a:gd name="connsiteX171" fmla="*/ 6240640 w 8734227"/>
                <a:gd name="connsiteY171" fmla="*/ 1566092 h 1715383"/>
                <a:gd name="connsiteX172" fmla="*/ 6408449 w 8734227"/>
                <a:gd name="connsiteY172" fmla="*/ 1535759 h 1715383"/>
                <a:gd name="connsiteX173" fmla="*/ 6367702 w 8734227"/>
                <a:gd name="connsiteY173" fmla="*/ 1576506 h 1715383"/>
                <a:gd name="connsiteX174" fmla="*/ 6408449 w 8734227"/>
                <a:gd name="connsiteY174" fmla="*/ 1617255 h 1715383"/>
                <a:gd name="connsiteX175" fmla="*/ 6432040 w 8734227"/>
                <a:gd name="connsiteY175" fmla="*/ 1608842 h 1715383"/>
                <a:gd name="connsiteX176" fmla="*/ 6465332 w 8734227"/>
                <a:gd name="connsiteY176" fmla="*/ 1642134 h 1715383"/>
                <a:gd name="connsiteX177" fmla="*/ 6475661 w 8734227"/>
                <a:gd name="connsiteY177" fmla="*/ 1631804 h 1715383"/>
                <a:gd name="connsiteX178" fmla="*/ 6442062 w 8734227"/>
                <a:gd name="connsiteY178" fmla="*/ 1598203 h 1715383"/>
                <a:gd name="connsiteX179" fmla="*/ 6449198 w 8734227"/>
                <a:gd name="connsiteY179" fmla="*/ 1576506 h 1715383"/>
                <a:gd name="connsiteX180" fmla="*/ 6408449 w 8734227"/>
                <a:gd name="connsiteY180" fmla="*/ 1535759 h 1715383"/>
                <a:gd name="connsiteX181" fmla="*/ 5945410 w 8734227"/>
                <a:gd name="connsiteY181" fmla="*/ 1535759 h 1715383"/>
                <a:gd name="connsiteX182" fmla="*/ 5945410 w 8734227"/>
                <a:gd name="connsiteY182" fmla="*/ 1548383 h 1715383"/>
                <a:gd name="connsiteX183" fmla="*/ 6053370 w 8734227"/>
                <a:gd name="connsiteY183" fmla="*/ 1548383 h 1715383"/>
                <a:gd name="connsiteX184" fmla="*/ 6053370 w 8734227"/>
                <a:gd name="connsiteY184" fmla="*/ 1535759 h 1715383"/>
                <a:gd name="connsiteX185" fmla="*/ 5791471 w 8734227"/>
                <a:gd name="connsiteY185" fmla="*/ 1535759 h 1715383"/>
                <a:gd name="connsiteX186" fmla="*/ 5765016 w 8734227"/>
                <a:gd name="connsiteY186" fmla="*/ 1562214 h 1715383"/>
                <a:gd name="connsiteX187" fmla="*/ 5791932 w 8734227"/>
                <a:gd name="connsiteY187" fmla="*/ 1589132 h 1715383"/>
                <a:gd name="connsiteX188" fmla="*/ 5811855 w 8734227"/>
                <a:gd name="connsiteY188" fmla="*/ 1589132 h 1715383"/>
                <a:gd name="connsiteX189" fmla="*/ 5791731 w 8734227"/>
                <a:gd name="connsiteY189" fmla="*/ 1569006 h 1715383"/>
                <a:gd name="connsiteX190" fmla="*/ 5825016 w 8734227"/>
                <a:gd name="connsiteY190" fmla="*/ 1569006 h 1715383"/>
                <a:gd name="connsiteX191" fmla="*/ 5855455 w 8734227"/>
                <a:gd name="connsiteY191" fmla="*/ 1599445 h 1715383"/>
                <a:gd name="connsiteX192" fmla="*/ 5825016 w 8734227"/>
                <a:gd name="connsiteY192" fmla="*/ 1629884 h 1715383"/>
                <a:gd name="connsiteX193" fmla="*/ 5783509 w 8734227"/>
                <a:gd name="connsiteY193" fmla="*/ 1629884 h 1715383"/>
                <a:gd name="connsiteX194" fmla="*/ 5783509 w 8734227"/>
                <a:gd name="connsiteY194" fmla="*/ 1643718 h 1715383"/>
                <a:gd name="connsiteX195" fmla="*/ 5826777 w 8734227"/>
                <a:gd name="connsiteY195" fmla="*/ 1643718 h 1715383"/>
                <a:gd name="connsiteX196" fmla="*/ 5871050 w 8734227"/>
                <a:gd name="connsiteY196" fmla="*/ 1599445 h 1715383"/>
                <a:gd name="connsiteX197" fmla="*/ 5826777 w 8734227"/>
                <a:gd name="connsiteY197" fmla="*/ 1555170 h 1715383"/>
                <a:gd name="connsiteX198" fmla="*/ 5791982 w 8734227"/>
                <a:gd name="connsiteY198" fmla="*/ 1555170 h 1715383"/>
                <a:gd name="connsiteX199" fmla="*/ 5811394 w 8734227"/>
                <a:gd name="connsiteY199" fmla="*/ 1535759 h 1715383"/>
                <a:gd name="connsiteX200" fmla="*/ 5136541 w 8734227"/>
                <a:gd name="connsiteY200" fmla="*/ 1520601 h 1715383"/>
                <a:gd name="connsiteX201" fmla="*/ 5066061 w 8734227"/>
                <a:gd name="connsiteY201" fmla="*/ 1591081 h 1715383"/>
                <a:gd name="connsiteX202" fmla="*/ 5136541 w 8734227"/>
                <a:gd name="connsiteY202" fmla="*/ 1661562 h 1715383"/>
                <a:gd name="connsiteX203" fmla="*/ 5207022 w 8734227"/>
                <a:gd name="connsiteY203" fmla="*/ 1591081 h 1715383"/>
                <a:gd name="connsiteX204" fmla="*/ 5136541 w 8734227"/>
                <a:gd name="connsiteY204" fmla="*/ 1520601 h 1715383"/>
                <a:gd name="connsiteX205" fmla="*/ 2804155 w 8734227"/>
                <a:gd name="connsiteY205" fmla="*/ 1019973 h 1715383"/>
                <a:gd name="connsiteX206" fmla="*/ 3072374 w 8734227"/>
                <a:gd name="connsiteY206" fmla="*/ 1019973 h 1715383"/>
                <a:gd name="connsiteX207" fmla="*/ 3072771 w 8734227"/>
                <a:gd name="connsiteY207" fmla="*/ 1255954 h 1715383"/>
                <a:gd name="connsiteX208" fmla="*/ 2804155 w 8734227"/>
                <a:gd name="connsiteY208" fmla="*/ 1218873 h 1715383"/>
                <a:gd name="connsiteX209" fmla="*/ 2575684 w 8734227"/>
                <a:gd name="connsiteY209" fmla="*/ 1019973 h 1715383"/>
                <a:gd name="connsiteX210" fmla="*/ 2779051 w 8734227"/>
                <a:gd name="connsiteY210" fmla="*/ 1019973 h 1715383"/>
                <a:gd name="connsiteX211" fmla="*/ 2779051 w 8734227"/>
                <a:gd name="connsiteY211" fmla="*/ 1215407 h 1715383"/>
                <a:gd name="connsiteX212" fmla="*/ 2575706 w 8734227"/>
                <a:gd name="connsiteY212" fmla="*/ 1187336 h 1715383"/>
                <a:gd name="connsiteX213" fmla="*/ 2575684 w 8734227"/>
                <a:gd name="connsiteY213" fmla="*/ 1019973 h 1715383"/>
                <a:gd name="connsiteX214" fmla="*/ 1127626 w 8734227"/>
                <a:gd name="connsiteY214" fmla="*/ 1017379 h 1715383"/>
                <a:gd name="connsiteX215" fmla="*/ 1496190 w 8734227"/>
                <a:gd name="connsiteY215" fmla="*/ 1017379 h 1715383"/>
                <a:gd name="connsiteX216" fmla="*/ 1496735 w 8734227"/>
                <a:gd name="connsiteY216" fmla="*/ 1341644 h 1715383"/>
                <a:gd name="connsiteX217" fmla="*/ 1127626 w 8734227"/>
                <a:gd name="connsiteY217" fmla="*/ 1290690 h 1715383"/>
                <a:gd name="connsiteX218" fmla="*/ 813680 w 8734227"/>
                <a:gd name="connsiteY218" fmla="*/ 1017379 h 1715383"/>
                <a:gd name="connsiteX219" fmla="*/ 1093130 w 8734227"/>
                <a:gd name="connsiteY219" fmla="*/ 1017379 h 1715383"/>
                <a:gd name="connsiteX220" fmla="*/ 1093130 w 8734227"/>
                <a:gd name="connsiteY220" fmla="*/ 1285928 h 1715383"/>
                <a:gd name="connsiteX221" fmla="*/ 813711 w 8734227"/>
                <a:gd name="connsiteY221" fmla="*/ 1247355 h 1715383"/>
                <a:gd name="connsiteX222" fmla="*/ 813680 w 8734227"/>
                <a:gd name="connsiteY222" fmla="*/ 1017379 h 1715383"/>
                <a:gd name="connsiteX223" fmla="*/ 8200722 w 8734227"/>
                <a:gd name="connsiteY223" fmla="*/ 882974 h 1715383"/>
                <a:gd name="connsiteX224" fmla="*/ 8221059 w 8734227"/>
                <a:gd name="connsiteY224" fmla="*/ 882974 h 1715383"/>
                <a:gd name="connsiteX225" fmla="*/ 8511008 w 8734227"/>
                <a:gd name="connsiteY225" fmla="*/ 882974 h 1715383"/>
                <a:gd name="connsiteX226" fmla="*/ 8531346 w 8734227"/>
                <a:gd name="connsiteY226" fmla="*/ 882974 h 1715383"/>
                <a:gd name="connsiteX227" fmla="*/ 8531346 w 8734227"/>
                <a:gd name="connsiteY227" fmla="*/ 1018677 h 1715383"/>
                <a:gd name="connsiteX228" fmla="*/ 8530729 w 8734227"/>
                <a:gd name="connsiteY228" fmla="*/ 1018677 h 1715383"/>
                <a:gd name="connsiteX229" fmla="*/ 8530729 w 8734227"/>
                <a:gd name="connsiteY229" fmla="*/ 1161453 h 1715383"/>
                <a:gd name="connsiteX230" fmla="*/ 8529496 w 8734227"/>
                <a:gd name="connsiteY230" fmla="*/ 1167628 h 1715383"/>
                <a:gd name="connsiteX231" fmla="*/ 8527031 w 8734227"/>
                <a:gd name="connsiteY231" fmla="*/ 1173185 h 1715383"/>
                <a:gd name="connsiteX232" fmla="*/ 8522717 w 8734227"/>
                <a:gd name="connsiteY232" fmla="*/ 1177508 h 1715383"/>
                <a:gd name="connsiteX233" fmla="*/ 8517171 w 8734227"/>
                <a:gd name="connsiteY233" fmla="*/ 1180286 h 1715383"/>
                <a:gd name="connsiteX234" fmla="*/ 8511008 w 8734227"/>
                <a:gd name="connsiteY234" fmla="*/ 1181521 h 1715383"/>
                <a:gd name="connsiteX235" fmla="*/ 8468428 w 8734227"/>
                <a:gd name="connsiteY235" fmla="*/ 1181521 h 1715383"/>
                <a:gd name="connsiteX236" fmla="*/ 8468428 w 8734227"/>
                <a:gd name="connsiteY236" fmla="*/ 1268851 h 1715383"/>
                <a:gd name="connsiteX237" fmla="*/ 8467189 w 8734227"/>
                <a:gd name="connsiteY237" fmla="*/ 1277782 h 1715383"/>
                <a:gd name="connsiteX238" fmla="*/ 8463782 w 8734227"/>
                <a:gd name="connsiteY238" fmla="*/ 1286098 h 1715383"/>
                <a:gd name="connsiteX239" fmla="*/ 8458516 w 8734227"/>
                <a:gd name="connsiteY239" fmla="*/ 1293182 h 1715383"/>
                <a:gd name="connsiteX240" fmla="*/ 8451391 w 8734227"/>
                <a:gd name="connsiteY240" fmla="*/ 1299034 h 1715383"/>
                <a:gd name="connsiteX241" fmla="*/ 8443027 w 8734227"/>
                <a:gd name="connsiteY241" fmla="*/ 1302422 h 1715383"/>
                <a:gd name="connsiteX242" fmla="*/ 8433424 w 8734227"/>
                <a:gd name="connsiteY242" fmla="*/ 1303654 h 1715383"/>
                <a:gd name="connsiteX243" fmla="*/ 8424131 w 8734227"/>
                <a:gd name="connsiteY243" fmla="*/ 1302422 h 1715383"/>
                <a:gd name="connsiteX244" fmla="*/ 8415767 w 8734227"/>
                <a:gd name="connsiteY244" fmla="*/ 1299034 h 1715383"/>
                <a:gd name="connsiteX245" fmla="*/ 8408642 w 8734227"/>
                <a:gd name="connsiteY245" fmla="*/ 1293182 h 1715383"/>
                <a:gd name="connsiteX246" fmla="*/ 8403066 w 8734227"/>
                <a:gd name="connsiteY246" fmla="*/ 1286098 h 1715383"/>
                <a:gd name="connsiteX247" fmla="*/ 8399349 w 8734227"/>
                <a:gd name="connsiteY247" fmla="*/ 1277782 h 1715383"/>
                <a:gd name="connsiteX248" fmla="*/ 8398109 w 8734227"/>
                <a:gd name="connsiteY248" fmla="*/ 1268851 h 1715383"/>
                <a:gd name="connsiteX249" fmla="*/ 8398109 w 8734227"/>
                <a:gd name="connsiteY249" fmla="*/ 1181521 h 1715383"/>
                <a:gd name="connsiteX250" fmla="*/ 8332725 w 8734227"/>
                <a:gd name="connsiteY250" fmla="*/ 1181521 h 1715383"/>
                <a:gd name="connsiteX251" fmla="*/ 8332725 w 8734227"/>
                <a:gd name="connsiteY251" fmla="*/ 1268851 h 1715383"/>
                <a:gd name="connsiteX252" fmla="*/ 8331196 w 8734227"/>
                <a:gd name="connsiteY252" fmla="*/ 1277782 h 1715383"/>
                <a:gd name="connsiteX253" fmla="*/ 8328139 w 8734227"/>
                <a:gd name="connsiteY253" fmla="*/ 1286098 h 1715383"/>
                <a:gd name="connsiteX254" fmla="*/ 8322636 w 8734227"/>
                <a:gd name="connsiteY254" fmla="*/ 1293182 h 1715383"/>
                <a:gd name="connsiteX255" fmla="*/ 8315605 w 8734227"/>
                <a:gd name="connsiteY255" fmla="*/ 1299034 h 1715383"/>
                <a:gd name="connsiteX256" fmla="*/ 8307351 w 8734227"/>
                <a:gd name="connsiteY256" fmla="*/ 1302422 h 1715383"/>
                <a:gd name="connsiteX257" fmla="*/ 8297874 w 8734227"/>
                <a:gd name="connsiteY257" fmla="*/ 1303654 h 1715383"/>
                <a:gd name="connsiteX258" fmla="*/ 8288702 w 8734227"/>
                <a:gd name="connsiteY258" fmla="*/ 1302422 h 1715383"/>
                <a:gd name="connsiteX259" fmla="*/ 8280448 w 8734227"/>
                <a:gd name="connsiteY259" fmla="*/ 1299034 h 1715383"/>
                <a:gd name="connsiteX260" fmla="*/ 8273417 w 8734227"/>
                <a:gd name="connsiteY260" fmla="*/ 1293182 h 1715383"/>
                <a:gd name="connsiteX261" fmla="*/ 8267914 w 8734227"/>
                <a:gd name="connsiteY261" fmla="*/ 1286098 h 1715383"/>
                <a:gd name="connsiteX262" fmla="*/ 8264245 w 8734227"/>
                <a:gd name="connsiteY262" fmla="*/ 1277782 h 1715383"/>
                <a:gd name="connsiteX263" fmla="*/ 8263023 w 8734227"/>
                <a:gd name="connsiteY263" fmla="*/ 1268851 h 1715383"/>
                <a:gd name="connsiteX264" fmla="*/ 8263023 w 8734227"/>
                <a:gd name="connsiteY264" fmla="*/ 1181521 h 1715383"/>
                <a:gd name="connsiteX265" fmla="*/ 8221059 w 8734227"/>
                <a:gd name="connsiteY265" fmla="*/ 1181521 h 1715383"/>
                <a:gd name="connsiteX266" fmla="*/ 8214589 w 8734227"/>
                <a:gd name="connsiteY266" fmla="*/ 1180286 h 1715383"/>
                <a:gd name="connsiteX267" fmla="*/ 8209350 w 8734227"/>
                <a:gd name="connsiteY267" fmla="*/ 1177508 h 1715383"/>
                <a:gd name="connsiteX268" fmla="*/ 8205037 w 8734227"/>
                <a:gd name="connsiteY268" fmla="*/ 1173185 h 1715383"/>
                <a:gd name="connsiteX269" fmla="*/ 8202263 w 8734227"/>
                <a:gd name="connsiteY269" fmla="*/ 1167628 h 1715383"/>
                <a:gd name="connsiteX270" fmla="*/ 8201339 w 8734227"/>
                <a:gd name="connsiteY270" fmla="*/ 1161453 h 1715383"/>
                <a:gd name="connsiteX271" fmla="*/ 8201339 w 8734227"/>
                <a:gd name="connsiteY271" fmla="*/ 1018677 h 1715383"/>
                <a:gd name="connsiteX272" fmla="*/ 8200722 w 8734227"/>
                <a:gd name="connsiteY272" fmla="*/ 1018677 h 1715383"/>
                <a:gd name="connsiteX273" fmla="*/ 5227484 w 8734227"/>
                <a:gd name="connsiteY273" fmla="*/ 878578 h 1715383"/>
                <a:gd name="connsiteX274" fmla="*/ 5323885 w 8734227"/>
                <a:gd name="connsiteY274" fmla="*/ 928253 h 1715383"/>
                <a:gd name="connsiteX275" fmla="*/ 5270531 w 8734227"/>
                <a:gd name="connsiteY275" fmla="*/ 1022696 h 1715383"/>
                <a:gd name="connsiteX276" fmla="*/ 5337223 w 8734227"/>
                <a:gd name="connsiteY276" fmla="*/ 1123886 h 1715383"/>
                <a:gd name="connsiteX277" fmla="*/ 5228091 w 8734227"/>
                <a:gd name="connsiteY277" fmla="*/ 1255739 h 1715383"/>
                <a:gd name="connsiteX278" fmla="*/ 5146848 w 8734227"/>
                <a:gd name="connsiteY278" fmla="*/ 1236114 h 1715383"/>
                <a:gd name="connsiteX279" fmla="*/ 5064998 w 8734227"/>
                <a:gd name="connsiteY279" fmla="*/ 1256965 h 1715383"/>
                <a:gd name="connsiteX280" fmla="*/ 4935858 w 8734227"/>
                <a:gd name="connsiteY280" fmla="*/ 1031282 h 1715383"/>
                <a:gd name="connsiteX281" fmla="*/ 5054085 w 8734227"/>
                <a:gd name="connsiteY281" fmla="*/ 879805 h 1715383"/>
                <a:gd name="connsiteX282" fmla="*/ 5140179 w 8734227"/>
                <a:gd name="connsiteY282" fmla="*/ 901882 h 1715383"/>
                <a:gd name="connsiteX283" fmla="*/ 5227484 w 8734227"/>
                <a:gd name="connsiteY283" fmla="*/ 878578 h 1715383"/>
                <a:gd name="connsiteX284" fmla="*/ 8583622 w 8734227"/>
                <a:gd name="connsiteY284" fmla="*/ 871871 h 1715383"/>
                <a:gd name="connsiteX285" fmla="*/ 8592915 w 8734227"/>
                <a:gd name="connsiteY285" fmla="*/ 873105 h 1715383"/>
                <a:gd name="connsiteX286" fmla="*/ 8601898 w 8734227"/>
                <a:gd name="connsiteY286" fmla="*/ 876806 h 1715383"/>
                <a:gd name="connsiteX287" fmla="*/ 8609023 w 8734227"/>
                <a:gd name="connsiteY287" fmla="*/ 882357 h 1715383"/>
                <a:gd name="connsiteX288" fmla="*/ 8614289 w 8734227"/>
                <a:gd name="connsiteY288" fmla="*/ 889451 h 1715383"/>
                <a:gd name="connsiteX289" fmla="*/ 8617697 w 8734227"/>
                <a:gd name="connsiteY289" fmla="*/ 897778 h 1715383"/>
                <a:gd name="connsiteX290" fmla="*/ 8618936 w 8734227"/>
                <a:gd name="connsiteY290" fmla="*/ 907339 h 1715383"/>
                <a:gd name="connsiteX291" fmla="*/ 8618936 w 8734227"/>
                <a:gd name="connsiteY291" fmla="*/ 1064631 h 1715383"/>
                <a:gd name="connsiteX292" fmla="*/ 8617697 w 8734227"/>
                <a:gd name="connsiteY292" fmla="*/ 1073884 h 1715383"/>
                <a:gd name="connsiteX293" fmla="*/ 8614289 w 8734227"/>
                <a:gd name="connsiteY293" fmla="*/ 1082520 h 1715383"/>
                <a:gd name="connsiteX294" fmla="*/ 8609023 w 8734227"/>
                <a:gd name="connsiteY294" fmla="*/ 1089613 h 1715383"/>
                <a:gd name="connsiteX295" fmla="*/ 8601898 w 8734227"/>
                <a:gd name="connsiteY295" fmla="*/ 1095165 h 1715383"/>
                <a:gd name="connsiteX296" fmla="*/ 8592915 w 8734227"/>
                <a:gd name="connsiteY296" fmla="*/ 1098249 h 1715383"/>
                <a:gd name="connsiteX297" fmla="*/ 8583622 w 8734227"/>
                <a:gd name="connsiteY297" fmla="*/ 1099482 h 1715383"/>
                <a:gd name="connsiteX298" fmla="*/ 8574638 w 8734227"/>
                <a:gd name="connsiteY298" fmla="*/ 1098249 h 1715383"/>
                <a:gd name="connsiteX299" fmla="*/ 8566274 w 8734227"/>
                <a:gd name="connsiteY299" fmla="*/ 1095165 h 1715383"/>
                <a:gd name="connsiteX300" fmla="*/ 8559149 w 8734227"/>
                <a:gd name="connsiteY300" fmla="*/ 1089613 h 1715383"/>
                <a:gd name="connsiteX301" fmla="*/ 8553264 w 8734227"/>
                <a:gd name="connsiteY301" fmla="*/ 1082520 h 1715383"/>
                <a:gd name="connsiteX302" fmla="*/ 8549856 w 8734227"/>
                <a:gd name="connsiteY302" fmla="*/ 1073884 h 1715383"/>
                <a:gd name="connsiteX303" fmla="*/ 8548617 w 8734227"/>
                <a:gd name="connsiteY303" fmla="*/ 1064631 h 1715383"/>
                <a:gd name="connsiteX304" fmla="*/ 8548617 w 8734227"/>
                <a:gd name="connsiteY304" fmla="*/ 907339 h 1715383"/>
                <a:gd name="connsiteX305" fmla="*/ 8549856 w 8734227"/>
                <a:gd name="connsiteY305" fmla="*/ 897778 h 1715383"/>
                <a:gd name="connsiteX306" fmla="*/ 8553264 w 8734227"/>
                <a:gd name="connsiteY306" fmla="*/ 889451 h 1715383"/>
                <a:gd name="connsiteX307" fmla="*/ 8559149 w 8734227"/>
                <a:gd name="connsiteY307" fmla="*/ 882357 h 1715383"/>
                <a:gd name="connsiteX308" fmla="*/ 8566274 w 8734227"/>
                <a:gd name="connsiteY308" fmla="*/ 876806 h 1715383"/>
                <a:gd name="connsiteX309" fmla="*/ 8574638 w 8734227"/>
                <a:gd name="connsiteY309" fmla="*/ 873105 h 1715383"/>
                <a:gd name="connsiteX310" fmla="*/ 8147521 w 8734227"/>
                <a:gd name="connsiteY310" fmla="*/ 871871 h 1715383"/>
                <a:gd name="connsiteX311" fmla="*/ 8157040 w 8734227"/>
                <a:gd name="connsiteY311" fmla="*/ 873105 h 1715383"/>
                <a:gd name="connsiteX312" fmla="*/ 8165331 w 8734227"/>
                <a:gd name="connsiteY312" fmla="*/ 876806 h 1715383"/>
                <a:gd name="connsiteX313" fmla="*/ 8172394 w 8734227"/>
                <a:gd name="connsiteY313" fmla="*/ 882357 h 1715383"/>
                <a:gd name="connsiteX314" fmla="*/ 8177921 w 8734227"/>
                <a:gd name="connsiteY314" fmla="*/ 889451 h 1715383"/>
                <a:gd name="connsiteX315" fmla="*/ 8181606 w 8734227"/>
                <a:gd name="connsiteY315" fmla="*/ 897778 h 1715383"/>
                <a:gd name="connsiteX316" fmla="*/ 8182834 w 8734227"/>
                <a:gd name="connsiteY316" fmla="*/ 907339 h 1715383"/>
                <a:gd name="connsiteX317" fmla="*/ 8182834 w 8734227"/>
                <a:gd name="connsiteY317" fmla="*/ 1064631 h 1715383"/>
                <a:gd name="connsiteX318" fmla="*/ 8181606 w 8734227"/>
                <a:gd name="connsiteY318" fmla="*/ 1073884 h 1715383"/>
                <a:gd name="connsiteX319" fmla="*/ 8177921 w 8734227"/>
                <a:gd name="connsiteY319" fmla="*/ 1082520 h 1715383"/>
                <a:gd name="connsiteX320" fmla="*/ 8172394 w 8734227"/>
                <a:gd name="connsiteY320" fmla="*/ 1089613 h 1715383"/>
                <a:gd name="connsiteX321" fmla="*/ 8165331 w 8734227"/>
                <a:gd name="connsiteY321" fmla="*/ 1095165 h 1715383"/>
                <a:gd name="connsiteX322" fmla="*/ 8157040 w 8734227"/>
                <a:gd name="connsiteY322" fmla="*/ 1098249 h 1715383"/>
                <a:gd name="connsiteX323" fmla="*/ 8147521 w 8734227"/>
                <a:gd name="connsiteY323" fmla="*/ 1099482 h 1715383"/>
                <a:gd name="connsiteX324" fmla="*/ 8138309 w 8734227"/>
                <a:gd name="connsiteY324" fmla="*/ 1098249 h 1715383"/>
                <a:gd name="connsiteX325" fmla="*/ 8130018 w 8734227"/>
                <a:gd name="connsiteY325" fmla="*/ 1095165 h 1715383"/>
                <a:gd name="connsiteX326" fmla="*/ 8122956 w 8734227"/>
                <a:gd name="connsiteY326" fmla="*/ 1089613 h 1715383"/>
                <a:gd name="connsiteX327" fmla="*/ 8117428 w 8734227"/>
                <a:gd name="connsiteY327" fmla="*/ 1082520 h 1715383"/>
                <a:gd name="connsiteX328" fmla="*/ 8113743 w 8734227"/>
                <a:gd name="connsiteY328" fmla="*/ 1073884 h 1715383"/>
                <a:gd name="connsiteX329" fmla="*/ 8112515 w 8734227"/>
                <a:gd name="connsiteY329" fmla="*/ 1064631 h 1715383"/>
                <a:gd name="connsiteX330" fmla="*/ 8112515 w 8734227"/>
                <a:gd name="connsiteY330" fmla="*/ 907339 h 1715383"/>
                <a:gd name="connsiteX331" fmla="*/ 8113743 w 8734227"/>
                <a:gd name="connsiteY331" fmla="*/ 897778 h 1715383"/>
                <a:gd name="connsiteX332" fmla="*/ 8117428 w 8734227"/>
                <a:gd name="connsiteY332" fmla="*/ 889451 h 1715383"/>
                <a:gd name="connsiteX333" fmla="*/ 8122956 w 8734227"/>
                <a:gd name="connsiteY333" fmla="*/ 882357 h 1715383"/>
                <a:gd name="connsiteX334" fmla="*/ 8130018 w 8734227"/>
                <a:gd name="connsiteY334" fmla="*/ 876806 h 1715383"/>
                <a:gd name="connsiteX335" fmla="*/ 8138309 w 8734227"/>
                <a:gd name="connsiteY335" fmla="*/ 873105 h 1715383"/>
                <a:gd name="connsiteX336" fmla="*/ 2779051 w 8734227"/>
                <a:gd name="connsiteY336" fmla="*/ 799046 h 1715383"/>
                <a:gd name="connsiteX337" fmla="*/ 2779051 w 8734227"/>
                <a:gd name="connsiteY337" fmla="*/ 994869 h 1715383"/>
                <a:gd name="connsiteX338" fmla="*/ 2575728 w 8734227"/>
                <a:gd name="connsiteY338" fmla="*/ 994869 h 1715383"/>
                <a:gd name="connsiteX339" fmla="*/ 2575706 w 8734227"/>
                <a:gd name="connsiteY339" fmla="*/ 827507 h 1715383"/>
                <a:gd name="connsiteX340" fmla="*/ 6545761 w 8734227"/>
                <a:gd name="connsiteY340" fmla="*/ 779646 h 1715383"/>
                <a:gd name="connsiteX341" fmla="*/ 6571241 w 8734227"/>
                <a:gd name="connsiteY341" fmla="*/ 779646 h 1715383"/>
                <a:gd name="connsiteX342" fmla="*/ 6934512 w 8734227"/>
                <a:gd name="connsiteY342" fmla="*/ 779646 h 1715383"/>
                <a:gd name="connsiteX343" fmla="*/ 6959993 w 8734227"/>
                <a:gd name="connsiteY343" fmla="*/ 779646 h 1715383"/>
                <a:gd name="connsiteX344" fmla="*/ 6959993 w 8734227"/>
                <a:gd name="connsiteY344" fmla="*/ 949666 h 1715383"/>
                <a:gd name="connsiteX345" fmla="*/ 6959220 w 8734227"/>
                <a:gd name="connsiteY345" fmla="*/ 949666 h 1715383"/>
                <a:gd name="connsiteX346" fmla="*/ 6959220 w 8734227"/>
                <a:gd name="connsiteY346" fmla="*/ 1128547 h 1715383"/>
                <a:gd name="connsiteX347" fmla="*/ 6957675 w 8734227"/>
                <a:gd name="connsiteY347" fmla="*/ 1136283 h 1715383"/>
                <a:gd name="connsiteX348" fmla="*/ 6954587 w 8734227"/>
                <a:gd name="connsiteY348" fmla="*/ 1143246 h 1715383"/>
                <a:gd name="connsiteX349" fmla="*/ 6949182 w 8734227"/>
                <a:gd name="connsiteY349" fmla="*/ 1148661 h 1715383"/>
                <a:gd name="connsiteX350" fmla="*/ 6942234 w 8734227"/>
                <a:gd name="connsiteY350" fmla="*/ 1152143 h 1715383"/>
                <a:gd name="connsiteX351" fmla="*/ 6934512 w 8734227"/>
                <a:gd name="connsiteY351" fmla="*/ 1153690 h 1715383"/>
                <a:gd name="connsiteX352" fmla="*/ 6881165 w 8734227"/>
                <a:gd name="connsiteY352" fmla="*/ 1153690 h 1715383"/>
                <a:gd name="connsiteX353" fmla="*/ 6881165 w 8734227"/>
                <a:gd name="connsiteY353" fmla="*/ 1263103 h 1715383"/>
                <a:gd name="connsiteX354" fmla="*/ 6879613 w 8734227"/>
                <a:gd name="connsiteY354" fmla="*/ 1274294 h 1715383"/>
                <a:gd name="connsiteX355" fmla="*/ 6875343 w 8734227"/>
                <a:gd name="connsiteY355" fmla="*/ 1284713 h 1715383"/>
                <a:gd name="connsiteX356" fmla="*/ 6868745 w 8734227"/>
                <a:gd name="connsiteY356" fmla="*/ 1293588 h 1715383"/>
                <a:gd name="connsiteX357" fmla="*/ 6859819 w 8734227"/>
                <a:gd name="connsiteY357" fmla="*/ 1300920 h 1715383"/>
                <a:gd name="connsiteX358" fmla="*/ 6849340 w 8734227"/>
                <a:gd name="connsiteY358" fmla="*/ 1305165 h 1715383"/>
                <a:gd name="connsiteX359" fmla="*/ 6837308 w 8734227"/>
                <a:gd name="connsiteY359" fmla="*/ 1306708 h 1715383"/>
                <a:gd name="connsiteX360" fmla="*/ 6825665 w 8734227"/>
                <a:gd name="connsiteY360" fmla="*/ 1305165 h 1715383"/>
                <a:gd name="connsiteX361" fmla="*/ 6815186 w 8734227"/>
                <a:gd name="connsiteY361" fmla="*/ 1300920 h 1715383"/>
                <a:gd name="connsiteX362" fmla="*/ 6806259 w 8734227"/>
                <a:gd name="connsiteY362" fmla="*/ 1293588 h 1715383"/>
                <a:gd name="connsiteX363" fmla="*/ 6799273 w 8734227"/>
                <a:gd name="connsiteY363" fmla="*/ 1284713 h 1715383"/>
                <a:gd name="connsiteX364" fmla="*/ 6794616 w 8734227"/>
                <a:gd name="connsiteY364" fmla="*/ 1274294 h 1715383"/>
                <a:gd name="connsiteX365" fmla="*/ 6793064 w 8734227"/>
                <a:gd name="connsiteY365" fmla="*/ 1263103 h 1715383"/>
                <a:gd name="connsiteX366" fmla="*/ 6793064 w 8734227"/>
                <a:gd name="connsiteY366" fmla="*/ 1153690 h 1715383"/>
                <a:gd name="connsiteX367" fmla="*/ 6711145 w 8734227"/>
                <a:gd name="connsiteY367" fmla="*/ 1153690 h 1715383"/>
                <a:gd name="connsiteX368" fmla="*/ 6711145 w 8734227"/>
                <a:gd name="connsiteY368" fmla="*/ 1263103 h 1715383"/>
                <a:gd name="connsiteX369" fmla="*/ 6709230 w 8734227"/>
                <a:gd name="connsiteY369" fmla="*/ 1274294 h 1715383"/>
                <a:gd name="connsiteX370" fmla="*/ 6705399 w 8734227"/>
                <a:gd name="connsiteY370" fmla="*/ 1284713 h 1715383"/>
                <a:gd name="connsiteX371" fmla="*/ 6698505 w 8734227"/>
                <a:gd name="connsiteY371" fmla="*/ 1293588 h 1715383"/>
                <a:gd name="connsiteX372" fmla="*/ 6689696 w 8734227"/>
                <a:gd name="connsiteY372" fmla="*/ 1300920 h 1715383"/>
                <a:gd name="connsiteX373" fmla="*/ 6679354 w 8734227"/>
                <a:gd name="connsiteY373" fmla="*/ 1305165 h 1715383"/>
                <a:gd name="connsiteX374" fmla="*/ 6667480 w 8734227"/>
                <a:gd name="connsiteY374" fmla="*/ 1306708 h 1715383"/>
                <a:gd name="connsiteX375" fmla="*/ 6655990 w 8734227"/>
                <a:gd name="connsiteY375" fmla="*/ 1305165 h 1715383"/>
                <a:gd name="connsiteX376" fmla="*/ 6645648 w 8734227"/>
                <a:gd name="connsiteY376" fmla="*/ 1300920 h 1715383"/>
                <a:gd name="connsiteX377" fmla="*/ 6636839 w 8734227"/>
                <a:gd name="connsiteY377" fmla="*/ 1293588 h 1715383"/>
                <a:gd name="connsiteX378" fmla="*/ 6629944 w 8734227"/>
                <a:gd name="connsiteY378" fmla="*/ 1284713 h 1715383"/>
                <a:gd name="connsiteX379" fmla="*/ 6625348 w 8734227"/>
                <a:gd name="connsiteY379" fmla="*/ 1274294 h 1715383"/>
                <a:gd name="connsiteX380" fmla="*/ 6623816 w 8734227"/>
                <a:gd name="connsiteY380" fmla="*/ 1263103 h 1715383"/>
                <a:gd name="connsiteX381" fmla="*/ 6623816 w 8734227"/>
                <a:gd name="connsiteY381" fmla="*/ 1153690 h 1715383"/>
                <a:gd name="connsiteX382" fmla="*/ 6571241 w 8734227"/>
                <a:gd name="connsiteY382" fmla="*/ 1153690 h 1715383"/>
                <a:gd name="connsiteX383" fmla="*/ 6563134 w 8734227"/>
                <a:gd name="connsiteY383" fmla="*/ 1152143 h 1715383"/>
                <a:gd name="connsiteX384" fmla="*/ 6556571 w 8734227"/>
                <a:gd name="connsiteY384" fmla="*/ 1148661 h 1715383"/>
                <a:gd name="connsiteX385" fmla="*/ 6551167 w 8734227"/>
                <a:gd name="connsiteY385" fmla="*/ 1143246 h 1715383"/>
                <a:gd name="connsiteX386" fmla="*/ 6547692 w 8734227"/>
                <a:gd name="connsiteY386" fmla="*/ 1136283 h 1715383"/>
                <a:gd name="connsiteX387" fmla="*/ 6546534 w 8734227"/>
                <a:gd name="connsiteY387" fmla="*/ 1128547 h 1715383"/>
                <a:gd name="connsiteX388" fmla="*/ 6546534 w 8734227"/>
                <a:gd name="connsiteY388" fmla="*/ 949666 h 1715383"/>
                <a:gd name="connsiteX389" fmla="*/ 6545761 w 8734227"/>
                <a:gd name="connsiteY389" fmla="*/ 949666 h 1715383"/>
                <a:gd name="connsiteX390" fmla="*/ 8437587 w 8734227"/>
                <a:gd name="connsiteY390" fmla="*/ 772562 h 1715383"/>
                <a:gd name="connsiteX391" fmla="*/ 8431419 w 8734227"/>
                <a:gd name="connsiteY391" fmla="*/ 774092 h 1715383"/>
                <a:gd name="connsiteX392" fmla="*/ 8425867 w 8734227"/>
                <a:gd name="connsiteY392" fmla="*/ 776846 h 1715383"/>
                <a:gd name="connsiteX393" fmla="*/ 8421858 w 8734227"/>
                <a:gd name="connsiteY393" fmla="*/ 780824 h 1715383"/>
                <a:gd name="connsiteX394" fmla="*/ 8418774 w 8734227"/>
                <a:gd name="connsiteY394" fmla="*/ 786333 h 1715383"/>
                <a:gd name="connsiteX395" fmla="*/ 8417848 w 8734227"/>
                <a:gd name="connsiteY395" fmla="*/ 792453 h 1715383"/>
                <a:gd name="connsiteX396" fmla="*/ 8418774 w 8734227"/>
                <a:gd name="connsiteY396" fmla="*/ 798880 h 1715383"/>
                <a:gd name="connsiteX397" fmla="*/ 8421858 w 8734227"/>
                <a:gd name="connsiteY397" fmla="*/ 804083 h 1715383"/>
                <a:gd name="connsiteX398" fmla="*/ 8425867 w 8734227"/>
                <a:gd name="connsiteY398" fmla="*/ 808367 h 1715383"/>
                <a:gd name="connsiteX399" fmla="*/ 8431419 w 8734227"/>
                <a:gd name="connsiteY399" fmla="*/ 811121 h 1715383"/>
                <a:gd name="connsiteX400" fmla="*/ 8437587 w 8734227"/>
                <a:gd name="connsiteY400" fmla="*/ 812039 h 1715383"/>
                <a:gd name="connsiteX401" fmla="*/ 8443755 w 8734227"/>
                <a:gd name="connsiteY401" fmla="*/ 811121 h 1715383"/>
                <a:gd name="connsiteX402" fmla="*/ 8449307 w 8734227"/>
                <a:gd name="connsiteY402" fmla="*/ 808367 h 1715383"/>
                <a:gd name="connsiteX403" fmla="*/ 8453316 w 8734227"/>
                <a:gd name="connsiteY403" fmla="*/ 804083 h 1715383"/>
                <a:gd name="connsiteX404" fmla="*/ 8456401 w 8734227"/>
                <a:gd name="connsiteY404" fmla="*/ 798880 h 1715383"/>
                <a:gd name="connsiteX405" fmla="*/ 8457326 w 8734227"/>
                <a:gd name="connsiteY405" fmla="*/ 792453 h 1715383"/>
                <a:gd name="connsiteX406" fmla="*/ 8456401 w 8734227"/>
                <a:gd name="connsiteY406" fmla="*/ 786333 h 1715383"/>
                <a:gd name="connsiteX407" fmla="*/ 8453316 w 8734227"/>
                <a:gd name="connsiteY407" fmla="*/ 780824 h 1715383"/>
                <a:gd name="connsiteX408" fmla="*/ 8449307 w 8734227"/>
                <a:gd name="connsiteY408" fmla="*/ 776846 h 1715383"/>
                <a:gd name="connsiteX409" fmla="*/ 8443755 w 8734227"/>
                <a:gd name="connsiteY409" fmla="*/ 774092 h 1715383"/>
                <a:gd name="connsiteX410" fmla="*/ 8293556 w 8734227"/>
                <a:gd name="connsiteY410" fmla="*/ 772562 h 1715383"/>
                <a:gd name="connsiteX411" fmla="*/ 8287388 w 8734227"/>
                <a:gd name="connsiteY411" fmla="*/ 774092 h 1715383"/>
                <a:gd name="connsiteX412" fmla="*/ 8281836 w 8734227"/>
                <a:gd name="connsiteY412" fmla="*/ 776846 h 1715383"/>
                <a:gd name="connsiteX413" fmla="*/ 8277827 w 8734227"/>
                <a:gd name="connsiteY413" fmla="*/ 780824 h 1715383"/>
                <a:gd name="connsiteX414" fmla="*/ 8275360 w 8734227"/>
                <a:gd name="connsiteY414" fmla="*/ 786333 h 1715383"/>
                <a:gd name="connsiteX415" fmla="*/ 8274126 w 8734227"/>
                <a:gd name="connsiteY415" fmla="*/ 792453 h 1715383"/>
                <a:gd name="connsiteX416" fmla="*/ 8275360 w 8734227"/>
                <a:gd name="connsiteY416" fmla="*/ 798880 h 1715383"/>
                <a:gd name="connsiteX417" fmla="*/ 8277827 w 8734227"/>
                <a:gd name="connsiteY417" fmla="*/ 804083 h 1715383"/>
                <a:gd name="connsiteX418" fmla="*/ 8281836 w 8734227"/>
                <a:gd name="connsiteY418" fmla="*/ 808367 h 1715383"/>
                <a:gd name="connsiteX419" fmla="*/ 8287388 w 8734227"/>
                <a:gd name="connsiteY419" fmla="*/ 811121 h 1715383"/>
                <a:gd name="connsiteX420" fmla="*/ 8293556 w 8734227"/>
                <a:gd name="connsiteY420" fmla="*/ 812039 h 1715383"/>
                <a:gd name="connsiteX421" fmla="*/ 8300033 w 8734227"/>
                <a:gd name="connsiteY421" fmla="*/ 811121 h 1715383"/>
                <a:gd name="connsiteX422" fmla="*/ 8305276 w 8734227"/>
                <a:gd name="connsiteY422" fmla="*/ 808367 h 1715383"/>
                <a:gd name="connsiteX423" fmla="*/ 8309902 w 8734227"/>
                <a:gd name="connsiteY423" fmla="*/ 804083 h 1715383"/>
                <a:gd name="connsiteX424" fmla="*/ 8312370 w 8734227"/>
                <a:gd name="connsiteY424" fmla="*/ 798880 h 1715383"/>
                <a:gd name="connsiteX425" fmla="*/ 8313603 w 8734227"/>
                <a:gd name="connsiteY425" fmla="*/ 792453 h 1715383"/>
                <a:gd name="connsiteX426" fmla="*/ 8312370 w 8734227"/>
                <a:gd name="connsiteY426" fmla="*/ 786333 h 1715383"/>
                <a:gd name="connsiteX427" fmla="*/ 8309902 w 8734227"/>
                <a:gd name="connsiteY427" fmla="*/ 780824 h 1715383"/>
                <a:gd name="connsiteX428" fmla="*/ 8305276 w 8734227"/>
                <a:gd name="connsiteY428" fmla="*/ 776846 h 1715383"/>
                <a:gd name="connsiteX429" fmla="*/ 8300033 w 8734227"/>
                <a:gd name="connsiteY429" fmla="*/ 774092 h 1715383"/>
                <a:gd name="connsiteX430" fmla="*/ 7025488 w 8734227"/>
                <a:gd name="connsiteY430" fmla="*/ 765735 h 1715383"/>
                <a:gd name="connsiteX431" fmla="*/ 7037131 w 8734227"/>
                <a:gd name="connsiteY431" fmla="*/ 767281 h 1715383"/>
                <a:gd name="connsiteX432" fmla="*/ 7048387 w 8734227"/>
                <a:gd name="connsiteY432" fmla="*/ 771918 h 1715383"/>
                <a:gd name="connsiteX433" fmla="*/ 7057313 w 8734227"/>
                <a:gd name="connsiteY433" fmla="*/ 778873 h 1715383"/>
                <a:gd name="connsiteX434" fmla="*/ 7063911 w 8734227"/>
                <a:gd name="connsiteY434" fmla="*/ 787761 h 1715383"/>
                <a:gd name="connsiteX435" fmla="*/ 7068181 w 8734227"/>
                <a:gd name="connsiteY435" fmla="*/ 798193 h 1715383"/>
                <a:gd name="connsiteX436" fmla="*/ 7069733 w 8734227"/>
                <a:gd name="connsiteY436" fmla="*/ 810172 h 1715383"/>
                <a:gd name="connsiteX437" fmla="*/ 7069733 w 8734227"/>
                <a:gd name="connsiteY437" fmla="*/ 1007241 h 1715383"/>
                <a:gd name="connsiteX438" fmla="*/ 7068181 w 8734227"/>
                <a:gd name="connsiteY438" fmla="*/ 1018833 h 1715383"/>
                <a:gd name="connsiteX439" fmla="*/ 7063911 w 8734227"/>
                <a:gd name="connsiteY439" fmla="*/ 1029653 h 1715383"/>
                <a:gd name="connsiteX440" fmla="*/ 7057313 w 8734227"/>
                <a:gd name="connsiteY440" fmla="*/ 1038540 h 1715383"/>
                <a:gd name="connsiteX441" fmla="*/ 7048387 w 8734227"/>
                <a:gd name="connsiteY441" fmla="*/ 1045496 h 1715383"/>
                <a:gd name="connsiteX442" fmla="*/ 7037131 w 8734227"/>
                <a:gd name="connsiteY442" fmla="*/ 1049360 h 1715383"/>
                <a:gd name="connsiteX443" fmla="*/ 7025488 w 8734227"/>
                <a:gd name="connsiteY443" fmla="*/ 1050905 h 1715383"/>
                <a:gd name="connsiteX444" fmla="*/ 7014233 w 8734227"/>
                <a:gd name="connsiteY444" fmla="*/ 1049360 h 1715383"/>
                <a:gd name="connsiteX445" fmla="*/ 7003754 w 8734227"/>
                <a:gd name="connsiteY445" fmla="*/ 1045496 h 1715383"/>
                <a:gd name="connsiteX446" fmla="*/ 6994827 w 8734227"/>
                <a:gd name="connsiteY446" fmla="*/ 1038540 h 1715383"/>
                <a:gd name="connsiteX447" fmla="*/ 6987453 w 8734227"/>
                <a:gd name="connsiteY447" fmla="*/ 1029653 h 1715383"/>
                <a:gd name="connsiteX448" fmla="*/ 6983184 w 8734227"/>
                <a:gd name="connsiteY448" fmla="*/ 1018833 h 1715383"/>
                <a:gd name="connsiteX449" fmla="*/ 6981632 w 8734227"/>
                <a:gd name="connsiteY449" fmla="*/ 1007241 h 1715383"/>
                <a:gd name="connsiteX450" fmla="*/ 6981632 w 8734227"/>
                <a:gd name="connsiteY450" fmla="*/ 810172 h 1715383"/>
                <a:gd name="connsiteX451" fmla="*/ 6983184 w 8734227"/>
                <a:gd name="connsiteY451" fmla="*/ 798193 h 1715383"/>
                <a:gd name="connsiteX452" fmla="*/ 6987453 w 8734227"/>
                <a:gd name="connsiteY452" fmla="*/ 787761 h 1715383"/>
                <a:gd name="connsiteX453" fmla="*/ 6994827 w 8734227"/>
                <a:gd name="connsiteY453" fmla="*/ 778873 h 1715383"/>
                <a:gd name="connsiteX454" fmla="*/ 7003754 w 8734227"/>
                <a:gd name="connsiteY454" fmla="*/ 771918 h 1715383"/>
                <a:gd name="connsiteX455" fmla="*/ 7014233 w 8734227"/>
                <a:gd name="connsiteY455" fmla="*/ 767281 h 1715383"/>
                <a:gd name="connsiteX456" fmla="*/ 6479106 w 8734227"/>
                <a:gd name="connsiteY456" fmla="*/ 765735 h 1715383"/>
                <a:gd name="connsiteX457" fmla="*/ 6491033 w 8734227"/>
                <a:gd name="connsiteY457" fmla="*/ 767281 h 1715383"/>
                <a:gd name="connsiteX458" fmla="*/ 6501421 w 8734227"/>
                <a:gd name="connsiteY458" fmla="*/ 771918 h 1715383"/>
                <a:gd name="connsiteX459" fmla="*/ 6510269 w 8734227"/>
                <a:gd name="connsiteY459" fmla="*/ 778873 h 1715383"/>
                <a:gd name="connsiteX460" fmla="*/ 6517194 w 8734227"/>
                <a:gd name="connsiteY460" fmla="*/ 787761 h 1715383"/>
                <a:gd name="connsiteX461" fmla="*/ 6521811 w 8734227"/>
                <a:gd name="connsiteY461" fmla="*/ 798193 h 1715383"/>
                <a:gd name="connsiteX462" fmla="*/ 6523349 w 8734227"/>
                <a:gd name="connsiteY462" fmla="*/ 810172 h 1715383"/>
                <a:gd name="connsiteX463" fmla="*/ 6523349 w 8734227"/>
                <a:gd name="connsiteY463" fmla="*/ 1007241 h 1715383"/>
                <a:gd name="connsiteX464" fmla="*/ 6521811 w 8734227"/>
                <a:gd name="connsiteY464" fmla="*/ 1018833 h 1715383"/>
                <a:gd name="connsiteX465" fmla="*/ 6517194 w 8734227"/>
                <a:gd name="connsiteY465" fmla="*/ 1029653 h 1715383"/>
                <a:gd name="connsiteX466" fmla="*/ 6510269 w 8734227"/>
                <a:gd name="connsiteY466" fmla="*/ 1038540 h 1715383"/>
                <a:gd name="connsiteX467" fmla="*/ 6501421 w 8734227"/>
                <a:gd name="connsiteY467" fmla="*/ 1045496 h 1715383"/>
                <a:gd name="connsiteX468" fmla="*/ 6491033 w 8734227"/>
                <a:gd name="connsiteY468" fmla="*/ 1049360 h 1715383"/>
                <a:gd name="connsiteX469" fmla="*/ 6479106 w 8734227"/>
                <a:gd name="connsiteY469" fmla="*/ 1050905 h 1715383"/>
                <a:gd name="connsiteX470" fmla="*/ 6467565 w 8734227"/>
                <a:gd name="connsiteY470" fmla="*/ 1049360 h 1715383"/>
                <a:gd name="connsiteX471" fmla="*/ 6457177 w 8734227"/>
                <a:gd name="connsiteY471" fmla="*/ 1045496 h 1715383"/>
                <a:gd name="connsiteX472" fmla="*/ 6448329 w 8734227"/>
                <a:gd name="connsiteY472" fmla="*/ 1038540 h 1715383"/>
                <a:gd name="connsiteX473" fmla="*/ 6441404 w 8734227"/>
                <a:gd name="connsiteY473" fmla="*/ 1029653 h 1715383"/>
                <a:gd name="connsiteX474" fmla="*/ 6436787 w 8734227"/>
                <a:gd name="connsiteY474" fmla="*/ 1018833 h 1715383"/>
                <a:gd name="connsiteX475" fmla="*/ 6435248 w 8734227"/>
                <a:gd name="connsiteY475" fmla="*/ 1007241 h 1715383"/>
                <a:gd name="connsiteX476" fmla="*/ 6435248 w 8734227"/>
                <a:gd name="connsiteY476" fmla="*/ 810172 h 1715383"/>
                <a:gd name="connsiteX477" fmla="*/ 6436787 w 8734227"/>
                <a:gd name="connsiteY477" fmla="*/ 798193 h 1715383"/>
                <a:gd name="connsiteX478" fmla="*/ 6441404 w 8734227"/>
                <a:gd name="connsiteY478" fmla="*/ 787761 h 1715383"/>
                <a:gd name="connsiteX479" fmla="*/ 6448329 w 8734227"/>
                <a:gd name="connsiteY479" fmla="*/ 778873 h 1715383"/>
                <a:gd name="connsiteX480" fmla="*/ 6457177 w 8734227"/>
                <a:gd name="connsiteY480" fmla="*/ 771918 h 1715383"/>
                <a:gd name="connsiteX481" fmla="*/ 6467565 w 8734227"/>
                <a:gd name="connsiteY481" fmla="*/ 767281 h 1715383"/>
                <a:gd name="connsiteX482" fmla="*/ 5234778 w 8734227"/>
                <a:gd name="connsiteY482" fmla="*/ 759063 h 1715383"/>
                <a:gd name="connsiteX483" fmla="*/ 5209318 w 8734227"/>
                <a:gd name="connsiteY483" fmla="*/ 838744 h 1715383"/>
                <a:gd name="connsiteX484" fmla="*/ 5135967 w 8734227"/>
                <a:gd name="connsiteY484" fmla="*/ 873682 h 1715383"/>
                <a:gd name="connsiteX485" fmla="*/ 5157184 w 8734227"/>
                <a:gd name="connsiteY485" fmla="*/ 802581 h 1715383"/>
                <a:gd name="connsiteX486" fmla="*/ 5234778 w 8734227"/>
                <a:gd name="connsiteY486" fmla="*/ 759063 h 1715383"/>
                <a:gd name="connsiteX487" fmla="*/ 3071934 w 8734227"/>
                <a:gd name="connsiteY487" fmla="*/ 758052 h 1715383"/>
                <a:gd name="connsiteX488" fmla="*/ 3072332 w 8734227"/>
                <a:gd name="connsiteY488" fmla="*/ 994869 h 1715383"/>
                <a:gd name="connsiteX489" fmla="*/ 2804155 w 8734227"/>
                <a:gd name="connsiteY489" fmla="*/ 994869 h 1715383"/>
                <a:gd name="connsiteX490" fmla="*/ 2804155 w 8734227"/>
                <a:gd name="connsiteY490" fmla="*/ 795532 h 1715383"/>
                <a:gd name="connsiteX491" fmla="*/ 1093130 w 8734227"/>
                <a:gd name="connsiteY491" fmla="*/ 713799 h 1715383"/>
                <a:gd name="connsiteX492" fmla="*/ 1093130 w 8734227"/>
                <a:gd name="connsiteY492" fmla="*/ 982883 h 1715383"/>
                <a:gd name="connsiteX493" fmla="*/ 813740 w 8734227"/>
                <a:gd name="connsiteY493" fmla="*/ 982883 h 1715383"/>
                <a:gd name="connsiteX494" fmla="*/ 813710 w 8734227"/>
                <a:gd name="connsiteY494" fmla="*/ 752908 h 1715383"/>
                <a:gd name="connsiteX495" fmla="*/ 8262676 w 8734227"/>
                <a:gd name="connsiteY495" fmla="*/ 695457 h 1715383"/>
                <a:gd name="connsiteX496" fmla="*/ 8263593 w 8734227"/>
                <a:gd name="connsiteY496" fmla="*/ 695770 h 1715383"/>
                <a:gd name="connsiteX497" fmla="*/ 8263899 w 8734227"/>
                <a:gd name="connsiteY497" fmla="*/ 695770 h 1715383"/>
                <a:gd name="connsiteX498" fmla="*/ 8292641 w 8734227"/>
                <a:gd name="connsiteY498" fmla="*/ 737285 h 1715383"/>
                <a:gd name="connsiteX499" fmla="*/ 8297874 w 8734227"/>
                <a:gd name="connsiteY499" fmla="*/ 735220 h 1715383"/>
                <a:gd name="connsiteX500" fmla="*/ 8312986 w 8734227"/>
                <a:gd name="connsiteY500" fmla="*/ 730912 h 1715383"/>
                <a:gd name="connsiteX501" fmla="*/ 8328715 w 8734227"/>
                <a:gd name="connsiteY501" fmla="*/ 727527 h 1715383"/>
                <a:gd name="connsiteX502" fmla="*/ 8346604 w 8734227"/>
                <a:gd name="connsiteY502" fmla="*/ 725681 h 1715383"/>
                <a:gd name="connsiteX503" fmla="*/ 8365726 w 8734227"/>
                <a:gd name="connsiteY503" fmla="*/ 725065 h 1715383"/>
                <a:gd name="connsiteX504" fmla="*/ 8385465 w 8734227"/>
                <a:gd name="connsiteY504" fmla="*/ 725988 h 1715383"/>
                <a:gd name="connsiteX505" fmla="*/ 8403661 w 8734227"/>
                <a:gd name="connsiteY505" fmla="*/ 728142 h 1715383"/>
                <a:gd name="connsiteX506" fmla="*/ 8420624 w 8734227"/>
                <a:gd name="connsiteY506" fmla="*/ 731835 h 1715383"/>
                <a:gd name="connsiteX507" fmla="*/ 8435428 w 8734227"/>
                <a:gd name="connsiteY507" fmla="*/ 736451 h 1715383"/>
                <a:gd name="connsiteX508" fmla="*/ 8438249 w 8734227"/>
                <a:gd name="connsiteY508" fmla="*/ 737667 h 1715383"/>
                <a:gd name="connsiteX509" fmla="*/ 8467449 w 8734227"/>
                <a:gd name="connsiteY509" fmla="*/ 695770 h 1715383"/>
                <a:gd name="connsiteX510" fmla="*/ 8468071 w 8734227"/>
                <a:gd name="connsiteY510" fmla="*/ 695770 h 1715383"/>
                <a:gd name="connsiteX511" fmla="*/ 8468693 w 8734227"/>
                <a:gd name="connsiteY511" fmla="*/ 695457 h 1715383"/>
                <a:gd name="connsiteX512" fmla="*/ 8469626 w 8734227"/>
                <a:gd name="connsiteY512" fmla="*/ 695770 h 1715383"/>
                <a:gd name="connsiteX513" fmla="*/ 8470870 w 8734227"/>
                <a:gd name="connsiteY513" fmla="*/ 695770 h 1715383"/>
                <a:gd name="connsiteX514" fmla="*/ 8471803 w 8734227"/>
                <a:gd name="connsiteY514" fmla="*/ 696707 h 1715383"/>
                <a:gd name="connsiteX515" fmla="*/ 8472736 w 8734227"/>
                <a:gd name="connsiteY515" fmla="*/ 697332 h 1715383"/>
                <a:gd name="connsiteX516" fmla="*/ 8473358 w 8734227"/>
                <a:gd name="connsiteY516" fmla="*/ 698268 h 1715383"/>
                <a:gd name="connsiteX517" fmla="*/ 8473980 w 8734227"/>
                <a:gd name="connsiteY517" fmla="*/ 699518 h 1715383"/>
                <a:gd name="connsiteX518" fmla="*/ 8473358 w 8734227"/>
                <a:gd name="connsiteY518" fmla="*/ 700143 h 1715383"/>
                <a:gd name="connsiteX519" fmla="*/ 8445137 w 8734227"/>
                <a:gd name="connsiteY519" fmla="*/ 740635 h 1715383"/>
                <a:gd name="connsiteX520" fmla="*/ 8448998 w 8734227"/>
                <a:gd name="connsiteY520" fmla="*/ 742298 h 1715383"/>
                <a:gd name="connsiteX521" fmla="*/ 8461335 w 8734227"/>
                <a:gd name="connsiteY521" fmla="*/ 748760 h 1715383"/>
                <a:gd name="connsiteX522" fmla="*/ 8472129 w 8734227"/>
                <a:gd name="connsiteY522" fmla="*/ 755838 h 1715383"/>
                <a:gd name="connsiteX523" fmla="*/ 8481691 w 8734227"/>
                <a:gd name="connsiteY523" fmla="*/ 763839 h 1715383"/>
                <a:gd name="connsiteX524" fmla="*/ 8490018 w 8734227"/>
                <a:gd name="connsiteY524" fmla="*/ 772456 h 1715383"/>
                <a:gd name="connsiteX525" fmla="*/ 8497728 w 8734227"/>
                <a:gd name="connsiteY525" fmla="*/ 781072 h 1715383"/>
                <a:gd name="connsiteX526" fmla="*/ 8504205 w 8734227"/>
                <a:gd name="connsiteY526" fmla="*/ 789997 h 1715383"/>
                <a:gd name="connsiteX527" fmla="*/ 8509757 w 8734227"/>
                <a:gd name="connsiteY527" fmla="*/ 799229 h 1715383"/>
                <a:gd name="connsiteX528" fmla="*/ 8514383 w 8734227"/>
                <a:gd name="connsiteY528" fmla="*/ 808153 h 1715383"/>
                <a:gd name="connsiteX529" fmla="*/ 8518084 w 8734227"/>
                <a:gd name="connsiteY529" fmla="*/ 817077 h 1715383"/>
                <a:gd name="connsiteX530" fmla="*/ 8521477 w 8734227"/>
                <a:gd name="connsiteY530" fmla="*/ 825386 h 1715383"/>
                <a:gd name="connsiteX531" fmla="*/ 8523944 w 8734227"/>
                <a:gd name="connsiteY531" fmla="*/ 833079 h 1715383"/>
                <a:gd name="connsiteX532" fmla="*/ 8526103 w 8734227"/>
                <a:gd name="connsiteY532" fmla="*/ 840773 h 1715383"/>
                <a:gd name="connsiteX533" fmla="*/ 8527336 w 8734227"/>
                <a:gd name="connsiteY533" fmla="*/ 846927 h 1715383"/>
                <a:gd name="connsiteX534" fmla="*/ 8528262 w 8734227"/>
                <a:gd name="connsiteY534" fmla="*/ 852774 h 1715383"/>
                <a:gd name="connsiteX535" fmla="*/ 8528879 w 8734227"/>
                <a:gd name="connsiteY535" fmla="*/ 857390 h 1715383"/>
                <a:gd name="connsiteX536" fmla="*/ 8529495 w 8734227"/>
                <a:gd name="connsiteY536" fmla="*/ 861083 h 1715383"/>
                <a:gd name="connsiteX537" fmla="*/ 8529495 w 8734227"/>
                <a:gd name="connsiteY537" fmla="*/ 862929 h 1715383"/>
                <a:gd name="connsiteX538" fmla="*/ 8529495 w 8734227"/>
                <a:gd name="connsiteY538" fmla="*/ 863853 h 1715383"/>
                <a:gd name="connsiteX539" fmla="*/ 8201956 w 8734227"/>
                <a:gd name="connsiteY539" fmla="*/ 863853 h 1715383"/>
                <a:gd name="connsiteX540" fmla="*/ 8201956 w 8734227"/>
                <a:gd name="connsiteY540" fmla="*/ 862929 h 1715383"/>
                <a:gd name="connsiteX541" fmla="*/ 8201956 w 8734227"/>
                <a:gd name="connsiteY541" fmla="*/ 861083 h 1715383"/>
                <a:gd name="connsiteX542" fmla="*/ 8202265 w 8734227"/>
                <a:gd name="connsiteY542" fmla="*/ 857698 h 1715383"/>
                <a:gd name="connsiteX543" fmla="*/ 8203190 w 8734227"/>
                <a:gd name="connsiteY543" fmla="*/ 853390 h 1715383"/>
                <a:gd name="connsiteX544" fmla="*/ 8204115 w 8734227"/>
                <a:gd name="connsiteY544" fmla="*/ 848158 h 1715383"/>
                <a:gd name="connsiteX545" fmla="*/ 8204732 w 8734227"/>
                <a:gd name="connsiteY545" fmla="*/ 842004 h 1715383"/>
                <a:gd name="connsiteX546" fmla="*/ 8206582 w 8734227"/>
                <a:gd name="connsiteY546" fmla="*/ 835233 h 1715383"/>
                <a:gd name="connsiteX547" fmla="*/ 8209050 w 8734227"/>
                <a:gd name="connsiteY547" fmla="*/ 827848 h 1715383"/>
                <a:gd name="connsiteX548" fmla="*/ 8211517 w 8734227"/>
                <a:gd name="connsiteY548" fmla="*/ 819847 h 1715383"/>
                <a:gd name="connsiteX549" fmla="*/ 8214910 w 8734227"/>
                <a:gd name="connsiteY549" fmla="*/ 811538 h 1715383"/>
                <a:gd name="connsiteX550" fmla="*/ 8218919 w 8734227"/>
                <a:gd name="connsiteY550" fmla="*/ 802922 h 1715383"/>
                <a:gd name="connsiteX551" fmla="*/ 8223546 w 8734227"/>
                <a:gd name="connsiteY551" fmla="*/ 793997 h 1715383"/>
                <a:gd name="connsiteX552" fmla="*/ 8229405 w 8734227"/>
                <a:gd name="connsiteY552" fmla="*/ 785688 h 1715383"/>
                <a:gd name="connsiteX553" fmla="*/ 8236190 w 8734227"/>
                <a:gd name="connsiteY553" fmla="*/ 777072 h 1715383"/>
                <a:gd name="connsiteX554" fmla="*/ 8243592 w 8734227"/>
                <a:gd name="connsiteY554" fmla="*/ 768763 h 1715383"/>
                <a:gd name="connsiteX555" fmla="*/ 8251920 w 8734227"/>
                <a:gd name="connsiteY555" fmla="*/ 760762 h 1715383"/>
                <a:gd name="connsiteX556" fmla="*/ 8261481 w 8734227"/>
                <a:gd name="connsiteY556" fmla="*/ 753376 h 1715383"/>
                <a:gd name="connsiteX557" fmla="*/ 8272275 w 8734227"/>
                <a:gd name="connsiteY557" fmla="*/ 746606 h 1715383"/>
                <a:gd name="connsiteX558" fmla="*/ 8284612 w 8734227"/>
                <a:gd name="connsiteY558" fmla="*/ 740452 h 1715383"/>
                <a:gd name="connsiteX559" fmla="*/ 8285699 w 8734227"/>
                <a:gd name="connsiteY559" fmla="*/ 740023 h 1715383"/>
                <a:gd name="connsiteX560" fmla="*/ 8258088 w 8734227"/>
                <a:gd name="connsiteY560" fmla="*/ 700143 h 1715383"/>
                <a:gd name="connsiteX561" fmla="*/ 8258088 w 8734227"/>
                <a:gd name="connsiteY561" fmla="*/ 699518 h 1715383"/>
                <a:gd name="connsiteX562" fmla="*/ 8258088 w 8734227"/>
                <a:gd name="connsiteY562" fmla="*/ 698268 h 1715383"/>
                <a:gd name="connsiteX563" fmla="*/ 8259006 w 8734227"/>
                <a:gd name="connsiteY563" fmla="*/ 697332 h 1715383"/>
                <a:gd name="connsiteX564" fmla="*/ 8260229 w 8734227"/>
                <a:gd name="connsiteY564" fmla="*/ 696707 h 1715383"/>
                <a:gd name="connsiteX565" fmla="*/ 8260841 w 8734227"/>
                <a:gd name="connsiteY565" fmla="*/ 695770 h 1715383"/>
                <a:gd name="connsiteX566" fmla="*/ 8261758 w 8734227"/>
                <a:gd name="connsiteY566" fmla="*/ 695770 h 1715383"/>
                <a:gd name="connsiteX567" fmla="*/ 1495584 w 8734227"/>
                <a:gd name="connsiteY567" fmla="*/ 657469 h 1715383"/>
                <a:gd name="connsiteX568" fmla="*/ 1496132 w 8734227"/>
                <a:gd name="connsiteY568" fmla="*/ 982883 h 1715383"/>
                <a:gd name="connsiteX569" fmla="*/ 1127626 w 8734227"/>
                <a:gd name="connsiteY569" fmla="*/ 982883 h 1715383"/>
                <a:gd name="connsiteX570" fmla="*/ 1127626 w 8734227"/>
                <a:gd name="connsiteY570" fmla="*/ 708970 h 1715383"/>
                <a:gd name="connsiteX571" fmla="*/ 4171486 w 8734227"/>
                <a:gd name="connsiteY571" fmla="*/ 652571 h 1715383"/>
                <a:gd name="connsiteX572" fmla="*/ 4323878 w 8734227"/>
                <a:gd name="connsiteY572" fmla="*/ 731098 h 1715383"/>
                <a:gd name="connsiteX573" fmla="*/ 4239535 w 8734227"/>
                <a:gd name="connsiteY573" fmla="*/ 880396 h 1715383"/>
                <a:gd name="connsiteX574" fmla="*/ 4344963 w 8734227"/>
                <a:gd name="connsiteY574" fmla="*/ 1040357 h 1715383"/>
                <a:gd name="connsiteX575" fmla="*/ 4172445 w 8734227"/>
                <a:gd name="connsiteY575" fmla="*/ 1248792 h 1715383"/>
                <a:gd name="connsiteX576" fmla="*/ 4044015 w 8734227"/>
                <a:gd name="connsiteY576" fmla="*/ 1217769 h 1715383"/>
                <a:gd name="connsiteX577" fmla="*/ 3914626 w 8734227"/>
                <a:gd name="connsiteY577" fmla="*/ 1250731 h 1715383"/>
                <a:gd name="connsiteX578" fmla="*/ 3710479 w 8734227"/>
                <a:gd name="connsiteY578" fmla="*/ 893968 h 1715383"/>
                <a:gd name="connsiteX579" fmla="*/ 3897374 w 8734227"/>
                <a:gd name="connsiteY579" fmla="*/ 654510 h 1715383"/>
                <a:gd name="connsiteX580" fmla="*/ 4033472 w 8734227"/>
                <a:gd name="connsiteY580" fmla="*/ 689411 h 1715383"/>
                <a:gd name="connsiteX581" fmla="*/ 4171486 w 8734227"/>
                <a:gd name="connsiteY581" fmla="*/ 652571 h 1715383"/>
                <a:gd name="connsiteX582" fmla="*/ 6842525 w 8734227"/>
                <a:gd name="connsiteY582" fmla="*/ 641312 h 1715383"/>
                <a:gd name="connsiteX583" fmla="*/ 6834796 w 8734227"/>
                <a:gd name="connsiteY583" fmla="*/ 643229 h 1715383"/>
                <a:gd name="connsiteX584" fmla="*/ 6827841 w 8734227"/>
                <a:gd name="connsiteY584" fmla="*/ 646680 h 1715383"/>
                <a:gd name="connsiteX585" fmla="*/ 6822818 w 8734227"/>
                <a:gd name="connsiteY585" fmla="*/ 651664 h 1715383"/>
                <a:gd name="connsiteX586" fmla="*/ 6818953 w 8734227"/>
                <a:gd name="connsiteY586" fmla="*/ 658566 h 1715383"/>
                <a:gd name="connsiteX587" fmla="*/ 6817794 w 8734227"/>
                <a:gd name="connsiteY587" fmla="*/ 666234 h 1715383"/>
                <a:gd name="connsiteX588" fmla="*/ 6818953 w 8734227"/>
                <a:gd name="connsiteY588" fmla="*/ 674286 h 1715383"/>
                <a:gd name="connsiteX589" fmla="*/ 6822818 w 8734227"/>
                <a:gd name="connsiteY589" fmla="*/ 680804 h 1715383"/>
                <a:gd name="connsiteX590" fmla="*/ 6827841 w 8734227"/>
                <a:gd name="connsiteY590" fmla="*/ 686172 h 1715383"/>
                <a:gd name="connsiteX591" fmla="*/ 6834796 w 8734227"/>
                <a:gd name="connsiteY591" fmla="*/ 689622 h 1715383"/>
                <a:gd name="connsiteX592" fmla="*/ 6842525 w 8734227"/>
                <a:gd name="connsiteY592" fmla="*/ 690772 h 1715383"/>
                <a:gd name="connsiteX593" fmla="*/ 6850253 w 8734227"/>
                <a:gd name="connsiteY593" fmla="*/ 689622 h 1715383"/>
                <a:gd name="connsiteX594" fmla="*/ 6857208 w 8734227"/>
                <a:gd name="connsiteY594" fmla="*/ 686172 h 1715383"/>
                <a:gd name="connsiteX595" fmla="*/ 6862231 w 8734227"/>
                <a:gd name="connsiteY595" fmla="*/ 680804 h 1715383"/>
                <a:gd name="connsiteX596" fmla="*/ 6866096 w 8734227"/>
                <a:gd name="connsiteY596" fmla="*/ 674286 h 1715383"/>
                <a:gd name="connsiteX597" fmla="*/ 6867255 w 8734227"/>
                <a:gd name="connsiteY597" fmla="*/ 666234 h 1715383"/>
                <a:gd name="connsiteX598" fmla="*/ 6866096 w 8734227"/>
                <a:gd name="connsiteY598" fmla="*/ 658566 h 1715383"/>
                <a:gd name="connsiteX599" fmla="*/ 6862231 w 8734227"/>
                <a:gd name="connsiteY599" fmla="*/ 651664 h 1715383"/>
                <a:gd name="connsiteX600" fmla="*/ 6857208 w 8734227"/>
                <a:gd name="connsiteY600" fmla="*/ 646680 h 1715383"/>
                <a:gd name="connsiteX601" fmla="*/ 6850253 w 8734227"/>
                <a:gd name="connsiteY601" fmla="*/ 643229 h 1715383"/>
                <a:gd name="connsiteX602" fmla="*/ 6662071 w 8734227"/>
                <a:gd name="connsiteY602" fmla="*/ 641312 h 1715383"/>
                <a:gd name="connsiteX603" fmla="*/ 6654343 w 8734227"/>
                <a:gd name="connsiteY603" fmla="*/ 643229 h 1715383"/>
                <a:gd name="connsiteX604" fmla="*/ 6647388 w 8734227"/>
                <a:gd name="connsiteY604" fmla="*/ 646680 h 1715383"/>
                <a:gd name="connsiteX605" fmla="*/ 6642364 w 8734227"/>
                <a:gd name="connsiteY605" fmla="*/ 651664 h 1715383"/>
                <a:gd name="connsiteX606" fmla="*/ 6639273 w 8734227"/>
                <a:gd name="connsiteY606" fmla="*/ 658566 h 1715383"/>
                <a:gd name="connsiteX607" fmla="*/ 6637727 w 8734227"/>
                <a:gd name="connsiteY607" fmla="*/ 666234 h 1715383"/>
                <a:gd name="connsiteX608" fmla="*/ 6639273 w 8734227"/>
                <a:gd name="connsiteY608" fmla="*/ 674286 h 1715383"/>
                <a:gd name="connsiteX609" fmla="*/ 6642364 w 8734227"/>
                <a:gd name="connsiteY609" fmla="*/ 680804 h 1715383"/>
                <a:gd name="connsiteX610" fmla="*/ 6647388 w 8734227"/>
                <a:gd name="connsiteY610" fmla="*/ 686172 h 1715383"/>
                <a:gd name="connsiteX611" fmla="*/ 6654343 w 8734227"/>
                <a:gd name="connsiteY611" fmla="*/ 689622 h 1715383"/>
                <a:gd name="connsiteX612" fmla="*/ 6662071 w 8734227"/>
                <a:gd name="connsiteY612" fmla="*/ 690772 h 1715383"/>
                <a:gd name="connsiteX613" fmla="*/ 6670186 w 8734227"/>
                <a:gd name="connsiteY613" fmla="*/ 689622 h 1715383"/>
                <a:gd name="connsiteX614" fmla="*/ 6676755 w 8734227"/>
                <a:gd name="connsiteY614" fmla="*/ 686172 h 1715383"/>
                <a:gd name="connsiteX615" fmla="*/ 6682551 w 8734227"/>
                <a:gd name="connsiteY615" fmla="*/ 680804 h 1715383"/>
                <a:gd name="connsiteX616" fmla="*/ 6685642 w 8734227"/>
                <a:gd name="connsiteY616" fmla="*/ 674286 h 1715383"/>
                <a:gd name="connsiteX617" fmla="*/ 6687188 w 8734227"/>
                <a:gd name="connsiteY617" fmla="*/ 666234 h 1715383"/>
                <a:gd name="connsiteX618" fmla="*/ 6685642 w 8734227"/>
                <a:gd name="connsiteY618" fmla="*/ 658566 h 1715383"/>
                <a:gd name="connsiteX619" fmla="*/ 6682551 w 8734227"/>
                <a:gd name="connsiteY619" fmla="*/ 651664 h 1715383"/>
                <a:gd name="connsiteX620" fmla="*/ 6676755 w 8734227"/>
                <a:gd name="connsiteY620" fmla="*/ 646680 h 1715383"/>
                <a:gd name="connsiteX621" fmla="*/ 6670186 w 8734227"/>
                <a:gd name="connsiteY621" fmla="*/ 643229 h 1715383"/>
                <a:gd name="connsiteX622" fmla="*/ 4828217 w 8734227"/>
                <a:gd name="connsiteY622" fmla="*/ 546687 h 1715383"/>
                <a:gd name="connsiteX623" fmla="*/ 4828217 w 8734227"/>
                <a:gd name="connsiteY623" fmla="*/ 1471905 h 1715383"/>
                <a:gd name="connsiteX624" fmla="*/ 5444866 w 8734227"/>
                <a:gd name="connsiteY624" fmla="*/ 1471905 h 1715383"/>
                <a:gd name="connsiteX625" fmla="*/ 5444866 w 8734227"/>
                <a:gd name="connsiteY625" fmla="*/ 546687 h 1715383"/>
                <a:gd name="connsiteX626" fmla="*/ 6623381 w 8734227"/>
                <a:gd name="connsiteY626" fmla="*/ 544709 h 1715383"/>
                <a:gd name="connsiteX627" fmla="*/ 6624531 w 8734227"/>
                <a:gd name="connsiteY627" fmla="*/ 545101 h 1715383"/>
                <a:gd name="connsiteX628" fmla="*/ 6624914 w 8734227"/>
                <a:gd name="connsiteY628" fmla="*/ 545101 h 1715383"/>
                <a:gd name="connsiteX629" fmla="*/ 6660924 w 8734227"/>
                <a:gd name="connsiteY629" fmla="*/ 597114 h 1715383"/>
                <a:gd name="connsiteX630" fmla="*/ 6667480 w 8734227"/>
                <a:gd name="connsiteY630" fmla="*/ 594528 h 1715383"/>
                <a:gd name="connsiteX631" fmla="*/ 6686415 w 8734227"/>
                <a:gd name="connsiteY631" fmla="*/ 589130 h 1715383"/>
                <a:gd name="connsiteX632" fmla="*/ 6706121 w 8734227"/>
                <a:gd name="connsiteY632" fmla="*/ 584889 h 1715383"/>
                <a:gd name="connsiteX633" fmla="*/ 6728533 w 8734227"/>
                <a:gd name="connsiteY633" fmla="*/ 582576 h 1715383"/>
                <a:gd name="connsiteX634" fmla="*/ 6752491 w 8734227"/>
                <a:gd name="connsiteY634" fmla="*/ 581804 h 1715383"/>
                <a:gd name="connsiteX635" fmla="*/ 6777221 w 8734227"/>
                <a:gd name="connsiteY635" fmla="*/ 582961 h 1715383"/>
                <a:gd name="connsiteX636" fmla="*/ 6800019 w 8734227"/>
                <a:gd name="connsiteY636" fmla="*/ 585660 h 1715383"/>
                <a:gd name="connsiteX637" fmla="*/ 6821272 w 8734227"/>
                <a:gd name="connsiteY637" fmla="*/ 590287 h 1715383"/>
                <a:gd name="connsiteX638" fmla="*/ 6839819 w 8734227"/>
                <a:gd name="connsiteY638" fmla="*/ 596070 h 1715383"/>
                <a:gd name="connsiteX639" fmla="*/ 6843354 w 8734227"/>
                <a:gd name="connsiteY639" fmla="*/ 597593 h 1715383"/>
                <a:gd name="connsiteX640" fmla="*/ 6879938 w 8734227"/>
                <a:gd name="connsiteY640" fmla="*/ 545101 h 1715383"/>
                <a:gd name="connsiteX641" fmla="*/ 6880717 w 8734227"/>
                <a:gd name="connsiteY641" fmla="*/ 545101 h 1715383"/>
                <a:gd name="connsiteX642" fmla="*/ 6881497 w 8734227"/>
                <a:gd name="connsiteY642" fmla="*/ 544709 h 1715383"/>
                <a:gd name="connsiteX643" fmla="*/ 6882665 w 8734227"/>
                <a:gd name="connsiteY643" fmla="*/ 545101 h 1715383"/>
                <a:gd name="connsiteX644" fmla="*/ 6884224 w 8734227"/>
                <a:gd name="connsiteY644" fmla="*/ 545101 h 1715383"/>
                <a:gd name="connsiteX645" fmla="*/ 6885393 w 8734227"/>
                <a:gd name="connsiteY645" fmla="*/ 546275 h 1715383"/>
                <a:gd name="connsiteX646" fmla="*/ 6886562 w 8734227"/>
                <a:gd name="connsiteY646" fmla="*/ 547058 h 1715383"/>
                <a:gd name="connsiteX647" fmla="*/ 6887341 w 8734227"/>
                <a:gd name="connsiteY647" fmla="*/ 548231 h 1715383"/>
                <a:gd name="connsiteX648" fmla="*/ 6888121 w 8734227"/>
                <a:gd name="connsiteY648" fmla="*/ 549797 h 1715383"/>
                <a:gd name="connsiteX649" fmla="*/ 6887341 w 8734227"/>
                <a:gd name="connsiteY649" fmla="*/ 550580 h 1715383"/>
                <a:gd name="connsiteX650" fmla="*/ 6851984 w 8734227"/>
                <a:gd name="connsiteY650" fmla="*/ 601312 h 1715383"/>
                <a:gd name="connsiteX651" fmla="*/ 6856821 w 8734227"/>
                <a:gd name="connsiteY651" fmla="*/ 603396 h 1715383"/>
                <a:gd name="connsiteX652" fmla="*/ 6872278 w 8734227"/>
                <a:gd name="connsiteY652" fmla="*/ 611492 h 1715383"/>
                <a:gd name="connsiteX653" fmla="*/ 6885802 w 8734227"/>
                <a:gd name="connsiteY653" fmla="*/ 620360 h 1715383"/>
                <a:gd name="connsiteX654" fmla="*/ 6897781 w 8734227"/>
                <a:gd name="connsiteY654" fmla="*/ 630384 h 1715383"/>
                <a:gd name="connsiteX655" fmla="*/ 6908214 w 8734227"/>
                <a:gd name="connsiteY655" fmla="*/ 641180 h 1715383"/>
                <a:gd name="connsiteX656" fmla="*/ 6917874 w 8734227"/>
                <a:gd name="connsiteY656" fmla="*/ 651975 h 1715383"/>
                <a:gd name="connsiteX657" fmla="*/ 6925989 w 8734227"/>
                <a:gd name="connsiteY657" fmla="*/ 663156 h 1715383"/>
                <a:gd name="connsiteX658" fmla="*/ 6932944 w 8734227"/>
                <a:gd name="connsiteY658" fmla="*/ 674723 h 1715383"/>
                <a:gd name="connsiteX659" fmla="*/ 6938740 w 8734227"/>
                <a:gd name="connsiteY659" fmla="*/ 685904 h 1715383"/>
                <a:gd name="connsiteX660" fmla="*/ 6943377 w 8734227"/>
                <a:gd name="connsiteY660" fmla="*/ 697084 h 1715383"/>
                <a:gd name="connsiteX661" fmla="*/ 6947628 w 8734227"/>
                <a:gd name="connsiteY661" fmla="*/ 707495 h 1715383"/>
                <a:gd name="connsiteX662" fmla="*/ 6950719 w 8734227"/>
                <a:gd name="connsiteY662" fmla="*/ 717133 h 1715383"/>
                <a:gd name="connsiteX663" fmla="*/ 6953424 w 8734227"/>
                <a:gd name="connsiteY663" fmla="*/ 726772 h 1715383"/>
                <a:gd name="connsiteX664" fmla="*/ 6954970 w 8734227"/>
                <a:gd name="connsiteY664" fmla="*/ 734484 h 1715383"/>
                <a:gd name="connsiteX665" fmla="*/ 6956129 w 8734227"/>
                <a:gd name="connsiteY665" fmla="*/ 741809 h 1715383"/>
                <a:gd name="connsiteX666" fmla="*/ 6956902 w 8734227"/>
                <a:gd name="connsiteY666" fmla="*/ 747592 h 1715383"/>
                <a:gd name="connsiteX667" fmla="*/ 6957674 w 8734227"/>
                <a:gd name="connsiteY667" fmla="*/ 752219 h 1715383"/>
                <a:gd name="connsiteX668" fmla="*/ 6957674 w 8734227"/>
                <a:gd name="connsiteY668" fmla="*/ 754532 h 1715383"/>
                <a:gd name="connsiteX669" fmla="*/ 6957674 w 8734227"/>
                <a:gd name="connsiteY669" fmla="*/ 755689 h 1715383"/>
                <a:gd name="connsiteX670" fmla="*/ 6547307 w 8734227"/>
                <a:gd name="connsiteY670" fmla="*/ 755689 h 1715383"/>
                <a:gd name="connsiteX671" fmla="*/ 6547307 w 8734227"/>
                <a:gd name="connsiteY671" fmla="*/ 754532 h 1715383"/>
                <a:gd name="connsiteX672" fmla="*/ 6547307 w 8734227"/>
                <a:gd name="connsiteY672" fmla="*/ 752219 h 1715383"/>
                <a:gd name="connsiteX673" fmla="*/ 6547694 w 8734227"/>
                <a:gd name="connsiteY673" fmla="*/ 747978 h 1715383"/>
                <a:gd name="connsiteX674" fmla="*/ 6548853 w 8734227"/>
                <a:gd name="connsiteY674" fmla="*/ 742580 h 1715383"/>
                <a:gd name="connsiteX675" fmla="*/ 6550012 w 8734227"/>
                <a:gd name="connsiteY675" fmla="*/ 736026 h 1715383"/>
                <a:gd name="connsiteX676" fmla="*/ 6550785 w 8734227"/>
                <a:gd name="connsiteY676" fmla="*/ 728315 h 1715383"/>
                <a:gd name="connsiteX677" fmla="*/ 6553103 w 8734227"/>
                <a:gd name="connsiteY677" fmla="*/ 719832 h 1715383"/>
                <a:gd name="connsiteX678" fmla="*/ 6556194 w 8734227"/>
                <a:gd name="connsiteY678" fmla="*/ 710579 h 1715383"/>
                <a:gd name="connsiteX679" fmla="*/ 6559286 w 8734227"/>
                <a:gd name="connsiteY679" fmla="*/ 700555 h 1715383"/>
                <a:gd name="connsiteX680" fmla="*/ 6563537 w 8734227"/>
                <a:gd name="connsiteY680" fmla="*/ 690145 h 1715383"/>
                <a:gd name="connsiteX681" fmla="*/ 6568559 w 8734227"/>
                <a:gd name="connsiteY681" fmla="*/ 679349 h 1715383"/>
                <a:gd name="connsiteX682" fmla="*/ 6574356 w 8734227"/>
                <a:gd name="connsiteY682" fmla="*/ 668168 h 1715383"/>
                <a:gd name="connsiteX683" fmla="*/ 6581698 w 8734227"/>
                <a:gd name="connsiteY683" fmla="*/ 657758 h 1715383"/>
                <a:gd name="connsiteX684" fmla="*/ 6590198 w 8734227"/>
                <a:gd name="connsiteY684" fmla="*/ 646963 h 1715383"/>
                <a:gd name="connsiteX685" fmla="*/ 6599472 w 8734227"/>
                <a:gd name="connsiteY685" fmla="*/ 636553 h 1715383"/>
                <a:gd name="connsiteX686" fmla="*/ 6609906 w 8734227"/>
                <a:gd name="connsiteY686" fmla="*/ 626529 h 1715383"/>
                <a:gd name="connsiteX687" fmla="*/ 6621884 w 8734227"/>
                <a:gd name="connsiteY687" fmla="*/ 617275 h 1715383"/>
                <a:gd name="connsiteX688" fmla="*/ 6635408 w 8734227"/>
                <a:gd name="connsiteY688" fmla="*/ 608793 h 1715383"/>
                <a:gd name="connsiteX689" fmla="*/ 6650865 w 8734227"/>
                <a:gd name="connsiteY689" fmla="*/ 601082 h 1715383"/>
                <a:gd name="connsiteX690" fmla="*/ 6652226 w 8734227"/>
                <a:gd name="connsiteY690" fmla="*/ 600545 h 1715383"/>
                <a:gd name="connsiteX691" fmla="*/ 6617634 w 8734227"/>
                <a:gd name="connsiteY691" fmla="*/ 550580 h 1715383"/>
                <a:gd name="connsiteX692" fmla="*/ 6617634 w 8734227"/>
                <a:gd name="connsiteY692" fmla="*/ 549797 h 1715383"/>
                <a:gd name="connsiteX693" fmla="*/ 6617634 w 8734227"/>
                <a:gd name="connsiteY693" fmla="*/ 548231 h 1715383"/>
                <a:gd name="connsiteX694" fmla="*/ 6618783 w 8734227"/>
                <a:gd name="connsiteY694" fmla="*/ 547058 h 1715383"/>
                <a:gd name="connsiteX695" fmla="*/ 6620316 w 8734227"/>
                <a:gd name="connsiteY695" fmla="*/ 546275 h 1715383"/>
                <a:gd name="connsiteX696" fmla="*/ 6621082 w 8734227"/>
                <a:gd name="connsiteY696" fmla="*/ 545101 h 1715383"/>
                <a:gd name="connsiteX697" fmla="*/ 6622232 w 8734227"/>
                <a:gd name="connsiteY697" fmla="*/ 545101 h 1715383"/>
                <a:gd name="connsiteX698" fmla="*/ 4183017 w 8734227"/>
                <a:gd name="connsiteY698" fmla="*/ 463640 h 1715383"/>
                <a:gd name="connsiteX699" fmla="*/ 4142768 w 8734227"/>
                <a:gd name="connsiteY699" fmla="*/ 589602 h 1715383"/>
                <a:gd name="connsiteX700" fmla="*/ 4026815 w 8734227"/>
                <a:gd name="connsiteY700" fmla="*/ 644831 h 1715383"/>
                <a:gd name="connsiteX701" fmla="*/ 4060355 w 8734227"/>
                <a:gd name="connsiteY701" fmla="*/ 532435 h 1715383"/>
                <a:gd name="connsiteX702" fmla="*/ 4183017 w 8734227"/>
                <a:gd name="connsiteY702" fmla="*/ 463640 h 1715383"/>
                <a:gd name="connsiteX703" fmla="*/ 142606 w 8734227"/>
                <a:gd name="connsiteY703" fmla="*/ 435886 h 1715383"/>
                <a:gd name="connsiteX704" fmla="*/ 142606 w 8734227"/>
                <a:gd name="connsiteY704" fmla="*/ 1564635 h 1715383"/>
                <a:gd name="connsiteX705" fmla="*/ 2167619 w 8734227"/>
                <a:gd name="connsiteY705" fmla="*/ 1564635 h 1715383"/>
                <a:gd name="connsiteX706" fmla="*/ 2167619 w 8734227"/>
                <a:gd name="connsiteY706" fmla="*/ 435886 h 1715383"/>
                <a:gd name="connsiteX707" fmla="*/ 5049402 w 8734227"/>
                <a:gd name="connsiteY707" fmla="*/ 408930 h 1715383"/>
                <a:gd name="connsiteX708" fmla="*/ 5033704 w 8734227"/>
                <a:gd name="connsiteY708" fmla="*/ 424628 h 1715383"/>
                <a:gd name="connsiteX709" fmla="*/ 5049402 w 8734227"/>
                <a:gd name="connsiteY709" fmla="*/ 440326 h 1715383"/>
                <a:gd name="connsiteX710" fmla="*/ 5223681 w 8734227"/>
                <a:gd name="connsiteY710" fmla="*/ 440326 h 1715383"/>
                <a:gd name="connsiteX711" fmla="*/ 5239379 w 8734227"/>
                <a:gd name="connsiteY711" fmla="*/ 424628 h 1715383"/>
                <a:gd name="connsiteX712" fmla="*/ 5223681 w 8734227"/>
                <a:gd name="connsiteY712" fmla="*/ 408930 h 1715383"/>
                <a:gd name="connsiteX713" fmla="*/ 2518597 w 8734227"/>
                <a:gd name="connsiteY713" fmla="*/ 402274 h 1715383"/>
                <a:gd name="connsiteX714" fmla="*/ 2481061 w 8734227"/>
                <a:gd name="connsiteY714" fmla="*/ 439810 h 1715383"/>
                <a:gd name="connsiteX715" fmla="*/ 2481061 w 8734227"/>
                <a:gd name="connsiteY715" fmla="*/ 1467497 h 1715383"/>
                <a:gd name="connsiteX716" fmla="*/ 2518597 w 8734227"/>
                <a:gd name="connsiteY716" fmla="*/ 1505033 h 1715383"/>
                <a:gd name="connsiteX717" fmla="*/ 3130747 w 8734227"/>
                <a:gd name="connsiteY717" fmla="*/ 1505033 h 1715383"/>
                <a:gd name="connsiteX718" fmla="*/ 3168284 w 8734227"/>
                <a:gd name="connsiteY718" fmla="*/ 1467497 h 1715383"/>
                <a:gd name="connsiteX719" fmla="*/ 3168284 w 8734227"/>
                <a:gd name="connsiteY719" fmla="*/ 439810 h 1715383"/>
                <a:gd name="connsiteX720" fmla="*/ 3130747 w 8734227"/>
                <a:gd name="connsiteY720" fmla="*/ 402274 h 1715383"/>
                <a:gd name="connsiteX721" fmla="*/ 2776017 w 8734227"/>
                <a:gd name="connsiteY721" fmla="*/ 362170 h 1715383"/>
                <a:gd name="connsiteX722" fmla="*/ 2771932 w 8734227"/>
                <a:gd name="connsiteY722" fmla="*/ 363863 h 1715383"/>
                <a:gd name="connsiteX723" fmla="*/ 2770239 w 8734227"/>
                <a:gd name="connsiteY723" fmla="*/ 367948 h 1715383"/>
                <a:gd name="connsiteX724" fmla="*/ 2771932 w 8734227"/>
                <a:gd name="connsiteY724" fmla="*/ 372033 h 1715383"/>
                <a:gd name="connsiteX725" fmla="*/ 2776017 w 8734227"/>
                <a:gd name="connsiteY725" fmla="*/ 373725 h 1715383"/>
                <a:gd name="connsiteX726" fmla="*/ 2872301 w 8734227"/>
                <a:gd name="connsiteY726" fmla="*/ 373725 h 1715383"/>
                <a:gd name="connsiteX727" fmla="*/ 2878078 w 8734227"/>
                <a:gd name="connsiteY727" fmla="*/ 367948 h 1715383"/>
                <a:gd name="connsiteX728" fmla="*/ 2872301 w 8734227"/>
                <a:gd name="connsiteY728" fmla="*/ 362170 h 1715383"/>
                <a:gd name="connsiteX729" fmla="*/ 8074277 w 8734227"/>
                <a:gd name="connsiteY729" fmla="*/ 335996 h 1715383"/>
                <a:gd name="connsiteX730" fmla="*/ 8029436 w 8734227"/>
                <a:gd name="connsiteY730" fmla="*/ 380837 h 1715383"/>
                <a:gd name="connsiteX731" fmla="*/ 8029436 w 8734227"/>
                <a:gd name="connsiteY731" fmla="*/ 1435314 h 1715383"/>
                <a:gd name="connsiteX732" fmla="*/ 8074277 w 8734227"/>
                <a:gd name="connsiteY732" fmla="*/ 1480155 h 1715383"/>
                <a:gd name="connsiteX733" fmla="*/ 8657174 w 8734227"/>
                <a:gd name="connsiteY733" fmla="*/ 1480155 h 1715383"/>
                <a:gd name="connsiteX734" fmla="*/ 8702015 w 8734227"/>
                <a:gd name="connsiteY734" fmla="*/ 1435314 h 1715383"/>
                <a:gd name="connsiteX735" fmla="*/ 8702015 w 8734227"/>
                <a:gd name="connsiteY735" fmla="*/ 380837 h 1715383"/>
                <a:gd name="connsiteX736" fmla="*/ 8657174 w 8734227"/>
                <a:gd name="connsiteY736" fmla="*/ 335996 h 1715383"/>
                <a:gd name="connsiteX737" fmla="*/ 5759891 w 8734227"/>
                <a:gd name="connsiteY737" fmla="*/ 305930 h 1715383"/>
                <a:gd name="connsiteX738" fmla="*/ 5759891 w 8734227"/>
                <a:gd name="connsiteY738" fmla="*/ 1478569 h 1715383"/>
                <a:gd name="connsiteX739" fmla="*/ 7741904 w 8734227"/>
                <a:gd name="connsiteY739" fmla="*/ 1478569 h 1715383"/>
                <a:gd name="connsiteX740" fmla="*/ 7741904 w 8734227"/>
                <a:gd name="connsiteY740" fmla="*/ 305930 h 1715383"/>
                <a:gd name="connsiteX741" fmla="*/ 4878987 w 8734227"/>
                <a:gd name="connsiteY741" fmla="*/ 300646 h 1715383"/>
                <a:gd name="connsiteX742" fmla="*/ 5394095 w 8734227"/>
                <a:gd name="connsiteY742" fmla="*/ 300646 h 1715383"/>
                <a:gd name="connsiteX743" fmla="*/ 5492672 w 8734227"/>
                <a:gd name="connsiteY743" fmla="*/ 399224 h 1715383"/>
                <a:gd name="connsiteX744" fmla="*/ 5492672 w 8734227"/>
                <a:gd name="connsiteY744" fmla="*/ 1616806 h 1715383"/>
                <a:gd name="connsiteX745" fmla="*/ 5394095 w 8734227"/>
                <a:gd name="connsiteY745" fmla="*/ 1715383 h 1715383"/>
                <a:gd name="connsiteX746" fmla="*/ 4878987 w 8734227"/>
                <a:gd name="connsiteY746" fmla="*/ 1715383 h 1715383"/>
                <a:gd name="connsiteX747" fmla="*/ 4780410 w 8734227"/>
                <a:gd name="connsiteY747" fmla="*/ 1616806 h 1715383"/>
                <a:gd name="connsiteX748" fmla="*/ 4780410 w 8734227"/>
                <a:gd name="connsiteY748" fmla="*/ 399224 h 1715383"/>
                <a:gd name="connsiteX749" fmla="*/ 4878987 w 8734227"/>
                <a:gd name="connsiteY749" fmla="*/ 300646 h 1715383"/>
                <a:gd name="connsiteX750" fmla="*/ 2442872 w 8734227"/>
                <a:gd name="connsiteY750" fmla="*/ 299635 h 1715383"/>
                <a:gd name="connsiteX751" fmla="*/ 3205445 w 8734227"/>
                <a:gd name="connsiteY751" fmla="*/ 299635 h 1715383"/>
                <a:gd name="connsiteX752" fmla="*/ 3205445 w 8734227"/>
                <a:gd name="connsiteY752" fmla="*/ 1714372 h 1715383"/>
                <a:gd name="connsiteX753" fmla="*/ 2442872 w 8734227"/>
                <a:gd name="connsiteY753" fmla="*/ 1714372 h 1715383"/>
                <a:gd name="connsiteX754" fmla="*/ 8046360 w 8734227"/>
                <a:gd name="connsiteY754" fmla="*/ 292188 h 1715383"/>
                <a:gd name="connsiteX755" fmla="*/ 8685091 w 8734227"/>
                <a:gd name="connsiteY755" fmla="*/ 292188 h 1715383"/>
                <a:gd name="connsiteX756" fmla="*/ 8734227 w 8734227"/>
                <a:gd name="connsiteY756" fmla="*/ 341324 h 1715383"/>
                <a:gd name="connsiteX757" fmla="*/ 8734227 w 8734227"/>
                <a:gd name="connsiteY757" fmla="*/ 1657789 h 1715383"/>
                <a:gd name="connsiteX758" fmla="*/ 8685091 w 8734227"/>
                <a:gd name="connsiteY758" fmla="*/ 1706925 h 1715383"/>
                <a:gd name="connsiteX759" fmla="*/ 8046360 w 8734227"/>
                <a:gd name="connsiteY759" fmla="*/ 1706925 h 1715383"/>
                <a:gd name="connsiteX760" fmla="*/ 7997224 w 8734227"/>
                <a:gd name="connsiteY760" fmla="*/ 1657789 h 1715383"/>
                <a:gd name="connsiteX761" fmla="*/ 7997224 w 8734227"/>
                <a:gd name="connsiteY761" fmla="*/ 341324 h 1715383"/>
                <a:gd name="connsiteX762" fmla="*/ 8046360 w 8734227"/>
                <a:gd name="connsiteY762" fmla="*/ 292188 h 1715383"/>
                <a:gd name="connsiteX763" fmla="*/ 31495 w 8734227"/>
                <a:gd name="connsiteY763" fmla="*/ 284741 h 1715383"/>
                <a:gd name="connsiteX764" fmla="*/ 2278731 w 8734227"/>
                <a:gd name="connsiteY764" fmla="*/ 284741 h 1715383"/>
                <a:gd name="connsiteX765" fmla="*/ 2310225 w 8734227"/>
                <a:gd name="connsiteY765" fmla="*/ 316235 h 1715383"/>
                <a:gd name="connsiteX766" fmla="*/ 2310225 w 8734227"/>
                <a:gd name="connsiteY766" fmla="*/ 1682878 h 1715383"/>
                <a:gd name="connsiteX767" fmla="*/ 2278731 w 8734227"/>
                <a:gd name="connsiteY767" fmla="*/ 1714372 h 1715383"/>
                <a:gd name="connsiteX768" fmla="*/ 31495 w 8734227"/>
                <a:gd name="connsiteY768" fmla="*/ 1714372 h 1715383"/>
                <a:gd name="connsiteX769" fmla="*/ 0 w 8734227"/>
                <a:gd name="connsiteY769" fmla="*/ 1682878 h 1715383"/>
                <a:gd name="connsiteX770" fmla="*/ 0 w 8734227"/>
                <a:gd name="connsiteY770" fmla="*/ 316235 h 1715383"/>
                <a:gd name="connsiteX771" fmla="*/ 31495 w 8734227"/>
                <a:gd name="connsiteY771" fmla="*/ 284741 h 1715383"/>
                <a:gd name="connsiteX772" fmla="*/ 3506920 w 8734227"/>
                <a:gd name="connsiteY772" fmla="*/ 153677 h 1715383"/>
                <a:gd name="connsiteX773" fmla="*/ 3506920 w 8734227"/>
                <a:gd name="connsiteY773" fmla="*/ 1550448 h 1715383"/>
                <a:gd name="connsiteX774" fmla="*/ 4548522 w 8734227"/>
                <a:gd name="connsiteY774" fmla="*/ 1550448 h 1715383"/>
                <a:gd name="connsiteX775" fmla="*/ 4548522 w 8734227"/>
                <a:gd name="connsiteY775" fmla="*/ 153677 h 1715383"/>
                <a:gd name="connsiteX776" fmla="*/ 5691386 w 8734227"/>
                <a:gd name="connsiteY776" fmla="*/ 137045 h 1715383"/>
                <a:gd name="connsiteX777" fmla="*/ 7813595 w 8734227"/>
                <a:gd name="connsiteY777" fmla="*/ 137045 h 1715383"/>
                <a:gd name="connsiteX778" fmla="*/ 7907603 w 8734227"/>
                <a:gd name="connsiteY778" fmla="*/ 231053 h 1715383"/>
                <a:gd name="connsiteX779" fmla="*/ 7907603 w 8734227"/>
                <a:gd name="connsiteY779" fmla="*/ 1620364 h 1715383"/>
                <a:gd name="connsiteX780" fmla="*/ 7813595 w 8734227"/>
                <a:gd name="connsiteY780" fmla="*/ 1714372 h 1715383"/>
                <a:gd name="connsiteX781" fmla="*/ 5691386 w 8734227"/>
                <a:gd name="connsiteY781" fmla="*/ 1714372 h 1715383"/>
                <a:gd name="connsiteX782" fmla="*/ 5597378 w 8734227"/>
                <a:gd name="connsiteY782" fmla="*/ 1620364 h 1715383"/>
                <a:gd name="connsiteX783" fmla="*/ 5597378 w 8734227"/>
                <a:gd name="connsiteY783" fmla="*/ 231053 h 1715383"/>
                <a:gd name="connsiteX784" fmla="*/ 5691386 w 8734227"/>
                <a:gd name="connsiteY784" fmla="*/ 137045 h 1715383"/>
                <a:gd name="connsiteX785" fmla="*/ 3445917 w 8734227"/>
                <a:gd name="connsiteY785" fmla="*/ 0 h 1715383"/>
                <a:gd name="connsiteX786" fmla="*/ 4609525 w 8734227"/>
                <a:gd name="connsiteY786" fmla="*/ 0 h 1715383"/>
                <a:gd name="connsiteX787" fmla="*/ 4697076 w 8734227"/>
                <a:gd name="connsiteY787" fmla="*/ 87551 h 1715383"/>
                <a:gd name="connsiteX788" fmla="*/ 4697076 w 8734227"/>
                <a:gd name="connsiteY788" fmla="*/ 1626821 h 1715383"/>
                <a:gd name="connsiteX789" fmla="*/ 4609525 w 8734227"/>
                <a:gd name="connsiteY789" fmla="*/ 1714372 h 1715383"/>
                <a:gd name="connsiteX790" fmla="*/ 3445917 w 8734227"/>
                <a:gd name="connsiteY790" fmla="*/ 1714372 h 1715383"/>
                <a:gd name="connsiteX791" fmla="*/ 3358365 w 8734227"/>
                <a:gd name="connsiteY791" fmla="*/ 1626821 h 1715383"/>
                <a:gd name="connsiteX792" fmla="*/ 3358365 w 8734227"/>
                <a:gd name="connsiteY792" fmla="*/ 87551 h 1715383"/>
                <a:gd name="connsiteX793" fmla="*/ 3445917 w 8734227"/>
                <a:gd name="connsiteY793" fmla="*/ 0 h 1715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Lst>
              <a:rect l="l" t="t" r="r" b="b"/>
              <a:pathLst>
                <a:path w="8734227" h="1715383">
                  <a:moveTo>
                    <a:pt x="1152413" y="1636663"/>
                  </a:moveTo>
                  <a:lnTo>
                    <a:pt x="1152413" y="1663491"/>
                  </a:lnTo>
                  <a:lnTo>
                    <a:pt x="1188645" y="1668494"/>
                  </a:lnTo>
                  <a:cubicBezTo>
                    <a:pt x="1188629" y="1657883"/>
                    <a:pt x="1188610" y="1647273"/>
                    <a:pt x="1188591" y="1636663"/>
                  </a:cubicBezTo>
                  <a:close/>
                  <a:moveTo>
                    <a:pt x="1121597" y="1636663"/>
                  </a:moveTo>
                  <a:cubicBezTo>
                    <a:pt x="1121579" y="1646324"/>
                    <a:pt x="1121565" y="1655665"/>
                    <a:pt x="1121599" y="1659239"/>
                  </a:cubicBezTo>
                  <a:lnTo>
                    <a:pt x="1149027" y="1663024"/>
                  </a:lnTo>
                  <a:lnTo>
                    <a:pt x="1149027" y="1636663"/>
                  </a:lnTo>
                  <a:close/>
                  <a:moveTo>
                    <a:pt x="5975882" y="1616729"/>
                  </a:moveTo>
                  <a:lnTo>
                    <a:pt x="5975882" y="1629353"/>
                  </a:lnTo>
                  <a:lnTo>
                    <a:pt x="6053370" y="1629353"/>
                  </a:lnTo>
                  <a:lnTo>
                    <a:pt x="6053370" y="1616729"/>
                  </a:lnTo>
                  <a:close/>
                  <a:moveTo>
                    <a:pt x="8268937" y="1608864"/>
                  </a:moveTo>
                  <a:lnTo>
                    <a:pt x="8268937" y="1614441"/>
                  </a:lnTo>
                  <a:lnTo>
                    <a:pt x="8303165" y="1614441"/>
                  </a:lnTo>
                  <a:lnTo>
                    <a:pt x="8303165" y="1608864"/>
                  </a:lnTo>
                  <a:close/>
                  <a:moveTo>
                    <a:pt x="1149027" y="1606864"/>
                  </a:moveTo>
                  <a:lnTo>
                    <a:pt x="1121599" y="1610703"/>
                  </a:lnTo>
                  <a:cubicBezTo>
                    <a:pt x="1121635" y="1614275"/>
                    <a:pt x="1121621" y="1623618"/>
                    <a:pt x="1121602" y="1633277"/>
                  </a:cubicBezTo>
                  <a:lnTo>
                    <a:pt x="1149027" y="1633277"/>
                  </a:lnTo>
                  <a:close/>
                  <a:moveTo>
                    <a:pt x="4027721" y="1601447"/>
                  </a:moveTo>
                  <a:cubicBezTo>
                    <a:pt x="4005255" y="1601447"/>
                    <a:pt x="3987043" y="1619659"/>
                    <a:pt x="3987043" y="1642124"/>
                  </a:cubicBezTo>
                  <a:cubicBezTo>
                    <a:pt x="3987043" y="1664589"/>
                    <a:pt x="4005255" y="1682801"/>
                    <a:pt x="4027721" y="1682801"/>
                  </a:cubicBezTo>
                  <a:cubicBezTo>
                    <a:pt x="4050186" y="1682801"/>
                    <a:pt x="4068398" y="1664589"/>
                    <a:pt x="4068398" y="1642124"/>
                  </a:cubicBezTo>
                  <a:cubicBezTo>
                    <a:pt x="4068398" y="1619659"/>
                    <a:pt x="4050186" y="1601447"/>
                    <a:pt x="4027721" y="1601447"/>
                  </a:cubicBezTo>
                  <a:close/>
                  <a:moveTo>
                    <a:pt x="1188532" y="1601335"/>
                  </a:moveTo>
                  <a:lnTo>
                    <a:pt x="1152413" y="1606390"/>
                  </a:lnTo>
                  <a:lnTo>
                    <a:pt x="1152413" y="1633277"/>
                  </a:lnTo>
                  <a:lnTo>
                    <a:pt x="1188586" y="1633277"/>
                  </a:lnTo>
                  <a:close/>
                  <a:moveTo>
                    <a:pt x="8268937" y="1596942"/>
                  </a:moveTo>
                  <a:lnTo>
                    <a:pt x="8268937" y="1602519"/>
                  </a:lnTo>
                  <a:lnTo>
                    <a:pt x="8303165" y="1602519"/>
                  </a:lnTo>
                  <a:lnTo>
                    <a:pt x="8303165" y="1596942"/>
                  </a:lnTo>
                  <a:close/>
                  <a:moveTo>
                    <a:pt x="2818847" y="1594679"/>
                  </a:moveTo>
                  <a:lnTo>
                    <a:pt x="2818847" y="1625793"/>
                  </a:lnTo>
                  <a:lnTo>
                    <a:pt x="2860864" y="1631591"/>
                  </a:lnTo>
                  <a:cubicBezTo>
                    <a:pt x="2860844" y="1619288"/>
                    <a:pt x="2860823" y="1606986"/>
                    <a:pt x="2860802" y="1594679"/>
                  </a:cubicBezTo>
                  <a:close/>
                  <a:moveTo>
                    <a:pt x="2783108" y="1594679"/>
                  </a:moveTo>
                  <a:lnTo>
                    <a:pt x="2783110" y="1620860"/>
                  </a:lnTo>
                  <a:lnTo>
                    <a:pt x="2814919" y="1625251"/>
                  </a:lnTo>
                  <a:lnTo>
                    <a:pt x="2814919" y="1594679"/>
                  </a:lnTo>
                  <a:close/>
                  <a:moveTo>
                    <a:pt x="8460169" y="1594535"/>
                  </a:moveTo>
                  <a:lnTo>
                    <a:pt x="8460169" y="1609826"/>
                  </a:lnTo>
                  <a:lnTo>
                    <a:pt x="8439786" y="1609826"/>
                  </a:lnTo>
                  <a:lnTo>
                    <a:pt x="8439786" y="1595380"/>
                  </a:lnTo>
                  <a:lnTo>
                    <a:pt x="8435075" y="1600091"/>
                  </a:lnTo>
                  <a:lnTo>
                    <a:pt x="8435075" y="1614633"/>
                  </a:lnTo>
                  <a:lnTo>
                    <a:pt x="8464880" y="1614633"/>
                  </a:lnTo>
                  <a:lnTo>
                    <a:pt x="8464880" y="1599246"/>
                  </a:lnTo>
                  <a:close/>
                  <a:moveTo>
                    <a:pt x="6240640" y="1591376"/>
                  </a:moveTo>
                  <a:lnTo>
                    <a:pt x="6240640" y="1624080"/>
                  </a:lnTo>
                  <a:lnTo>
                    <a:pt x="6197045" y="1624080"/>
                  </a:lnTo>
                  <a:lnTo>
                    <a:pt x="6197045" y="1593184"/>
                  </a:lnTo>
                  <a:lnTo>
                    <a:pt x="6186968" y="1603261"/>
                  </a:lnTo>
                  <a:lnTo>
                    <a:pt x="6186968" y="1634363"/>
                  </a:lnTo>
                  <a:lnTo>
                    <a:pt x="6250715" y="1634363"/>
                  </a:lnTo>
                  <a:lnTo>
                    <a:pt x="6250715" y="1601453"/>
                  </a:lnTo>
                  <a:close/>
                  <a:moveTo>
                    <a:pt x="5975882" y="1589739"/>
                  </a:moveTo>
                  <a:lnTo>
                    <a:pt x="5975882" y="1602364"/>
                  </a:lnTo>
                  <a:lnTo>
                    <a:pt x="6053370" y="1602364"/>
                  </a:lnTo>
                  <a:lnTo>
                    <a:pt x="6053370" y="1589739"/>
                  </a:lnTo>
                  <a:close/>
                  <a:moveTo>
                    <a:pt x="8268937" y="1585020"/>
                  </a:moveTo>
                  <a:lnTo>
                    <a:pt x="8268937" y="1590597"/>
                  </a:lnTo>
                  <a:lnTo>
                    <a:pt x="8303165" y="1590597"/>
                  </a:lnTo>
                  <a:lnTo>
                    <a:pt x="8303165" y="1585020"/>
                  </a:lnTo>
                  <a:close/>
                  <a:moveTo>
                    <a:pt x="8612398" y="1579252"/>
                  </a:moveTo>
                  <a:cubicBezTo>
                    <a:pt x="8617655" y="1579252"/>
                    <a:pt x="8621916" y="1583513"/>
                    <a:pt x="8621916" y="1588770"/>
                  </a:cubicBezTo>
                  <a:cubicBezTo>
                    <a:pt x="8621916" y="1594027"/>
                    <a:pt x="8617655" y="1598288"/>
                    <a:pt x="8612398" y="1598288"/>
                  </a:cubicBezTo>
                  <a:cubicBezTo>
                    <a:pt x="8607141" y="1598288"/>
                    <a:pt x="8602879" y="1594027"/>
                    <a:pt x="8602880" y="1588770"/>
                  </a:cubicBezTo>
                  <a:cubicBezTo>
                    <a:pt x="8602879" y="1583513"/>
                    <a:pt x="8607141" y="1579252"/>
                    <a:pt x="8612398" y="1579252"/>
                  </a:cubicBezTo>
                  <a:close/>
                  <a:moveTo>
                    <a:pt x="8612398" y="1573932"/>
                  </a:moveTo>
                  <a:cubicBezTo>
                    <a:pt x="8604203" y="1573932"/>
                    <a:pt x="8597559" y="1580575"/>
                    <a:pt x="8597559" y="1588770"/>
                  </a:cubicBezTo>
                  <a:cubicBezTo>
                    <a:pt x="8597559" y="1596965"/>
                    <a:pt x="8604203" y="1603608"/>
                    <a:pt x="8612398" y="1603608"/>
                  </a:cubicBezTo>
                  <a:cubicBezTo>
                    <a:pt x="8615668" y="1603608"/>
                    <a:pt x="8618691" y="1602551"/>
                    <a:pt x="8620988" y="1600545"/>
                  </a:cubicBezTo>
                  <a:lnTo>
                    <a:pt x="8633111" y="1612668"/>
                  </a:lnTo>
                  <a:lnTo>
                    <a:pt x="8636873" y="1608907"/>
                  </a:lnTo>
                  <a:lnTo>
                    <a:pt x="8624637" y="1596671"/>
                  </a:lnTo>
                  <a:cubicBezTo>
                    <a:pt x="8626365" y="1594500"/>
                    <a:pt x="8627236" y="1591737"/>
                    <a:pt x="8627236" y="1588770"/>
                  </a:cubicBezTo>
                  <a:cubicBezTo>
                    <a:pt x="8627236" y="1580575"/>
                    <a:pt x="8620593" y="1573932"/>
                    <a:pt x="8612398" y="1573932"/>
                  </a:cubicBezTo>
                  <a:close/>
                  <a:moveTo>
                    <a:pt x="8104689" y="1573371"/>
                  </a:moveTo>
                  <a:lnTo>
                    <a:pt x="8094578" y="1583482"/>
                  </a:lnTo>
                  <a:lnTo>
                    <a:pt x="8104865" y="1593770"/>
                  </a:lnTo>
                  <a:lnTo>
                    <a:pt x="8112479" y="1593770"/>
                  </a:lnTo>
                  <a:lnTo>
                    <a:pt x="8104788" y="1586078"/>
                  </a:lnTo>
                  <a:lnTo>
                    <a:pt x="8117510" y="1586078"/>
                  </a:lnTo>
                  <a:cubicBezTo>
                    <a:pt x="8123935" y="1586078"/>
                    <a:pt x="8129144" y="1591287"/>
                    <a:pt x="8129144" y="1597712"/>
                  </a:cubicBezTo>
                  <a:cubicBezTo>
                    <a:pt x="8129144" y="1604137"/>
                    <a:pt x="8123935" y="1609345"/>
                    <a:pt x="8117510" y="1609345"/>
                  </a:cubicBezTo>
                  <a:lnTo>
                    <a:pt x="8101646" y="1609345"/>
                  </a:lnTo>
                  <a:lnTo>
                    <a:pt x="8101646" y="1614633"/>
                  </a:lnTo>
                  <a:lnTo>
                    <a:pt x="8118183" y="1614633"/>
                  </a:lnTo>
                  <a:cubicBezTo>
                    <a:pt x="8127528" y="1614633"/>
                    <a:pt x="8135104" y="1607057"/>
                    <a:pt x="8135104" y="1597711"/>
                  </a:cubicBezTo>
                  <a:cubicBezTo>
                    <a:pt x="8135104" y="1588366"/>
                    <a:pt x="8127528" y="1580790"/>
                    <a:pt x="8118183" y="1580790"/>
                  </a:cubicBezTo>
                  <a:lnTo>
                    <a:pt x="8104884" y="1580790"/>
                  </a:lnTo>
                  <a:lnTo>
                    <a:pt x="8112303" y="1573371"/>
                  </a:lnTo>
                  <a:close/>
                  <a:moveTo>
                    <a:pt x="8255477" y="1573098"/>
                  </a:moveTo>
                  <a:lnTo>
                    <a:pt x="8255477" y="1578675"/>
                  </a:lnTo>
                  <a:lnTo>
                    <a:pt x="8303165" y="1578675"/>
                  </a:lnTo>
                  <a:lnTo>
                    <a:pt x="8303165" y="1573098"/>
                  </a:lnTo>
                  <a:close/>
                  <a:moveTo>
                    <a:pt x="8450362" y="1572906"/>
                  </a:moveTo>
                  <a:lnTo>
                    <a:pt x="8439786" y="1583482"/>
                  </a:lnTo>
                  <a:lnTo>
                    <a:pt x="8439786" y="1583447"/>
                  </a:lnTo>
                  <a:lnTo>
                    <a:pt x="8435075" y="1588158"/>
                  </a:lnTo>
                  <a:lnTo>
                    <a:pt x="8435075" y="1588193"/>
                  </a:lnTo>
                  <a:lnTo>
                    <a:pt x="8425148" y="1598120"/>
                  </a:lnTo>
                  <a:lnTo>
                    <a:pt x="8429121" y="1602092"/>
                  </a:lnTo>
                  <a:lnTo>
                    <a:pt x="8450362" y="1580852"/>
                  </a:lnTo>
                  <a:lnTo>
                    <a:pt x="8450418" y="1580908"/>
                  </a:lnTo>
                  <a:lnTo>
                    <a:pt x="8450438" y="1580888"/>
                  </a:lnTo>
                  <a:lnTo>
                    <a:pt x="8471671" y="1602122"/>
                  </a:lnTo>
                  <a:lnTo>
                    <a:pt x="8475624" y="1598168"/>
                  </a:lnTo>
                  <a:lnTo>
                    <a:pt x="8464880" y="1587424"/>
                  </a:lnTo>
                  <a:lnTo>
                    <a:pt x="8464880" y="1574444"/>
                  </a:lnTo>
                  <a:lnTo>
                    <a:pt x="8460169" y="1574444"/>
                  </a:lnTo>
                  <a:lnTo>
                    <a:pt x="8460169" y="1582713"/>
                  </a:lnTo>
                  <a:close/>
                  <a:moveTo>
                    <a:pt x="3085285" y="1568490"/>
                  </a:moveTo>
                  <a:cubicBezTo>
                    <a:pt x="3094821" y="1568490"/>
                    <a:pt x="3102553" y="1576222"/>
                    <a:pt x="3102553" y="1585759"/>
                  </a:cubicBezTo>
                  <a:cubicBezTo>
                    <a:pt x="3102553" y="1595295"/>
                    <a:pt x="3094821" y="1603029"/>
                    <a:pt x="3085285" y="1603029"/>
                  </a:cubicBezTo>
                  <a:cubicBezTo>
                    <a:pt x="3075745" y="1603029"/>
                    <a:pt x="3068014" y="1595295"/>
                    <a:pt x="3068014" y="1585759"/>
                  </a:cubicBezTo>
                  <a:cubicBezTo>
                    <a:pt x="3068014" y="1576222"/>
                    <a:pt x="3075745" y="1568490"/>
                    <a:pt x="3085285" y="1568490"/>
                  </a:cubicBezTo>
                  <a:close/>
                  <a:moveTo>
                    <a:pt x="5975882" y="1562748"/>
                  </a:moveTo>
                  <a:lnTo>
                    <a:pt x="5975882" y="1575374"/>
                  </a:lnTo>
                  <a:lnTo>
                    <a:pt x="6053370" y="1575374"/>
                  </a:lnTo>
                  <a:lnTo>
                    <a:pt x="6053370" y="1562748"/>
                  </a:lnTo>
                  <a:close/>
                  <a:moveTo>
                    <a:pt x="2566537" y="1561821"/>
                  </a:moveTo>
                  <a:lnTo>
                    <a:pt x="2541313" y="1590869"/>
                  </a:lnTo>
                  <a:lnTo>
                    <a:pt x="2566537" y="1621153"/>
                  </a:lnTo>
                  <a:lnTo>
                    <a:pt x="2582362" y="1621153"/>
                  </a:lnTo>
                  <a:lnTo>
                    <a:pt x="2563569" y="1598903"/>
                  </a:lnTo>
                  <a:lnTo>
                    <a:pt x="2606103" y="1598903"/>
                  </a:lnTo>
                  <a:lnTo>
                    <a:pt x="2606103" y="1583453"/>
                  </a:lnTo>
                  <a:lnTo>
                    <a:pt x="2563569" y="1583453"/>
                  </a:lnTo>
                  <a:lnTo>
                    <a:pt x="2582362" y="1561821"/>
                  </a:lnTo>
                  <a:close/>
                  <a:moveTo>
                    <a:pt x="2814919" y="1560122"/>
                  </a:moveTo>
                  <a:lnTo>
                    <a:pt x="2783110" y="1564573"/>
                  </a:lnTo>
                  <a:cubicBezTo>
                    <a:pt x="2783153" y="1568719"/>
                    <a:pt x="2783136" y="1579552"/>
                    <a:pt x="2783116" y="1590755"/>
                  </a:cubicBezTo>
                  <a:lnTo>
                    <a:pt x="2814919" y="1590755"/>
                  </a:lnTo>
                  <a:close/>
                  <a:moveTo>
                    <a:pt x="3085194" y="1559855"/>
                  </a:moveTo>
                  <a:cubicBezTo>
                    <a:pt x="3070889" y="1559855"/>
                    <a:pt x="3059291" y="1571452"/>
                    <a:pt x="3059291" y="1585759"/>
                  </a:cubicBezTo>
                  <a:cubicBezTo>
                    <a:pt x="3059291" y="1590148"/>
                    <a:pt x="3060382" y="1594283"/>
                    <a:pt x="3062416" y="1597850"/>
                  </a:cubicBezTo>
                  <a:lnTo>
                    <a:pt x="3038712" y="1621553"/>
                  </a:lnTo>
                  <a:cubicBezTo>
                    <a:pt x="3037588" y="1622676"/>
                    <a:pt x="3037588" y="1624498"/>
                    <a:pt x="3038712" y="1625623"/>
                  </a:cubicBezTo>
                  <a:lnTo>
                    <a:pt x="3046852" y="1633764"/>
                  </a:lnTo>
                  <a:cubicBezTo>
                    <a:pt x="3047978" y="1634888"/>
                    <a:pt x="3049799" y="1634888"/>
                    <a:pt x="3050925" y="1633764"/>
                  </a:cubicBezTo>
                  <a:lnTo>
                    <a:pt x="3075079" y="1609610"/>
                  </a:lnTo>
                  <a:cubicBezTo>
                    <a:pt x="3078186" y="1610931"/>
                    <a:pt x="3081604" y="1611663"/>
                    <a:pt x="3085194" y="1611663"/>
                  </a:cubicBezTo>
                  <a:cubicBezTo>
                    <a:pt x="3099501" y="1611663"/>
                    <a:pt x="3111099" y="1600065"/>
                    <a:pt x="3111099" y="1585759"/>
                  </a:cubicBezTo>
                  <a:cubicBezTo>
                    <a:pt x="3111099" y="1571452"/>
                    <a:pt x="3099501" y="1559855"/>
                    <a:pt x="3085194" y="1559855"/>
                  </a:cubicBezTo>
                  <a:close/>
                  <a:moveTo>
                    <a:pt x="2860734" y="1553710"/>
                  </a:moveTo>
                  <a:lnTo>
                    <a:pt x="2818847" y="1559572"/>
                  </a:lnTo>
                  <a:lnTo>
                    <a:pt x="2818847" y="1590755"/>
                  </a:lnTo>
                  <a:lnTo>
                    <a:pt x="2860797" y="1590755"/>
                  </a:lnTo>
                  <a:close/>
                  <a:moveTo>
                    <a:pt x="6408449" y="1550368"/>
                  </a:moveTo>
                  <a:cubicBezTo>
                    <a:pt x="6422885" y="1550368"/>
                    <a:pt x="6434588" y="1562071"/>
                    <a:pt x="6434588" y="1576506"/>
                  </a:cubicBezTo>
                  <a:cubicBezTo>
                    <a:pt x="6434588" y="1590942"/>
                    <a:pt x="6422885" y="1602645"/>
                    <a:pt x="6408449" y="1602645"/>
                  </a:cubicBezTo>
                  <a:cubicBezTo>
                    <a:pt x="6394014" y="1602645"/>
                    <a:pt x="6382311" y="1590942"/>
                    <a:pt x="6382311" y="1576506"/>
                  </a:cubicBezTo>
                  <a:cubicBezTo>
                    <a:pt x="6382311" y="1562071"/>
                    <a:pt x="6394014" y="1550368"/>
                    <a:pt x="6408449" y="1550368"/>
                  </a:cubicBezTo>
                  <a:close/>
                  <a:moveTo>
                    <a:pt x="6219663" y="1545115"/>
                  </a:moveTo>
                  <a:lnTo>
                    <a:pt x="6197045" y="1567734"/>
                  </a:lnTo>
                  <a:lnTo>
                    <a:pt x="6197045" y="1567661"/>
                  </a:lnTo>
                  <a:lnTo>
                    <a:pt x="6186968" y="1577738"/>
                  </a:lnTo>
                  <a:lnTo>
                    <a:pt x="6186968" y="1577811"/>
                  </a:lnTo>
                  <a:lnTo>
                    <a:pt x="6165737" y="1599043"/>
                  </a:lnTo>
                  <a:lnTo>
                    <a:pt x="6174233" y="1607540"/>
                  </a:lnTo>
                  <a:lnTo>
                    <a:pt x="6219663" y="1562110"/>
                  </a:lnTo>
                  <a:lnTo>
                    <a:pt x="6219784" y="1562231"/>
                  </a:lnTo>
                  <a:lnTo>
                    <a:pt x="6219828" y="1562188"/>
                  </a:lnTo>
                  <a:lnTo>
                    <a:pt x="6265241" y="1607603"/>
                  </a:lnTo>
                  <a:lnTo>
                    <a:pt x="6273696" y="1599147"/>
                  </a:lnTo>
                  <a:lnTo>
                    <a:pt x="6250715" y="1576167"/>
                  </a:lnTo>
                  <a:lnTo>
                    <a:pt x="6250715" y="1548405"/>
                  </a:lnTo>
                  <a:lnTo>
                    <a:pt x="6240640" y="1548405"/>
                  </a:lnTo>
                  <a:lnTo>
                    <a:pt x="6240640" y="1566092"/>
                  </a:lnTo>
                  <a:close/>
                  <a:moveTo>
                    <a:pt x="6408449" y="1535759"/>
                  </a:moveTo>
                  <a:cubicBezTo>
                    <a:pt x="6385946" y="1535759"/>
                    <a:pt x="6367702" y="1554003"/>
                    <a:pt x="6367702" y="1576506"/>
                  </a:cubicBezTo>
                  <a:cubicBezTo>
                    <a:pt x="6367702" y="1599011"/>
                    <a:pt x="6385946" y="1617255"/>
                    <a:pt x="6408449" y="1617255"/>
                  </a:cubicBezTo>
                  <a:cubicBezTo>
                    <a:pt x="6417430" y="1617255"/>
                    <a:pt x="6425732" y="1614350"/>
                    <a:pt x="6432040" y="1608842"/>
                  </a:cubicBezTo>
                  <a:lnTo>
                    <a:pt x="6465332" y="1642134"/>
                  </a:lnTo>
                  <a:lnTo>
                    <a:pt x="6475661" y="1631804"/>
                  </a:lnTo>
                  <a:lnTo>
                    <a:pt x="6442062" y="1598203"/>
                  </a:lnTo>
                  <a:cubicBezTo>
                    <a:pt x="6446807" y="1592243"/>
                    <a:pt x="6449198" y="1584655"/>
                    <a:pt x="6449198" y="1576506"/>
                  </a:cubicBezTo>
                  <a:cubicBezTo>
                    <a:pt x="6449198" y="1554003"/>
                    <a:pt x="6430954" y="1535759"/>
                    <a:pt x="6408449" y="1535759"/>
                  </a:cubicBezTo>
                  <a:close/>
                  <a:moveTo>
                    <a:pt x="5945410" y="1535759"/>
                  </a:moveTo>
                  <a:lnTo>
                    <a:pt x="5945410" y="1548383"/>
                  </a:lnTo>
                  <a:lnTo>
                    <a:pt x="6053370" y="1548383"/>
                  </a:lnTo>
                  <a:lnTo>
                    <a:pt x="6053370" y="1535759"/>
                  </a:lnTo>
                  <a:close/>
                  <a:moveTo>
                    <a:pt x="5791471" y="1535759"/>
                  </a:moveTo>
                  <a:lnTo>
                    <a:pt x="5765016" y="1562214"/>
                  </a:lnTo>
                  <a:lnTo>
                    <a:pt x="5791932" y="1589132"/>
                  </a:lnTo>
                  <a:lnTo>
                    <a:pt x="5811855" y="1589132"/>
                  </a:lnTo>
                  <a:lnTo>
                    <a:pt x="5791731" y="1569006"/>
                  </a:lnTo>
                  <a:lnTo>
                    <a:pt x="5825016" y="1569006"/>
                  </a:lnTo>
                  <a:cubicBezTo>
                    <a:pt x="5841827" y="1569006"/>
                    <a:pt x="5855455" y="1582634"/>
                    <a:pt x="5855455" y="1599445"/>
                  </a:cubicBezTo>
                  <a:cubicBezTo>
                    <a:pt x="5855455" y="1616255"/>
                    <a:pt x="5841827" y="1629884"/>
                    <a:pt x="5825016" y="1629884"/>
                  </a:cubicBezTo>
                  <a:lnTo>
                    <a:pt x="5783509" y="1629884"/>
                  </a:lnTo>
                  <a:lnTo>
                    <a:pt x="5783509" y="1643718"/>
                  </a:lnTo>
                  <a:lnTo>
                    <a:pt x="5826777" y="1643718"/>
                  </a:lnTo>
                  <a:cubicBezTo>
                    <a:pt x="5851228" y="1643718"/>
                    <a:pt x="5871050" y="1623897"/>
                    <a:pt x="5871050" y="1599445"/>
                  </a:cubicBezTo>
                  <a:cubicBezTo>
                    <a:pt x="5871050" y="1574993"/>
                    <a:pt x="5851228" y="1555170"/>
                    <a:pt x="5826777" y="1555170"/>
                  </a:cubicBezTo>
                  <a:lnTo>
                    <a:pt x="5791982" y="1555170"/>
                  </a:lnTo>
                  <a:lnTo>
                    <a:pt x="5811394" y="1535759"/>
                  </a:lnTo>
                  <a:close/>
                  <a:moveTo>
                    <a:pt x="5136541" y="1520601"/>
                  </a:moveTo>
                  <a:cubicBezTo>
                    <a:pt x="5097616" y="1520601"/>
                    <a:pt x="5066061" y="1552156"/>
                    <a:pt x="5066061" y="1591081"/>
                  </a:cubicBezTo>
                  <a:cubicBezTo>
                    <a:pt x="5066061" y="1630006"/>
                    <a:pt x="5097616" y="1661562"/>
                    <a:pt x="5136541" y="1661562"/>
                  </a:cubicBezTo>
                  <a:cubicBezTo>
                    <a:pt x="5175466" y="1661562"/>
                    <a:pt x="5207022" y="1630006"/>
                    <a:pt x="5207022" y="1591081"/>
                  </a:cubicBezTo>
                  <a:cubicBezTo>
                    <a:pt x="5207022" y="1552156"/>
                    <a:pt x="5175466" y="1520601"/>
                    <a:pt x="5136541" y="1520601"/>
                  </a:cubicBezTo>
                  <a:close/>
                  <a:moveTo>
                    <a:pt x="2804155" y="1019973"/>
                  </a:moveTo>
                  <a:lnTo>
                    <a:pt x="3072374" y="1019973"/>
                  </a:lnTo>
                  <a:cubicBezTo>
                    <a:pt x="3072507" y="1098634"/>
                    <a:pt x="3072639" y="1177294"/>
                    <a:pt x="3072771" y="1255954"/>
                  </a:cubicBezTo>
                  <a:lnTo>
                    <a:pt x="2804155" y="1218873"/>
                  </a:lnTo>
                  <a:close/>
                  <a:moveTo>
                    <a:pt x="2575684" y="1019973"/>
                  </a:moveTo>
                  <a:lnTo>
                    <a:pt x="2779051" y="1019973"/>
                  </a:lnTo>
                  <a:lnTo>
                    <a:pt x="2779051" y="1215407"/>
                  </a:lnTo>
                  <a:lnTo>
                    <a:pt x="2575706" y="1187336"/>
                  </a:lnTo>
                  <a:cubicBezTo>
                    <a:pt x="2575443" y="1160848"/>
                    <a:pt x="2575553" y="1091590"/>
                    <a:pt x="2575684" y="1019973"/>
                  </a:cubicBezTo>
                  <a:close/>
                  <a:moveTo>
                    <a:pt x="1127626" y="1017379"/>
                  </a:moveTo>
                  <a:lnTo>
                    <a:pt x="1496190" y="1017379"/>
                  </a:lnTo>
                  <a:cubicBezTo>
                    <a:pt x="1496372" y="1125468"/>
                    <a:pt x="1496554" y="1233556"/>
                    <a:pt x="1496735" y="1341644"/>
                  </a:cubicBezTo>
                  <a:lnTo>
                    <a:pt x="1127626" y="1290690"/>
                  </a:lnTo>
                  <a:close/>
                  <a:moveTo>
                    <a:pt x="813680" y="1017379"/>
                  </a:moveTo>
                  <a:lnTo>
                    <a:pt x="1093130" y="1017379"/>
                  </a:lnTo>
                  <a:lnTo>
                    <a:pt x="1093130" y="1285928"/>
                  </a:lnTo>
                  <a:lnTo>
                    <a:pt x="813711" y="1247355"/>
                  </a:lnTo>
                  <a:cubicBezTo>
                    <a:pt x="813348" y="1210958"/>
                    <a:pt x="813500" y="1115789"/>
                    <a:pt x="813680" y="1017379"/>
                  </a:cubicBezTo>
                  <a:close/>
                  <a:moveTo>
                    <a:pt x="8200722" y="882974"/>
                  </a:moveTo>
                  <a:lnTo>
                    <a:pt x="8221059" y="882974"/>
                  </a:lnTo>
                  <a:lnTo>
                    <a:pt x="8511008" y="882974"/>
                  </a:lnTo>
                  <a:lnTo>
                    <a:pt x="8531346" y="882974"/>
                  </a:lnTo>
                  <a:lnTo>
                    <a:pt x="8531346" y="1018677"/>
                  </a:lnTo>
                  <a:lnTo>
                    <a:pt x="8530729" y="1018677"/>
                  </a:lnTo>
                  <a:lnTo>
                    <a:pt x="8530729" y="1161453"/>
                  </a:lnTo>
                  <a:lnTo>
                    <a:pt x="8529496" y="1167628"/>
                  </a:lnTo>
                  <a:lnTo>
                    <a:pt x="8527031" y="1173185"/>
                  </a:lnTo>
                  <a:lnTo>
                    <a:pt x="8522717" y="1177508"/>
                  </a:lnTo>
                  <a:lnTo>
                    <a:pt x="8517171" y="1180286"/>
                  </a:lnTo>
                  <a:lnTo>
                    <a:pt x="8511008" y="1181521"/>
                  </a:lnTo>
                  <a:lnTo>
                    <a:pt x="8468428" y="1181521"/>
                  </a:lnTo>
                  <a:lnTo>
                    <a:pt x="8468428" y="1268851"/>
                  </a:lnTo>
                  <a:lnTo>
                    <a:pt x="8467189" y="1277782"/>
                  </a:lnTo>
                  <a:lnTo>
                    <a:pt x="8463782" y="1286098"/>
                  </a:lnTo>
                  <a:lnTo>
                    <a:pt x="8458516" y="1293182"/>
                  </a:lnTo>
                  <a:lnTo>
                    <a:pt x="8451391" y="1299034"/>
                  </a:lnTo>
                  <a:lnTo>
                    <a:pt x="8443027" y="1302422"/>
                  </a:lnTo>
                  <a:lnTo>
                    <a:pt x="8433424" y="1303654"/>
                  </a:lnTo>
                  <a:lnTo>
                    <a:pt x="8424131" y="1302422"/>
                  </a:lnTo>
                  <a:lnTo>
                    <a:pt x="8415767" y="1299034"/>
                  </a:lnTo>
                  <a:lnTo>
                    <a:pt x="8408642" y="1293182"/>
                  </a:lnTo>
                  <a:lnTo>
                    <a:pt x="8403066" y="1286098"/>
                  </a:lnTo>
                  <a:lnTo>
                    <a:pt x="8399349" y="1277782"/>
                  </a:lnTo>
                  <a:lnTo>
                    <a:pt x="8398109" y="1268851"/>
                  </a:lnTo>
                  <a:lnTo>
                    <a:pt x="8398109" y="1181521"/>
                  </a:lnTo>
                  <a:lnTo>
                    <a:pt x="8332725" y="1181521"/>
                  </a:lnTo>
                  <a:lnTo>
                    <a:pt x="8332725" y="1268851"/>
                  </a:lnTo>
                  <a:lnTo>
                    <a:pt x="8331196" y="1277782"/>
                  </a:lnTo>
                  <a:lnTo>
                    <a:pt x="8328139" y="1286098"/>
                  </a:lnTo>
                  <a:lnTo>
                    <a:pt x="8322636" y="1293182"/>
                  </a:lnTo>
                  <a:lnTo>
                    <a:pt x="8315605" y="1299034"/>
                  </a:lnTo>
                  <a:lnTo>
                    <a:pt x="8307351" y="1302422"/>
                  </a:lnTo>
                  <a:lnTo>
                    <a:pt x="8297874" y="1303654"/>
                  </a:lnTo>
                  <a:lnTo>
                    <a:pt x="8288702" y="1302422"/>
                  </a:lnTo>
                  <a:lnTo>
                    <a:pt x="8280448" y="1299034"/>
                  </a:lnTo>
                  <a:lnTo>
                    <a:pt x="8273417" y="1293182"/>
                  </a:lnTo>
                  <a:lnTo>
                    <a:pt x="8267914" y="1286098"/>
                  </a:lnTo>
                  <a:lnTo>
                    <a:pt x="8264245" y="1277782"/>
                  </a:lnTo>
                  <a:lnTo>
                    <a:pt x="8263023" y="1268851"/>
                  </a:lnTo>
                  <a:lnTo>
                    <a:pt x="8263023" y="1181521"/>
                  </a:lnTo>
                  <a:lnTo>
                    <a:pt x="8221059" y="1181521"/>
                  </a:lnTo>
                  <a:lnTo>
                    <a:pt x="8214589" y="1180286"/>
                  </a:lnTo>
                  <a:lnTo>
                    <a:pt x="8209350" y="1177508"/>
                  </a:lnTo>
                  <a:lnTo>
                    <a:pt x="8205037" y="1173185"/>
                  </a:lnTo>
                  <a:lnTo>
                    <a:pt x="8202263" y="1167628"/>
                  </a:lnTo>
                  <a:lnTo>
                    <a:pt x="8201339" y="1161453"/>
                  </a:lnTo>
                  <a:lnTo>
                    <a:pt x="8201339" y="1018677"/>
                  </a:lnTo>
                  <a:lnTo>
                    <a:pt x="8200722" y="1018677"/>
                  </a:lnTo>
                  <a:close/>
                  <a:moveTo>
                    <a:pt x="5227484" y="878578"/>
                  </a:moveTo>
                  <a:cubicBezTo>
                    <a:pt x="5296602" y="878578"/>
                    <a:pt x="5323885" y="928253"/>
                    <a:pt x="5323885" y="928253"/>
                  </a:cubicBezTo>
                  <a:cubicBezTo>
                    <a:pt x="5323885" y="928253"/>
                    <a:pt x="5270531" y="955850"/>
                    <a:pt x="5270531" y="1022696"/>
                  </a:cubicBezTo>
                  <a:cubicBezTo>
                    <a:pt x="5270531" y="1098128"/>
                    <a:pt x="5337223" y="1123886"/>
                    <a:pt x="5337223" y="1123886"/>
                  </a:cubicBezTo>
                  <a:cubicBezTo>
                    <a:pt x="5337223" y="1123886"/>
                    <a:pt x="5290539" y="1255739"/>
                    <a:pt x="5228091" y="1255739"/>
                  </a:cubicBezTo>
                  <a:cubicBezTo>
                    <a:pt x="5199595" y="1255739"/>
                    <a:pt x="5177162" y="1236114"/>
                    <a:pt x="5146848" y="1236114"/>
                  </a:cubicBezTo>
                  <a:cubicBezTo>
                    <a:pt x="5115927" y="1236114"/>
                    <a:pt x="5085006" y="1256965"/>
                    <a:pt x="5064998" y="1256965"/>
                  </a:cubicBezTo>
                  <a:cubicBezTo>
                    <a:pt x="5008007" y="1256965"/>
                    <a:pt x="4935858" y="1131858"/>
                    <a:pt x="4935858" y="1031282"/>
                  </a:cubicBezTo>
                  <a:cubicBezTo>
                    <a:pt x="4935858" y="931932"/>
                    <a:pt x="4997094" y="879805"/>
                    <a:pt x="5054085" y="879805"/>
                  </a:cubicBezTo>
                  <a:cubicBezTo>
                    <a:pt x="5091675" y="879805"/>
                    <a:pt x="5120777" y="901882"/>
                    <a:pt x="5140179" y="901882"/>
                  </a:cubicBezTo>
                  <a:cubicBezTo>
                    <a:pt x="5156548" y="901882"/>
                    <a:pt x="5187469" y="878578"/>
                    <a:pt x="5227484" y="878578"/>
                  </a:cubicBezTo>
                  <a:close/>
                  <a:moveTo>
                    <a:pt x="8583622" y="871871"/>
                  </a:moveTo>
                  <a:lnTo>
                    <a:pt x="8592915" y="873105"/>
                  </a:lnTo>
                  <a:lnTo>
                    <a:pt x="8601898" y="876806"/>
                  </a:lnTo>
                  <a:lnTo>
                    <a:pt x="8609023" y="882357"/>
                  </a:lnTo>
                  <a:lnTo>
                    <a:pt x="8614289" y="889451"/>
                  </a:lnTo>
                  <a:lnTo>
                    <a:pt x="8617697" y="897778"/>
                  </a:lnTo>
                  <a:lnTo>
                    <a:pt x="8618936" y="907339"/>
                  </a:lnTo>
                  <a:lnTo>
                    <a:pt x="8618936" y="1064631"/>
                  </a:lnTo>
                  <a:lnTo>
                    <a:pt x="8617697" y="1073884"/>
                  </a:lnTo>
                  <a:lnTo>
                    <a:pt x="8614289" y="1082520"/>
                  </a:lnTo>
                  <a:lnTo>
                    <a:pt x="8609023" y="1089613"/>
                  </a:lnTo>
                  <a:lnTo>
                    <a:pt x="8601898" y="1095165"/>
                  </a:lnTo>
                  <a:lnTo>
                    <a:pt x="8592915" y="1098249"/>
                  </a:lnTo>
                  <a:lnTo>
                    <a:pt x="8583622" y="1099482"/>
                  </a:lnTo>
                  <a:lnTo>
                    <a:pt x="8574638" y="1098249"/>
                  </a:lnTo>
                  <a:lnTo>
                    <a:pt x="8566274" y="1095165"/>
                  </a:lnTo>
                  <a:lnTo>
                    <a:pt x="8559149" y="1089613"/>
                  </a:lnTo>
                  <a:lnTo>
                    <a:pt x="8553264" y="1082520"/>
                  </a:lnTo>
                  <a:lnTo>
                    <a:pt x="8549856" y="1073884"/>
                  </a:lnTo>
                  <a:lnTo>
                    <a:pt x="8548617" y="1064631"/>
                  </a:lnTo>
                  <a:lnTo>
                    <a:pt x="8548617" y="907339"/>
                  </a:lnTo>
                  <a:lnTo>
                    <a:pt x="8549856" y="897778"/>
                  </a:lnTo>
                  <a:lnTo>
                    <a:pt x="8553264" y="889451"/>
                  </a:lnTo>
                  <a:lnTo>
                    <a:pt x="8559149" y="882357"/>
                  </a:lnTo>
                  <a:lnTo>
                    <a:pt x="8566274" y="876806"/>
                  </a:lnTo>
                  <a:lnTo>
                    <a:pt x="8574638" y="873105"/>
                  </a:lnTo>
                  <a:close/>
                  <a:moveTo>
                    <a:pt x="8147521" y="871871"/>
                  </a:moveTo>
                  <a:lnTo>
                    <a:pt x="8157040" y="873105"/>
                  </a:lnTo>
                  <a:lnTo>
                    <a:pt x="8165331" y="876806"/>
                  </a:lnTo>
                  <a:lnTo>
                    <a:pt x="8172394" y="882357"/>
                  </a:lnTo>
                  <a:lnTo>
                    <a:pt x="8177921" y="889451"/>
                  </a:lnTo>
                  <a:lnTo>
                    <a:pt x="8181606" y="897778"/>
                  </a:lnTo>
                  <a:lnTo>
                    <a:pt x="8182834" y="907339"/>
                  </a:lnTo>
                  <a:lnTo>
                    <a:pt x="8182834" y="1064631"/>
                  </a:lnTo>
                  <a:lnTo>
                    <a:pt x="8181606" y="1073884"/>
                  </a:lnTo>
                  <a:lnTo>
                    <a:pt x="8177921" y="1082520"/>
                  </a:lnTo>
                  <a:lnTo>
                    <a:pt x="8172394" y="1089613"/>
                  </a:lnTo>
                  <a:lnTo>
                    <a:pt x="8165331" y="1095165"/>
                  </a:lnTo>
                  <a:lnTo>
                    <a:pt x="8157040" y="1098249"/>
                  </a:lnTo>
                  <a:lnTo>
                    <a:pt x="8147521" y="1099482"/>
                  </a:lnTo>
                  <a:lnTo>
                    <a:pt x="8138309" y="1098249"/>
                  </a:lnTo>
                  <a:lnTo>
                    <a:pt x="8130018" y="1095165"/>
                  </a:lnTo>
                  <a:lnTo>
                    <a:pt x="8122956" y="1089613"/>
                  </a:lnTo>
                  <a:lnTo>
                    <a:pt x="8117428" y="1082520"/>
                  </a:lnTo>
                  <a:lnTo>
                    <a:pt x="8113743" y="1073884"/>
                  </a:lnTo>
                  <a:lnTo>
                    <a:pt x="8112515" y="1064631"/>
                  </a:lnTo>
                  <a:lnTo>
                    <a:pt x="8112515" y="907339"/>
                  </a:lnTo>
                  <a:lnTo>
                    <a:pt x="8113743" y="897778"/>
                  </a:lnTo>
                  <a:lnTo>
                    <a:pt x="8117428" y="889451"/>
                  </a:lnTo>
                  <a:lnTo>
                    <a:pt x="8122956" y="882357"/>
                  </a:lnTo>
                  <a:lnTo>
                    <a:pt x="8130018" y="876806"/>
                  </a:lnTo>
                  <a:lnTo>
                    <a:pt x="8138309" y="873105"/>
                  </a:lnTo>
                  <a:close/>
                  <a:moveTo>
                    <a:pt x="2779051" y="799046"/>
                  </a:moveTo>
                  <a:lnTo>
                    <a:pt x="2779051" y="994869"/>
                  </a:lnTo>
                  <a:lnTo>
                    <a:pt x="2575728" y="994869"/>
                  </a:lnTo>
                  <a:cubicBezTo>
                    <a:pt x="2575859" y="923253"/>
                    <a:pt x="2575969" y="853994"/>
                    <a:pt x="2575706" y="827507"/>
                  </a:cubicBezTo>
                  <a:close/>
                  <a:moveTo>
                    <a:pt x="6545761" y="779646"/>
                  </a:moveTo>
                  <a:lnTo>
                    <a:pt x="6571241" y="779646"/>
                  </a:lnTo>
                  <a:lnTo>
                    <a:pt x="6934512" y="779646"/>
                  </a:lnTo>
                  <a:lnTo>
                    <a:pt x="6959993" y="779646"/>
                  </a:lnTo>
                  <a:lnTo>
                    <a:pt x="6959993" y="949666"/>
                  </a:lnTo>
                  <a:lnTo>
                    <a:pt x="6959220" y="949666"/>
                  </a:lnTo>
                  <a:lnTo>
                    <a:pt x="6959220" y="1128547"/>
                  </a:lnTo>
                  <a:lnTo>
                    <a:pt x="6957675" y="1136283"/>
                  </a:lnTo>
                  <a:lnTo>
                    <a:pt x="6954587" y="1143246"/>
                  </a:lnTo>
                  <a:lnTo>
                    <a:pt x="6949182" y="1148661"/>
                  </a:lnTo>
                  <a:lnTo>
                    <a:pt x="6942234" y="1152143"/>
                  </a:lnTo>
                  <a:lnTo>
                    <a:pt x="6934512" y="1153690"/>
                  </a:lnTo>
                  <a:lnTo>
                    <a:pt x="6881165" y="1153690"/>
                  </a:lnTo>
                  <a:lnTo>
                    <a:pt x="6881165" y="1263103"/>
                  </a:lnTo>
                  <a:lnTo>
                    <a:pt x="6879613" y="1274294"/>
                  </a:lnTo>
                  <a:lnTo>
                    <a:pt x="6875343" y="1284713"/>
                  </a:lnTo>
                  <a:lnTo>
                    <a:pt x="6868745" y="1293588"/>
                  </a:lnTo>
                  <a:lnTo>
                    <a:pt x="6859819" y="1300920"/>
                  </a:lnTo>
                  <a:lnTo>
                    <a:pt x="6849340" y="1305165"/>
                  </a:lnTo>
                  <a:lnTo>
                    <a:pt x="6837308" y="1306708"/>
                  </a:lnTo>
                  <a:lnTo>
                    <a:pt x="6825665" y="1305165"/>
                  </a:lnTo>
                  <a:lnTo>
                    <a:pt x="6815186" y="1300920"/>
                  </a:lnTo>
                  <a:lnTo>
                    <a:pt x="6806259" y="1293588"/>
                  </a:lnTo>
                  <a:lnTo>
                    <a:pt x="6799273" y="1284713"/>
                  </a:lnTo>
                  <a:lnTo>
                    <a:pt x="6794616" y="1274294"/>
                  </a:lnTo>
                  <a:lnTo>
                    <a:pt x="6793064" y="1263103"/>
                  </a:lnTo>
                  <a:lnTo>
                    <a:pt x="6793064" y="1153690"/>
                  </a:lnTo>
                  <a:lnTo>
                    <a:pt x="6711145" y="1153690"/>
                  </a:lnTo>
                  <a:lnTo>
                    <a:pt x="6711145" y="1263103"/>
                  </a:lnTo>
                  <a:lnTo>
                    <a:pt x="6709230" y="1274294"/>
                  </a:lnTo>
                  <a:lnTo>
                    <a:pt x="6705399" y="1284713"/>
                  </a:lnTo>
                  <a:lnTo>
                    <a:pt x="6698505" y="1293588"/>
                  </a:lnTo>
                  <a:lnTo>
                    <a:pt x="6689696" y="1300920"/>
                  </a:lnTo>
                  <a:lnTo>
                    <a:pt x="6679354" y="1305165"/>
                  </a:lnTo>
                  <a:lnTo>
                    <a:pt x="6667480" y="1306708"/>
                  </a:lnTo>
                  <a:lnTo>
                    <a:pt x="6655990" y="1305165"/>
                  </a:lnTo>
                  <a:lnTo>
                    <a:pt x="6645648" y="1300920"/>
                  </a:lnTo>
                  <a:lnTo>
                    <a:pt x="6636839" y="1293588"/>
                  </a:lnTo>
                  <a:lnTo>
                    <a:pt x="6629944" y="1284713"/>
                  </a:lnTo>
                  <a:lnTo>
                    <a:pt x="6625348" y="1274294"/>
                  </a:lnTo>
                  <a:lnTo>
                    <a:pt x="6623816" y="1263103"/>
                  </a:lnTo>
                  <a:lnTo>
                    <a:pt x="6623816" y="1153690"/>
                  </a:lnTo>
                  <a:lnTo>
                    <a:pt x="6571241" y="1153690"/>
                  </a:lnTo>
                  <a:lnTo>
                    <a:pt x="6563134" y="1152143"/>
                  </a:lnTo>
                  <a:lnTo>
                    <a:pt x="6556571" y="1148661"/>
                  </a:lnTo>
                  <a:lnTo>
                    <a:pt x="6551167" y="1143246"/>
                  </a:lnTo>
                  <a:lnTo>
                    <a:pt x="6547692" y="1136283"/>
                  </a:lnTo>
                  <a:lnTo>
                    <a:pt x="6546534" y="1128547"/>
                  </a:lnTo>
                  <a:lnTo>
                    <a:pt x="6546534" y="949666"/>
                  </a:lnTo>
                  <a:lnTo>
                    <a:pt x="6545761" y="949666"/>
                  </a:lnTo>
                  <a:close/>
                  <a:moveTo>
                    <a:pt x="8437587" y="772562"/>
                  </a:moveTo>
                  <a:lnTo>
                    <a:pt x="8431419" y="774092"/>
                  </a:lnTo>
                  <a:lnTo>
                    <a:pt x="8425867" y="776846"/>
                  </a:lnTo>
                  <a:lnTo>
                    <a:pt x="8421858" y="780824"/>
                  </a:lnTo>
                  <a:lnTo>
                    <a:pt x="8418774" y="786333"/>
                  </a:lnTo>
                  <a:lnTo>
                    <a:pt x="8417848" y="792453"/>
                  </a:lnTo>
                  <a:lnTo>
                    <a:pt x="8418774" y="798880"/>
                  </a:lnTo>
                  <a:lnTo>
                    <a:pt x="8421858" y="804083"/>
                  </a:lnTo>
                  <a:lnTo>
                    <a:pt x="8425867" y="808367"/>
                  </a:lnTo>
                  <a:lnTo>
                    <a:pt x="8431419" y="811121"/>
                  </a:lnTo>
                  <a:lnTo>
                    <a:pt x="8437587" y="812039"/>
                  </a:lnTo>
                  <a:lnTo>
                    <a:pt x="8443755" y="811121"/>
                  </a:lnTo>
                  <a:lnTo>
                    <a:pt x="8449307" y="808367"/>
                  </a:lnTo>
                  <a:lnTo>
                    <a:pt x="8453316" y="804083"/>
                  </a:lnTo>
                  <a:lnTo>
                    <a:pt x="8456401" y="798880"/>
                  </a:lnTo>
                  <a:lnTo>
                    <a:pt x="8457326" y="792453"/>
                  </a:lnTo>
                  <a:lnTo>
                    <a:pt x="8456401" y="786333"/>
                  </a:lnTo>
                  <a:lnTo>
                    <a:pt x="8453316" y="780824"/>
                  </a:lnTo>
                  <a:lnTo>
                    <a:pt x="8449307" y="776846"/>
                  </a:lnTo>
                  <a:lnTo>
                    <a:pt x="8443755" y="774092"/>
                  </a:lnTo>
                  <a:close/>
                  <a:moveTo>
                    <a:pt x="8293556" y="772562"/>
                  </a:moveTo>
                  <a:lnTo>
                    <a:pt x="8287388" y="774092"/>
                  </a:lnTo>
                  <a:lnTo>
                    <a:pt x="8281836" y="776846"/>
                  </a:lnTo>
                  <a:lnTo>
                    <a:pt x="8277827" y="780824"/>
                  </a:lnTo>
                  <a:lnTo>
                    <a:pt x="8275360" y="786333"/>
                  </a:lnTo>
                  <a:lnTo>
                    <a:pt x="8274126" y="792453"/>
                  </a:lnTo>
                  <a:lnTo>
                    <a:pt x="8275360" y="798880"/>
                  </a:lnTo>
                  <a:lnTo>
                    <a:pt x="8277827" y="804083"/>
                  </a:lnTo>
                  <a:lnTo>
                    <a:pt x="8281836" y="808367"/>
                  </a:lnTo>
                  <a:lnTo>
                    <a:pt x="8287388" y="811121"/>
                  </a:lnTo>
                  <a:lnTo>
                    <a:pt x="8293556" y="812039"/>
                  </a:lnTo>
                  <a:lnTo>
                    <a:pt x="8300033" y="811121"/>
                  </a:lnTo>
                  <a:lnTo>
                    <a:pt x="8305276" y="808367"/>
                  </a:lnTo>
                  <a:lnTo>
                    <a:pt x="8309902" y="804083"/>
                  </a:lnTo>
                  <a:lnTo>
                    <a:pt x="8312370" y="798880"/>
                  </a:lnTo>
                  <a:lnTo>
                    <a:pt x="8313603" y="792453"/>
                  </a:lnTo>
                  <a:lnTo>
                    <a:pt x="8312370" y="786333"/>
                  </a:lnTo>
                  <a:lnTo>
                    <a:pt x="8309902" y="780824"/>
                  </a:lnTo>
                  <a:lnTo>
                    <a:pt x="8305276" y="776846"/>
                  </a:lnTo>
                  <a:lnTo>
                    <a:pt x="8300033" y="774092"/>
                  </a:lnTo>
                  <a:close/>
                  <a:moveTo>
                    <a:pt x="7025488" y="765735"/>
                  </a:moveTo>
                  <a:lnTo>
                    <a:pt x="7037131" y="767281"/>
                  </a:lnTo>
                  <a:lnTo>
                    <a:pt x="7048387" y="771918"/>
                  </a:lnTo>
                  <a:lnTo>
                    <a:pt x="7057313" y="778873"/>
                  </a:lnTo>
                  <a:lnTo>
                    <a:pt x="7063911" y="787761"/>
                  </a:lnTo>
                  <a:lnTo>
                    <a:pt x="7068181" y="798193"/>
                  </a:lnTo>
                  <a:lnTo>
                    <a:pt x="7069733" y="810172"/>
                  </a:lnTo>
                  <a:lnTo>
                    <a:pt x="7069733" y="1007241"/>
                  </a:lnTo>
                  <a:lnTo>
                    <a:pt x="7068181" y="1018833"/>
                  </a:lnTo>
                  <a:lnTo>
                    <a:pt x="7063911" y="1029653"/>
                  </a:lnTo>
                  <a:lnTo>
                    <a:pt x="7057313" y="1038540"/>
                  </a:lnTo>
                  <a:lnTo>
                    <a:pt x="7048387" y="1045496"/>
                  </a:lnTo>
                  <a:lnTo>
                    <a:pt x="7037131" y="1049360"/>
                  </a:lnTo>
                  <a:lnTo>
                    <a:pt x="7025488" y="1050905"/>
                  </a:lnTo>
                  <a:lnTo>
                    <a:pt x="7014233" y="1049360"/>
                  </a:lnTo>
                  <a:lnTo>
                    <a:pt x="7003754" y="1045496"/>
                  </a:lnTo>
                  <a:lnTo>
                    <a:pt x="6994827" y="1038540"/>
                  </a:lnTo>
                  <a:lnTo>
                    <a:pt x="6987453" y="1029653"/>
                  </a:lnTo>
                  <a:lnTo>
                    <a:pt x="6983184" y="1018833"/>
                  </a:lnTo>
                  <a:lnTo>
                    <a:pt x="6981632" y="1007241"/>
                  </a:lnTo>
                  <a:lnTo>
                    <a:pt x="6981632" y="810172"/>
                  </a:lnTo>
                  <a:lnTo>
                    <a:pt x="6983184" y="798193"/>
                  </a:lnTo>
                  <a:lnTo>
                    <a:pt x="6987453" y="787761"/>
                  </a:lnTo>
                  <a:lnTo>
                    <a:pt x="6994827" y="778873"/>
                  </a:lnTo>
                  <a:lnTo>
                    <a:pt x="7003754" y="771918"/>
                  </a:lnTo>
                  <a:lnTo>
                    <a:pt x="7014233" y="767281"/>
                  </a:lnTo>
                  <a:close/>
                  <a:moveTo>
                    <a:pt x="6479106" y="765735"/>
                  </a:moveTo>
                  <a:lnTo>
                    <a:pt x="6491033" y="767281"/>
                  </a:lnTo>
                  <a:lnTo>
                    <a:pt x="6501421" y="771918"/>
                  </a:lnTo>
                  <a:lnTo>
                    <a:pt x="6510269" y="778873"/>
                  </a:lnTo>
                  <a:lnTo>
                    <a:pt x="6517194" y="787761"/>
                  </a:lnTo>
                  <a:lnTo>
                    <a:pt x="6521811" y="798193"/>
                  </a:lnTo>
                  <a:lnTo>
                    <a:pt x="6523349" y="810172"/>
                  </a:lnTo>
                  <a:lnTo>
                    <a:pt x="6523349" y="1007241"/>
                  </a:lnTo>
                  <a:lnTo>
                    <a:pt x="6521811" y="1018833"/>
                  </a:lnTo>
                  <a:lnTo>
                    <a:pt x="6517194" y="1029653"/>
                  </a:lnTo>
                  <a:lnTo>
                    <a:pt x="6510269" y="1038540"/>
                  </a:lnTo>
                  <a:lnTo>
                    <a:pt x="6501421" y="1045496"/>
                  </a:lnTo>
                  <a:lnTo>
                    <a:pt x="6491033" y="1049360"/>
                  </a:lnTo>
                  <a:lnTo>
                    <a:pt x="6479106" y="1050905"/>
                  </a:lnTo>
                  <a:lnTo>
                    <a:pt x="6467565" y="1049360"/>
                  </a:lnTo>
                  <a:lnTo>
                    <a:pt x="6457177" y="1045496"/>
                  </a:lnTo>
                  <a:lnTo>
                    <a:pt x="6448329" y="1038540"/>
                  </a:lnTo>
                  <a:lnTo>
                    <a:pt x="6441404" y="1029653"/>
                  </a:lnTo>
                  <a:lnTo>
                    <a:pt x="6436787" y="1018833"/>
                  </a:lnTo>
                  <a:lnTo>
                    <a:pt x="6435248" y="1007241"/>
                  </a:lnTo>
                  <a:lnTo>
                    <a:pt x="6435248" y="810172"/>
                  </a:lnTo>
                  <a:lnTo>
                    <a:pt x="6436787" y="798193"/>
                  </a:lnTo>
                  <a:lnTo>
                    <a:pt x="6441404" y="787761"/>
                  </a:lnTo>
                  <a:lnTo>
                    <a:pt x="6448329" y="778873"/>
                  </a:lnTo>
                  <a:lnTo>
                    <a:pt x="6457177" y="771918"/>
                  </a:lnTo>
                  <a:lnTo>
                    <a:pt x="6467565" y="767281"/>
                  </a:lnTo>
                  <a:close/>
                  <a:moveTo>
                    <a:pt x="5234778" y="759063"/>
                  </a:moveTo>
                  <a:cubicBezTo>
                    <a:pt x="5234778" y="759063"/>
                    <a:pt x="5241447" y="799517"/>
                    <a:pt x="5209318" y="838744"/>
                  </a:cubicBezTo>
                  <a:cubicBezTo>
                    <a:pt x="5174764" y="880424"/>
                    <a:pt x="5135967" y="873682"/>
                    <a:pt x="5135967" y="873682"/>
                  </a:cubicBezTo>
                  <a:cubicBezTo>
                    <a:pt x="5135967" y="873682"/>
                    <a:pt x="5128693" y="840583"/>
                    <a:pt x="5157184" y="802581"/>
                  </a:cubicBezTo>
                  <a:cubicBezTo>
                    <a:pt x="5189313" y="759063"/>
                    <a:pt x="5234778" y="759063"/>
                    <a:pt x="5234778" y="759063"/>
                  </a:cubicBezTo>
                  <a:close/>
                  <a:moveTo>
                    <a:pt x="3071934" y="758052"/>
                  </a:moveTo>
                  <a:lnTo>
                    <a:pt x="3072332" y="994869"/>
                  </a:lnTo>
                  <a:lnTo>
                    <a:pt x="2804155" y="994869"/>
                  </a:lnTo>
                  <a:lnTo>
                    <a:pt x="2804155" y="795532"/>
                  </a:lnTo>
                  <a:close/>
                  <a:moveTo>
                    <a:pt x="1093130" y="713799"/>
                  </a:moveTo>
                  <a:lnTo>
                    <a:pt x="1093130" y="982883"/>
                  </a:lnTo>
                  <a:lnTo>
                    <a:pt x="813740" y="982883"/>
                  </a:lnTo>
                  <a:cubicBezTo>
                    <a:pt x="813921" y="884474"/>
                    <a:pt x="814072" y="789305"/>
                    <a:pt x="813710" y="752908"/>
                  </a:cubicBezTo>
                  <a:close/>
                  <a:moveTo>
                    <a:pt x="8262676" y="695457"/>
                  </a:moveTo>
                  <a:lnTo>
                    <a:pt x="8263593" y="695770"/>
                  </a:lnTo>
                  <a:lnTo>
                    <a:pt x="8263899" y="695770"/>
                  </a:lnTo>
                  <a:lnTo>
                    <a:pt x="8292641" y="737285"/>
                  </a:lnTo>
                  <a:lnTo>
                    <a:pt x="8297874" y="735220"/>
                  </a:lnTo>
                  <a:lnTo>
                    <a:pt x="8312986" y="730912"/>
                  </a:lnTo>
                  <a:lnTo>
                    <a:pt x="8328715" y="727527"/>
                  </a:lnTo>
                  <a:lnTo>
                    <a:pt x="8346604" y="725681"/>
                  </a:lnTo>
                  <a:lnTo>
                    <a:pt x="8365726" y="725065"/>
                  </a:lnTo>
                  <a:lnTo>
                    <a:pt x="8385465" y="725988"/>
                  </a:lnTo>
                  <a:lnTo>
                    <a:pt x="8403661" y="728142"/>
                  </a:lnTo>
                  <a:lnTo>
                    <a:pt x="8420624" y="731835"/>
                  </a:lnTo>
                  <a:lnTo>
                    <a:pt x="8435428" y="736451"/>
                  </a:lnTo>
                  <a:lnTo>
                    <a:pt x="8438249" y="737667"/>
                  </a:lnTo>
                  <a:lnTo>
                    <a:pt x="8467449" y="695770"/>
                  </a:lnTo>
                  <a:lnTo>
                    <a:pt x="8468071" y="695770"/>
                  </a:lnTo>
                  <a:lnTo>
                    <a:pt x="8468693" y="695457"/>
                  </a:lnTo>
                  <a:lnTo>
                    <a:pt x="8469626" y="695770"/>
                  </a:lnTo>
                  <a:lnTo>
                    <a:pt x="8470870" y="695770"/>
                  </a:lnTo>
                  <a:lnTo>
                    <a:pt x="8471803" y="696707"/>
                  </a:lnTo>
                  <a:lnTo>
                    <a:pt x="8472736" y="697332"/>
                  </a:lnTo>
                  <a:lnTo>
                    <a:pt x="8473358" y="698268"/>
                  </a:lnTo>
                  <a:lnTo>
                    <a:pt x="8473980" y="699518"/>
                  </a:lnTo>
                  <a:lnTo>
                    <a:pt x="8473358" y="700143"/>
                  </a:lnTo>
                  <a:lnTo>
                    <a:pt x="8445137" y="740635"/>
                  </a:lnTo>
                  <a:lnTo>
                    <a:pt x="8448998" y="742298"/>
                  </a:lnTo>
                  <a:lnTo>
                    <a:pt x="8461335" y="748760"/>
                  </a:lnTo>
                  <a:lnTo>
                    <a:pt x="8472129" y="755838"/>
                  </a:lnTo>
                  <a:lnTo>
                    <a:pt x="8481691" y="763839"/>
                  </a:lnTo>
                  <a:lnTo>
                    <a:pt x="8490018" y="772456"/>
                  </a:lnTo>
                  <a:lnTo>
                    <a:pt x="8497728" y="781072"/>
                  </a:lnTo>
                  <a:lnTo>
                    <a:pt x="8504205" y="789997"/>
                  </a:lnTo>
                  <a:lnTo>
                    <a:pt x="8509757" y="799229"/>
                  </a:lnTo>
                  <a:lnTo>
                    <a:pt x="8514383" y="808153"/>
                  </a:lnTo>
                  <a:lnTo>
                    <a:pt x="8518084" y="817077"/>
                  </a:lnTo>
                  <a:lnTo>
                    <a:pt x="8521477" y="825386"/>
                  </a:lnTo>
                  <a:lnTo>
                    <a:pt x="8523944" y="833079"/>
                  </a:lnTo>
                  <a:lnTo>
                    <a:pt x="8526103" y="840773"/>
                  </a:lnTo>
                  <a:lnTo>
                    <a:pt x="8527336" y="846927"/>
                  </a:lnTo>
                  <a:lnTo>
                    <a:pt x="8528262" y="852774"/>
                  </a:lnTo>
                  <a:lnTo>
                    <a:pt x="8528879" y="857390"/>
                  </a:lnTo>
                  <a:lnTo>
                    <a:pt x="8529495" y="861083"/>
                  </a:lnTo>
                  <a:lnTo>
                    <a:pt x="8529495" y="862929"/>
                  </a:lnTo>
                  <a:lnTo>
                    <a:pt x="8529495" y="863853"/>
                  </a:lnTo>
                  <a:lnTo>
                    <a:pt x="8201956" y="863853"/>
                  </a:lnTo>
                  <a:lnTo>
                    <a:pt x="8201956" y="862929"/>
                  </a:lnTo>
                  <a:lnTo>
                    <a:pt x="8201956" y="861083"/>
                  </a:lnTo>
                  <a:lnTo>
                    <a:pt x="8202265" y="857698"/>
                  </a:lnTo>
                  <a:lnTo>
                    <a:pt x="8203190" y="853390"/>
                  </a:lnTo>
                  <a:lnTo>
                    <a:pt x="8204115" y="848158"/>
                  </a:lnTo>
                  <a:lnTo>
                    <a:pt x="8204732" y="842004"/>
                  </a:lnTo>
                  <a:lnTo>
                    <a:pt x="8206582" y="835233"/>
                  </a:lnTo>
                  <a:lnTo>
                    <a:pt x="8209050" y="827848"/>
                  </a:lnTo>
                  <a:lnTo>
                    <a:pt x="8211517" y="819847"/>
                  </a:lnTo>
                  <a:lnTo>
                    <a:pt x="8214910" y="811538"/>
                  </a:lnTo>
                  <a:lnTo>
                    <a:pt x="8218919" y="802922"/>
                  </a:lnTo>
                  <a:lnTo>
                    <a:pt x="8223546" y="793997"/>
                  </a:lnTo>
                  <a:lnTo>
                    <a:pt x="8229405" y="785688"/>
                  </a:lnTo>
                  <a:lnTo>
                    <a:pt x="8236190" y="777072"/>
                  </a:lnTo>
                  <a:lnTo>
                    <a:pt x="8243592" y="768763"/>
                  </a:lnTo>
                  <a:lnTo>
                    <a:pt x="8251920" y="760762"/>
                  </a:lnTo>
                  <a:lnTo>
                    <a:pt x="8261481" y="753376"/>
                  </a:lnTo>
                  <a:lnTo>
                    <a:pt x="8272275" y="746606"/>
                  </a:lnTo>
                  <a:lnTo>
                    <a:pt x="8284612" y="740452"/>
                  </a:lnTo>
                  <a:lnTo>
                    <a:pt x="8285699" y="740023"/>
                  </a:lnTo>
                  <a:lnTo>
                    <a:pt x="8258088" y="700143"/>
                  </a:lnTo>
                  <a:lnTo>
                    <a:pt x="8258088" y="699518"/>
                  </a:lnTo>
                  <a:lnTo>
                    <a:pt x="8258088" y="698268"/>
                  </a:lnTo>
                  <a:lnTo>
                    <a:pt x="8259006" y="697332"/>
                  </a:lnTo>
                  <a:lnTo>
                    <a:pt x="8260229" y="696707"/>
                  </a:lnTo>
                  <a:lnTo>
                    <a:pt x="8260841" y="695770"/>
                  </a:lnTo>
                  <a:lnTo>
                    <a:pt x="8261758" y="695770"/>
                  </a:lnTo>
                  <a:close/>
                  <a:moveTo>
                    <a:pt x="1495584" y="657469"/>
                  </a:moveTo>
                  <a:lnTo>
                    <a:pt x="1496132" y="982883"/>
                  </a:lnTo>
                  <a:lnTo>
                    <a:pt x="1127626" y="982883"/>
                  </a:lnTo>
                  <a:lnTo>
                    <a:pt x="1127626" y="708970"/>
                  </a:lnTo>
                  <a:close/>
                  <a:moveTo>
                    <a:pt x="4171486" y="652571"/>
                  </a:moveTo>
                  <a:cubicBezTo>
                    <a:pt x="4280748" y="652571"/>
                    <a:pt x="4323878" y="731098"/>
                    <a:pt x="4323878" y="731098"/>
                  </a:cubicBezTo>
                  <a:cubicBezTo>
                    <a:pt x="4323878" y="731098"/>
                    <a:pt x="4239535" y="774724"/>
                    <a:pt x="4239535" y="880396"/>
                  </a:cubicBezTo>
                  <a:cubicBezTo>
                    <a:pt x="4239535" y="999640"/>
                    <a:pt x="4344963" y="1040357"/>
                    <a:pt x="4344963" y="1040357"/>
                  </a:cubicBezTo>
                  <a:cubicBezTo>
                    <a:pt x="4344963" y="1040357"/>
                    <a:pt x="4271164" y="1248792"/>
                    <a:pt x="4172445" y="1248792"/>
                  </a:cubicBezTo>
                  <a:cubicBezTo>
                    <a:pt x="4127398" y="1248792"/>
                    <a:pt x="4091936" y="1217769"/>
                    <a:pt x="4044015" y="1217769"/>
                  </a:cubicBezTo>
                  <a:cubicBezTo>
                    <a:pt x="3995134" y="1217769"/>
                    <a:pt x="3946254" y="1250731"/>
                    <a:pt x="3914626" y="1250731"/>
                  </a:cubicBezTo>
                  <a:cubicBezTo>
                    <a:pt x="3824533" y="1250731"/>
                    <a:pt x="3710479" y="1052960"/>
                    <a:pt x="3710479" y="893968"/>
                  </a:cubicBezTo>
                  <a:cubicBezTo>
                    <a:pt x="3710479" y="736915"/>
                    <a:pt x="3807281" y="654510"/>
                    <a:pt x="3897374" y="654510"/>
                  </a:cubicBezTo>
                  <a:cubicBezTo>
                    <a:pt x="3956797" y="654510"/>
                    <a:pt x="4002802" y="689411"/>
                    <a:pt x="4033472" y="689411"/>
                  </a:cubicBezTo>
                  <a:cubicBezTo>
                    <a:pt x="4059350" y="689411"/>
                    <a:pt x="4108230" y="652571"/>
                    <a:pt x="4171486" y="652571"/>
                  </a:cubicBezTo>
                  <a:close/>
                  <a:moveTo>
                    <a:pt x="6842525" y="641312"/>
                  </a:moveTo>
                  <a:lnTo>
                    <a:pt x="6834796" y="643229"/>
                  </a:lnTo>
                  <a:lnTo>
                    <a:pt x="6827841" y="646680"/>
                  </a:lnTo>
                  <a:lnTo>
                    <a:pt x="6822818" y="651664"/>
                  </a:lnTo>
                  <a:lnTo>
                    <a:pt x="6818953" y="658566"/>
                  </a:lnTo>
                  <a:lnTo>
                    <a:pt x="6817794" y="666234"/>
                  </a:lnTo>
                  <a:lnTo>
                    <a:pt x="6818953" y="674286"/>
                  </a:lnTo>
                  <a:lnTo>
                    <a:pt x="6822818" y="680804"/>
                  </a:lnTo>
                  <a:lnTo>
                    <a:pt x="6827841" y="686172"/>
                  </a:lnTo>
                  <a:lnTo>
                    <a:pt x="6834796" y="689622"/>
                  </a:lnTo>
                  <a:lnTo>
                    <a:pt x="6842525" y="690772"/>
                  </a:lnTo>
                  <a:lnTo>
                    <a:pt x="6850253" y="689622"/>
                  </a:lnTo>
                  <a:lnTo>
                    <a:pt x="6857208" y="686172"/>
                  </a:lnTo>
                  <a:lnTo>
                    <a:pt x="6862231" y="680804"/>
                  </a:lnTo>
                  <a:lnTo>
                    <a:pt x="6866096" y="674286"/>
                  </a:lnTo>
                  <a:lnTo>
                    <a:pt x="6867255" y="666234"/>
                  </a:lnTo>
                  <a:lnTo>
                    <a:pt x="6866096" y="658566"/>
                  </a:lnTo>
                  <a:lnTo>
                    <a:pt x="6862231" y="651664"/>
                  </a:lnTo>
                  <a:lnTo>
                    <a:pt x="6857208" y="646680"/>
                  </a:lnTo>
                  <a:lnTo>
                    <a:pt x="6850253" y="643229"/>
                  </a:lnTo>
                  <a:close/>
                  <a:moveTo>
                    <a:pt x="6662071" y="641312"/>
                  </a:moveTo>
                  <a:lnTo>
                    <a:pt x="6654343" y="643229"/>
                  </a:lnTo>
                  <a:lnTo>
                    <a:pt x="6647388" y="646680"/>
                  </a:lnTo>
                  <a:lnTo>
                    <a:pt x="6642364" y="651664"/>
                  </a:lnTo>
                  <a:lnTo>
                    <a:pt x="6639273" y="658566"/>
                  </a:lnTo>
                  <a:lnTo>
                    <a:pt x="6637727" y="666234"/>
                  </a:lnTo>
                  <a:lnTo>
                    <a:pt x="6639273" y="674286"/>
                  </a:lnTo>
                  <a:lnTo>
                    <a:pt x="6642364" y="680804"/>
                  </a:lnTo>
                  <a:lnTo>
                    <a:pt x="6647388" y="686172"/>
                  </a:lnTo>
                  <a:lnTo>
                    <a:pt x="6654343" y="689622"/>
                  </a:lnTo>
                  <a:lnTo>
                    <a:pt x="6662071" y="690772"/>
                  </a:lnTo>
                  <a:lnTo>
                    <a:pt x="6670186" y="689622"/>
                  </a:lnTo>
                  <a:lnTo>
                    <a:pt x="6676755" y="686172"/>
                  </a:lnTo>
                  <a:lnTo>
                    <a:pt x="6682551" y="680804"/>
                  </a:lnTo>
                  <a:lnTo>
                    <a:pt x="6685642" y="674286"/>
                  </a:lnTo>
                  <a:lnTo>
                    <a:pt x="6687188" y="666234"/>
                  </a:lnTo>
                  <a:lnTo>
                    <a:pt x="6685642" y="658566"/>
                  </a:lnTo>
                  <a:lnTo>
                    <a:pt x="6682551" y="651664"/>
                  </a:lnTo>
                  <a:lnTo>
                    <a:pt x="6676755" y="646680"/>
                  </a:lnTo>
                  <a:lnTo>
                    <a:pt x="6670186" y="643229"/>
                  </a:lnTo>
                  <a:close/>
                  <a:moveTo>
                    <a:pt x="4828217" y="546687"/>
                  </a:moveTo>
                  <a:lnTo>
                    <a:pt x="4828217" y="1471905"/>
                  </a:lnTo>
                  <a:lnTo>
                    <a:pt x="5444866" y="1471905"/>
                  </a:lnTo>
                  <a:lnTo>
                    <a:pt x="5444866" y="546687"/>
                  </a:lnTo>
                  <a:close/>
                  <a:moveTo>
                    <a:pt x="6623381" y="544709"/>
                  </a:moveTo>
                  <a:lnTo>
                    <a:pt x="6624531" y="545101"/>
                  </a:lnTo>
                  <a:lnTo>
                    <a:pt x="6624914" y="545101"/>
                  </a:lnTo>
                  <a:lnTo>
                    <a:pt x="6660924" y="597114"/>
                  </a:lnTo>
                  <a:lnTo>
                    <a:pt x="6667480" y="594528"/>
                  </a:lnTo>
                  <a:lnTo>
                    <a:pt x="6686415" y="589130"/>
                  </a:lnTo>
                  <a:lnTo>
                    <a:pt x="6706121" y="584889"/>
                  </a:lnTo>
                  <a:lnTo>
                    <a:pt x="6728533" y="582576"/>
                  </a:lnTo>
                  <a:lnTo>
                    <a:pt x="6752491" y="581804"/>
                  </a:lnTo>
                  <a:lnTo>
                    <a:pt x="6777221" y="582961"/>
                  </a:lnTo>
                  <a:lnTo>
                    <a:pt x="6800019" y="585660"/>
                  </a:lnTo>
                  <a:lnTo>
                    <a:pt x="6821272" y="590287"/>
                  </a:lnTo>
                  <a:lnTo>
                    <a:pt x="6839819" y="596070"/>
                  </a:lnTo>
                  <a:lnTo>
                    <a:pt x="6843354" y="597593"/>
                  </a:lnTo>
                  <a:lnTo>
                    <a:pt x="6879938" y="545101"/>
                  </a:lnTo>
                  <a:lnTo>
                    <a:pt x="6880717" y="545101"/>
                  </a:lnTo>
                  <a:lnTo>
                    <a:pt x="6881497" y="544709"/>
                  </a:lnTo>
                  <a:lnTo>
                    <a:pt x="6882665" y="545101"/>
                  </a:lnTo>
                  <a:lnTo>
                    <a:pt x="6884224" y="545101"/>
                  </a:lnTo>
                  <a:lnTo>
                    <a:pt x="6885393" y="546275"/>
                  </a:lnTo>
                  <a:lnTo>
                    <a:pt x="6886562" y="547058"/>
                  </a:lnTo>
                  <a:lnTo>
                    <a:pt x="6887341" y="548231"/>
                  </a:lnTo>
                  <a:lnTo>
                    <a:pt x="6888121" y="549797"/>
                  </a:lnTo>
                  <a:lnTo>
                    <a:pt x="6887341" y="550580"/>
                  </a:lnTo>
                  <a:lnTo>
                    <a:pt x="6851984" y="601312"/>
                  </a:lnTo>
                  <a:lnTo>
                    <a:pt x="6856821" y="603396"/>
                  </a:lnTo>
                  <a:lnTo>
                    <a:pt x="6872278" y="611492"/>
                  </a:lnTo>
                  <a:lnTo>
                    <a:pt x="6885802" y="620360"/>
                  </a:lnTo>
                  <a:lnTo>
                    <a:pt x="6897781" y="630384"/>
                  </a:lnTo>
                  <a:lnTo>
                    <a:pt x="6908214" y="641180"/>
                  </a:lnTo>
                  <a:lnTo>
                    <a:pt x="6917874" y="651975"/>
                  </a:lnTo>
                  <a:lnTo>
                    <a:pt x="6925989" y="663156"/>
                  </a:lnTo>
                  <a:lnTo>
                    <a:pt x="6932944" y="674723"/>
                  </a:lnTo>
                  <a:lnTo>
                    <a:pt x="6938740" y="685904"/>
                  </a:lnTo>
                  <a:lnTo>
                    <a:pt x="6943377" y="697084"/>
                  </a:lnTo>
                  <a:lnTo>
                    <a:pt x="6947628" y="707495"/>
                  </a:lnTo>
                  <a:lnTo>
                    <a:pt x="6950719" y="717133"/>
                  </a:lnTo>
                  <a:lnTo>
                    <a:pt x="6953424" y="726772"/>
                  </a:lnTo>
                  <a:lnTo>
                    <a:pt x="6954970" y="734484"/>
                  </a:lnTo>
                  <a:lnTo>
                    <a:pt x="6956129" y="741809"/>
                  </a:lnTo>
                  <a:lnTo>
                    <a:pt x="6956902" y="747592"/>
                  </a:lnTo>
                  <a:lnTo>
                    <a:pt x="6957674" y="752219"/>
                  </a:lnTo>
                  <a:lnTo>
                    <a:pt x="6957674" y="754532"/>
                  </a:lnTo>
                  <a:lnTo>
                    <a:pt x="6957674" y="755689"/>
                  </a:lnTo>
                  <a:lnTo>
                    <a:pt x="6547307" y="755689"/>
                  </a:lnTo>
                  <a:lnTo>
                    <a:pt x="6547307" y="754532"/>
                  </a:lnTo>
                  <a:lnTo>
                    <a:pt x="6547307" y="752219"/>
                  </a:lnTo>
                  <a:lnTo>
                    <a:pt x="6547694" y="747978"/>
                  </a:lnTo>
                  <a:lnTo>
                    <a:pt x="6548853" y="742580"/>
                  </a:lnTo>
                  <a:lnTo>
                    <a:pt x="6550012" y="736026"/>
                  </a:lnTo>
                  <a:lnTo>
                    <a:pt x="6550785" y="728315"/>
                  </a:lnTo>
                  <a:lnTo>
                    <a:pt x="6553103" y="719832"/>
                  </a:lnTo>
                  <a:lnTo>
                    <a:pt x="6556194" y="710579"/>
                  </a:lnTo>
                  <a:lnTo>
                    <a:pt x="6559286" y="700555"/>
                  </a:lnTo>
                  <a:lnTo>
                    <a:pt x="6563537" y="690145"/>
                  </a:lnTo>
                  <a:lnTo>
                    <a:pt x="6568559" y="679349"/>
                  </a:lnTo>
                  <a:lnTo>
                    <a:pt x="6574356" y="668168"/>
                  </a:lnTo>
                  <a:lnTo>
                    <a:pt x="6581698" y="657758"/>
                  </a:lnTo>
                  <a:lnTo>
                    <a:pt x="6590198" y="646963"/>
                  </a:lnTo>
                  <a:lnTo>
                    <a:pt x="6599472" y="636553"/>
                  </a:lnTo>
                  <a:lnTo>
                    <a:pt x="6609906" y="626529"/>
                  </a:lnTo>
                  <a:lnTo>
                    <a:pt x="6621884" y="617275"/>
                  </a:lnTo>
                  <a:lnTo>
                    <a:pt x="6635408" y="608793"/>
                  </a:lnTo>
                  <a:lnTo>
                    <a:pt x="6650865" y="601082"/>
                  </a:lnTo>
                  <a:lnTo>
                    <a:pt x="6652226" y="600545"/>
                  </a:lnTo>
                  <a:lnTo>
                    <a:pt x="6617634" y="550580"/>
                  </a:lnTo>
                  <a:lnTo>
                    <a:pt x="6617634" y="549797"/>
                  </a:lnTo>
                  <a:lnTo>
                    <a:pt x="6617634" y="548231"/>
                  </a:lnTo>
                  <a:lnTo>
                    <a:pt x="6618783" y="547058"/>
                  </a:lnTo>
                  <a:lnTo>
                    <a:pt x="6620316" y="546275"/>
                  </a:lnTo>
                  <a:lnTo>
                    <a:pt x="6621082" y="545101"/>
                  </a:lnTo>
                  <a:lnTo>
                    <a:pt x="6622232" y="545101"/>
                  </a:lnTo>
                  <a:close/>
                  <a:moveTo>
                    <a:pt x="4183017" y="463640"/>
                  </a:moveTo>
                  <a:cubicBezTo>
                    <a:pt x="4183017" y="463640"/>
                    <a:pt x="4193558" y="527590"/>
                    <a:pt x="4142768" y="589602"/>
                  </a:cubicBezTo>
                  <a:cubicBezTo>
                    <a:pt x="4088146" y="655489"/>
                    <a:pt x="4026815" y="644831"/>
                    <a:pt x="4026815" y="644831"/>
                  </a:cubicBezTo>
                  <a:cubicBezTo>
                    <a:pt x="4026815" y="644831"/>
                    <a:pt x="4015315" y="592508"/>
                    <a:pt x="4060355" y="532435"/>
                  </a:cubicBezTo>
                  <a:cubicBezTo>
                    <a:pt x="4111145" y="463640"/>
                    <a:pt x="4183017" y="463640"/>
                    <a:pt x="4183017" y="463640"/>
                  </a:cubicBezTo>
                  <a:close/>
                  <a:moveTo>
                    <a:pt x="142606" y="435886"/>
                  </a:moveTo>
                  <a:lnTo>
                    <a:pt x="142606" y="1564635"/>
                  </a:lnTo>
                  <a:lnTo>
                    <a:pt x="2167619" y="1564635"/>
                  </a:lnTo>
                  <a:lnTo>
                    <a:pt x="2167619" y="435886"/>
                  </a:lnTo>
                  <a:close/>
                  <a:moveTo>
                    <a:pt x="5049402" y="408930"/>
                  </a:moveTo>
                  <a:cubicBezTo>
                    <a:pt x="5040732" y="408930"/>
                    <a:pt x="5033704" y="415958"/>
                    <a:pt x="5033704" y="424628"/>
                  </a:cubicBezTo>
                  <a:cubicBezTo>
                    <a:pt x="5033704" y="433298"/>
                    <a:pt x="5040732" y="440326"/>
                    <a:pt x="5049402" y="440326"/>
                  </a:cubicBezTo>
                  <a:lnTo>
                    <a:pt x="5223681" y="440326"/>
                  </a:lnTo>
                  <a:cubicBezTo>
                    <a:pt x="5232350" y="440326"/>
                    <a:pt x="5239379" y="433298"/>
                    <a:pt x="5239379" y="424628"/>
                  </a:cubicBezTo>
                  <a:cubicBezTo>
                    <a:pt x="5239379" y="415958"/>
                    <a:pt x="5232350" y="408930"/>
                    <a:pt x="5223681" y="408930"/>
                  </a:cubicBezTo>
                  <a:close/>
                  <a:moveTo>
                    <a:pt x="2518597" y="402274"/>
                  </a:moveTo>
                  <a:cubicBezTo>
                    <a:pt x="2497867" y="402274"/>
                    <a:pt x="2481061" y="419079"/>
                    <a:pt x="2481061" y="439810"/>
                  </a:cubicBezTo>
                  <a:lnTo>
                    <a:pt x="2481061" y="1467497"/>
                  </a:lnTo>
                  <a:cubicBezTo>
                    <a:pt x="2481061" y="1488228"/>
                    <a:pt x="2497867" y="1505033"/>
                    <a:pt x="2518597" y="1505033"/>
                  </a:cubicBezTo>
                  <a:lnTo>
                    <a:pt x="3130747" y="1505033"/>
                  </a:lnTo>
                  <a:cubicBezTo>
                    <a:pt x="3151478" y="1505033"/>
                    <a:pt x="3168284" y="1488228"/>
                    <a:pt x="3168284" y="1467497"/>
                  </a:cubicBezTo>
                  <a:lnTo>
                    <a:pt x="3168284" y="439810"/>
                  </a:lnTo>
                  <a:cubicBezTo>
                    <a:pt x="3168284" y="419079"/>
                    <a:pt x="3151478" y="402274"/>
                    <a:pt x="3130747" y="402274"/>
                  </a:cubicBezTo>
                  <a:close/>
                  <a:moveTo>
                    <a:pt x="2776017" y="362170"/>
                  </a:moveTo>
                  <a:cubicBezTo>
                    <a:pt x="2774421" y="362170"/>
                    <a:pt x="2772977" y="362818"/>
                    <a:pt x="2771932" y="363863"/>
                  </a:cubicBezTo>
                  <a:lnTo>
                    <a:pt x="2770239" y="367948"/>
                  </a:lnTo>
                  <a:lnTo>
                    <a:pt x="2771932" y="372033"/>
                  </a:lnTo>
                  <a:cubicBezTo>
                    <a:pt x="2772977" y="373077"/>
                    <a:pt x="2774421" y="373725"/>
                    <a:pt x="2776017" y="373725"/>
                  </a:cubicBezTo>
                  <a:lnTo>
                    <a:pt x="2872301" y="373725"/>
                  </a:lnTo>
                  <a:cubicBezTo>
                    <a:pt x="2875492" y="373725"/>
                    <a:pt x="2878078" y="371138"/>
                    <a:pt x="2878078" y="367948"/>
                  </a:cubicBezTo>
                  <a:cubicBezTo>
                    <a:pt x="2878078" y="364757"/>
                    <a:pt x="2875492" y="362170"/>
                    <a:pt x="2872301" y="362170"/>
                  </a:cubicBezTo>
                  <a:close/>
                  <a:moveTo>
                    <a:pt x="8074277" y="335996"/>
                  </a:moveTo>
                  <a:cubicBezTo>
                    <a:pt x="8049512" y="335996"/>
                    <a:pt x="8029436" y="356072"/>
                    <a:pt x="8029436" y="380837"/>
                  </a:cubicBezTo>
                  <a:lnTo>
                    <a:pt x="8029436" y="1435314"/>
                  </a:lnTo>
                  <a:cubicBezTo>
                    <a:pt x="8029436" y="1460079"/>
                    <a:pt x="8049512" y="1480155"/>
                    <a:pt x="8074277" y="1480155"/>
                  </a:cubicBezTo>
                  <a:lnTo>
                    <a:pt x="8657174" y="1480155"/>
                  </a:lnTo>
                  <a:cubicBezTo>
                    <a:pt x="8681939" y="1480155"/>
                    <a:pt x="8702015" y="1460079"/>
                    <a:pt x="8702015" y="1435314"/>
                  </a:cubicBezTo>
                  <a:lnTo>
                    <a:pt x="8702015" y="380837"/>
                  </a:lnTo>
                  <a:cubicBezTo>
                    <a:pt x="8702015" y="356072"/>
                    <a:pt x="8681939" y="335996"/>
                    <a:pt x="8657174" y="335996"/>
                  </a:cubicBezTo>
                  <a:close/>
                  <a:moveTo>
                    <a:pt x="5759891" y="305930"/>
                  </a:moveTo>
                  <a:lnTo>
                    <a:pt x="5759891" y="1478569"/>
                  </a:lnTo>
                  <a:lnTo>
                    <a:pt x="7741904" y="1478569"/>
                  </a:lnTo>
                  <a:lnTo>
                    <a:pt x="7741904" y="305930"/>
                  </a:lnTo>
                  <a:close/>
                  <a:moveTo>
                    <a:pt x="4878987" y="300646"/>
                  </a:moveTo>
                  <a:lnTo>
                    <a:pt x="5394095" y="300646"/>
                  </a:lnTo>
                  <a:cubicBezTo>
                    <a:pt x="5448538" y="300646"/>
                    <a:pt x="5492672" y="344781"/>
                    <a:pt x="5492672" y="399224"/>
                  </a:cubicBezTo>
                  <a:lnTo>
                    <a:pt x="5492672" y="1616806"/>
                  </a:lnTo>
                  <a:cubicBezTo>
                    <a:pt x="5492672" y="1671249"/>
                    <a:pt x="5448538" y="1715383"/>
                    <a:pt x="5394095" y="1715383"/>
                  </a:cubicBezTo>
                  <a:lnTo>
                    <a:pt x="4878987" y="1715383"/>
                  </a:lnTo>
                  <a:cubicBezTo>
                    <a:pt x="4824545" y="1715383"/>
                    <a:pt x="4780410" y="1671249"/>
                    <a:pt x="4780410" y="1616806"/>
                  </a:cubicBezTo>
                  <a:lnTo>
                    <a:pt x="4780410" y="399224"/>
                  </a:lnTo>
                  <a:cubicBezTo>
                    <a:pt x="4780410" y="344781"/>
                    <a:pt x="4824545" y="300646"/>
                    <a:pt x="4878987" y="300646"/>
                  </a:cubicBezTo>
                  <a:close/>
                  <a:moveTo>
                    <a:pt x="2442872" y="299635"/>
                  </a:moveTo>
                  <a:lnTo>
                    <a:pt x="3205445" y="299635"/>
                  </a:lnTo>
                  <a:lnTo>
                    <a:pt x="3205445" y="1714372"/>
                  </a:lnTo>
                  <a:lnTo>
                    <a:pt x="2442872" y="1714372"/>
                  </a:lnTo>
                  <a:close/>
                  <a:moveTo>
                    <a:pt x="8046360" y="292188"/>
                  </a:moveTo>
                  <a:lnTo>
                    <a:pt x="8685091" y="292188"/>
                  </a:lnTo>
                  <a:cubicBezTo>
                    <a:pt x="8712228" y="292188"/>
                    <a:pt x="8734227" y="314187"/>
                    <a:pt x="8734227" y="341324"/>
                  </a:cubicBezTo>
                  <a:lnTo>
                    <a:pt x="8734227" y="1657789"/>
                  </a:lnTo>
                  <a:cubicBezTo>
                    <a:pt x="8734227" y="1684926"/>
                    <a:pt x="8712228" y="1706925"/>
                    <a:pt x="8685091" y="1706925"/>
                  </a:cubicBezTo>
                  <a:lnTo>
                    <a:pt x="8046360" y="1706925"/>
                  </a:lnTo>
                  <a:cubicBezTo>
                    <a:pt x="8019223" y="1706925"/>
                    <a:pt x="7997224" y="1684926"/>
                    <a:pt x="7997224" y="1657789"/>
                  </a:cubicBezTo>
                  <a:lnTo>
                    <a:pt x="7997224" y="341324"/>
                  </a:lnTo>
                  <a:cubicBezTo>
                    <a:pt x="7997224" y="314187"/>
                    <a:pt x="8019223" y="292188"/>
                    <a:pt x="8046360" y="292188"/>
                  </a:cubicBezTo>
                  <a:close/>
                  <a:moveTo>
                    <a:pt x="31495" y="284741"/>
                  </a:moveTo>
                  <a:lnTo>
                    <a:pt x="2278731" y="284741"/>
                  </a:lnTo>
                  <a:cubicBezTo>
                    <a:pt x="2296124" y="284741"/>
                    <a:pt x="2310225" y="298841"/>
                    <a:pt x="2310225" y="316235"/>
                  </a:cubicBezTo>
                  <a:lnTo>
                    <a:pt x="2310225" y="1682878"/>
                  </a:lnTo>
                  <a:cubicBezTo>
                    <a:pt x="2310225" y="1700272"/>
                    <a:pt x="2296124" y="1714372"/>
                    <a:pt x="2278731" y="1714372"/>
                  </a:cubicBezTo>
                  <a:lnTo>
                    <a:pt x="31495" y="1714372"/>
                  </a:lnTo>
                  <a:cubicBezTo>
                    <a:pt x="14101" y="1714372"/>
                    <a:pt x="0" y="1700272"/>
                    <a:pt x="0" y="1682878"/>
                  </a:cubicBezTo>
                  <a:lnTo>
                    <a:pt x="0" y="316235"/>
                  </a:lnTo>
                  <a:cubicBezTo>
                    <a:pt x="0" y="298841"/>
                    <a:pt x="14101" y="284741"/>
                    <a:pt x="31495" y="284741"/>
                  </a:cubicBezTo>
                  <a:close/>
                  <a:moveTo>
                    <a:pt x="3506920" y="153677"/>
                  </a:moveTo>
                  <a:lnTo>
                    <a:pt x="3506920" y="1550448"/>
                  </a:lnTo>
                  <a:lnTo>
                    <a:pt x="4548522" y="1550448"/>
                  </a:lnTo>
                  <a:lnTo>
                    <a:pt x="4548522" y="153677"/>
                  </a:lnTo>
                  <a:close/>
                  <a:moveTo>
                    <a:pt x="5691386" y="137045"/>
                  </a:moveTo>
                  <a:lnTo>
                    <a:pt x="7813595" y="137045"/>
                  </a:lnTo>
                  <a:cubicBezTo>
                    <a:pt x="7865514" y="137045"/>
                    <a:pt x="7907603" y="179134"/>
                    <a:pt x="7907603" y="231053"/>
                  </a:cubicBezTo>
                  <a:lnTo>
                    <a:pt x="7907603" y="1620364"/>
                  </a:lnTo>
                  <a:cubicBezTo>
                    <a:pt x="7907603" y="1672283"/>
                    <a:pt x="7865514" y="1714372"/>
                    <a:pt x="7813595" y="1714372"/>
                  </a:cubicBezTo>
                  <a:lnTo>
                    <a:pt x="5691386" y="1714372"/>
                  </a:lnTo>
                  <a:cubicBezTo>
                    <a:pt x="5639467" y="1714372"/>
                    <a:pt x="5597378" y="1672283"/>
                    <a:pt x="5597378" y="1620364"/>
                  </a:cubicBezTo>
                  <a:lnTo>
                    <a:pt x="5597378" y="231053"/>
                  </a:lnTo>
                  <a:cubicBezTo>
                    <a:pt x="5597378" y="179134"/>
                    <a:pt x="5639467" y="137045"/>
                    <a:pt x="5691386" y="137045"/>
                  </a:cubicBezTo>
                  <a:close/>
                  <a:moveTo>
                    <a:pt x="3445917" y="0"/>
                  </a:moveTo>
                  <a:lnTo>
                    <a:pt x="4609525" y="0"/>
                  </a:lnTo>
                  <a:cubicBezTo>
                    <a:pt x="4657878" y="0"/>
                    <a:pt x="4697076" y="39198"/>
                    <a:pt x="4697076" y="87551"/>
                  </a:cubicBezTo>
                  <a:lnTo>
                    <a:pt x="4697076" y="1626821"/>
                  </a:lnTo>
                  <a:cubicBezTo>
                    <a:pt x="4697076" y="1675174"/>
                    <a:pt x="4657878" y="1714372"/>
                    <a:pt x="4609525" y="1714372"/>
                  </a:cubicBezTo>
                  <a:lnTo>
                    <a:pt x="3445917" y="1714372"/>
                  </a:lnTo>
                  <a:cubicBezTo>
                    <a:pt x="3397564" y="1714372"/>
                    <a:pt x="3358365" y="1675174"/>
                    <a:pt x="3358365" y="1626821"/>
                  </a:cubicBezTo>
                  <a:lnTo>
                    <a:pt x="3358365" y="87551"/>
                  </a:lnTo>
                  <a:cubicBezTo>
                    <a:pt x="3358365" y="39198"/>
                    <a:pt x="3397564" y="0"/>
                    <a:pt x="3445917" y="0"/>
                  </a:cubicBezTo>
                  <a:close/>
                </a:path>
              </a:pathLst>
            </a:custGeom>
            <a:solidFill>
              <a:srgbClr val="303030"/>
            </a:solidFill>
            <a:ln w="10795"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2F2F2"/>
                </a:solidFill>
                <a:effectLst/>
                <a:uLnTx/>
                <a:uFillTx/>
                <a:latin typeface="Segoe Semibold"/>
              </a:endParaRPr>
            </a:p>
          </p:txBody>
        </p:sp>
        <p:grpSp>
          <p:nvGrpSpPr>
            <p:cNvPr id="50" name="Clients"/>
            <p:cNvGrpSpPr/>
            <p:nvPr/>
          </p:nvGrpSpPr>
          <p:grpSpPr>
            <a:xfrm>
              <a:off x="2389632" y="67056"/>
              <a:ext cx="6038088" cy="2700525"/>
              <a:chOff x="2389632" y="67056"/>
              <a:chExt cx="6038088" cy="2700525"/>
            </a:xfrm>
          </p:grpSpPr>
          <p:sp>
            <p:nvSpPr>
              <p:cNvPr id="51" name="Rectangle 50"/>
              <p:cNvSpPr/>
              <p:nvPr/>
            </p:nvSpPr>
            <p:spPr bwMode="auto">
              <a:xfrm>
                <a:off x="2389632" y="67056"/>
                <a:ext cx="6038088" cy="1217942"/>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800" dirty="0" smtClean="0">
                    <a:solidFill>
                      <a:schemeClr val="accent6"/>
                    </a:solidFill>
                    <a:ea typeface="Segoe UI" pitchFamily="34" charset="0"/>
                    <a:cs typeface="Segoe UI" pitchFamily="34" charset="0"/>
                  </a:rPr>
                  <a:t>Customers</a:t>
                </a:r>
              </a:p>
              <a:p>
                <a:pPr defTabSz="932472" fontAlgn="base">
                  <a:lnSpc>
                    <a:spcPct val="90000"/>
                  </a:lnSpc>
                  <a:spcBef>
                    <a:spcPct val="0"/>
                  </a:spcBef>
                  <a:spcAft>
                    <a:spcPct val="0"/>
                  </a:spcAft>
                </a:pPr>
                <a:r>
                  <a:rPr lang="en-US" sz="1800" dirty="0" smtClean="0">
                    <a:solidFill>
                      <a:schemeClr val="accent6"/>
                    </a:solidFill>
                    <a:ea typeface="Segoe UI" pitchFamily="34" charset="0"/>
                    <a:cs typeface="Segoe UI" pitchFamily="34" charset="0"/>
                  </a:rPr>
                  <a:t>in field</a:t>
                </a:r>
              </a:p>
            </p:txBody>
          </p:sp>
          <p:grpSp>
            <p:nvGrpSpPr>
              <p:cNvPr id="52" name="Group 51"/>
              <p:cNvGrpSpPr/>
              <p:nvPr/>
            </p:nvGrpSpPr>
            <p:grpSpPr>
              <a:xfrm>
                <a:off x="4888991" y="1409189"/>
                <a:ext cx="2080629" cy="1358392"/>
                <a:chOff x="4888991" y="1237488"/>
                <a:chExt cx="2080629" cy="1889760"/>
              </a:xfrm>
              <a:solidFill>
                <a:schemeClr val="accent3"/>
              </a:solidFill>
            </p:grpSpPr>
            <p:sp>
              <p:nvSpPr>
                <p:cNvPr id="53" name="Down Arrow 52"/>
                <p:cNvSpPr/>
                <p:nvPr/>
              </p:nvSpPr>
              <p:spPr bwMode="auto">
                <a:xfrm>
                  <a:off x="5737281" y="1237488"/>
                  <a:ext cx="384048" cy="1889760"/>
                </a:xfrm>
                <a:prstGeom prst="down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4" name="Down Arrow 53"/>
                <p:cNvSpPr/>
                <p:nvPr/>
              </p:nvSpPr>
              <p:spPr bwMode="auto">
                <a:xfrm>
                  <a:off x="5313136" y="1237488"/>
                  <a:ext cx="384048" cy="1889760"/>
                </a:xfrm>
                <a:prstGeom prst="down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5" name="Down Arrow 54"/>
                <p:cNvSpPr/>
                <p:nvPr/>
              </p:nvSpPr>
              <p:spPr bwMode="auto">
                <a:xfrm>
                  <a:off x="4888991" y="1237488"/>
                  <a:ext cx="384048" cy="1889760"/>
                </a:xfrm>
                <a:prstGeom prst="down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6" name="Down Arrow 55"/>
                <p:cNvSpPr/>
                <p:nvPr/>
              </p:nvSpPr>
              <p:spPr bwMode="auto">
                <a:xfrm>
                  <a:off x="6585572" y="1237488"/>
                  <a:ext cx="384048" cy="1889760"/>
                </a:xfrm>
                <a:prstGeom prst="down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7" name="Down Arrow 56"/>
                <p:cNvSpPr/>
                <p:nvPr/>
              </p:nvSpPr>
              <p:spPr bwMode="auto">
                <a:xfrm>
                  <a:off x="6161426" y="1237488"/>
                  <a:ext cx="384048" cy="1889760"/>
                </a:xfrm>
                <a:prstGeom prst="down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grpSp>
    </p:spTree>
    <p:extLst>
      <p:ext uri="{BB962C8B-B14F-4D97-AF65-F5344CB8AC3E}">
        <p14:creationId xmlns:p14="http://schemas.microsoft.com/office/powerpoint/2010/main" val="3319315352"/>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00088" y="74423"/>
            <a:ext cx="5388737" cy="899665"/>
          </a:xfrm>
        </p:spPr>
        <p:txBody>
          <a:bodyPr/>
          <a:lstStyle/>
          <a:p>
            <a:r>
              <a:rPr lang="en-US" dirty="0" smtClean="0"/>
              <a:t>Scenario #4: Mobile Services</a:t>
            </a:r>
            <a:endParaRPr lang="en-US" dirty="0"/>
          </a:p>
        </p:txBody>
      </p:sp>
      <p:grpSp>
        <p:nvGrpSpPr>
          <p:cNvPr id="4" name="Group 3"/>
          <p:cNvGrpSpPr/>
          <p:nvPr/>
        </p:nvGrpSpPr>
        <p:grpSpPr>
          <a:xfrm>
            <a:off x="2944368" y="2901696"/>
            <a:ext cx="2468880" cy="3694176"/>
            <a:chOff x="4724400" y="2901696"/>
            <a:chExt cx="2468880" cy="3694176"/>
          </a:xfrm>
        </p:grpSpPr>
        <p:sp>
          <p:nvSpPr>
            <p:cNvPr id="7" name="Rectangle 6"/>
            <p:cNvSpPr/>
            <p:nvPr/>
          </p:nvSpPr>
          <p:spPr bwMode="auto">
            <a:xfrm>
              <a:off x="5153230" y="3291840"/>
              <a:ext cx="857426" cy="5303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API</a:t>
              </a:r>
            </a:p>
          </p:txBody>
        </p:sp>
        <p:sp>
          <p:nvSpPr>
            <p:cNvPr id="6" name="Rectangle 5"/>
            <p:cNvSpPr/>
            <p:nvPr/>
          </p:nvSpPr>
          <p:spPr bwMode="auto">
            <a:xfrm>
              <a:off x="4724400" y="2901696"/>
              <a:ext cx="2468880" cy="3694176"/>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solidFill>
                    <a:schemeClr val="accent6"/>
                  </a:solidFill>
                  <a:ea typeface="Segoe UI" pitchFamily="34" charset="0"/>
                  <a:cs typeface="Segoe UI" pitchFamily="34" charset="0"/>
                </a:rPr>
                <a:t>Windows Azure</a:t>
              </a:r>
            </a:p>
          </p:txBody>
        </p:sp>
        <p:sp>
          <p:nvSpPr>
            <p:cNvPr id="40" name="Rectangle 39"/>
            <p:cNvSpPr/>
            <p:nvPr/>
          </p:nvSpPr>
          <p:spPr bwMode="auto">
            <a:xfrm>
              <a:off x="6124486" y="3291840"/>
              <a:ext cx="857426" cy="5303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800" dirty="0">
                  <a:gradFill>
                    <a:gsLst>
                      <a:gs pos="0">
                        <a:srgbClr val="FFFFFF"/>
                      </a:gs>
                      <a:gs pos="100000">
                        <a:srgbClr val="FFFFFF"/>
                      </a:gs>
                    </a:gsLst>
                    <a:lin ang="5400000" scaled="0"/>
                  </a:gradFill>
                  <a:ea typeface="Segoe UI" pitchFamily="34" charset="0"/>
                  <a:cs typeface="Segoe UI" pitchFamily="34" charset="0"/>
                </a:rPr>
                <a:t>API</a:t>
              </a:r>
              <a:endParaRPr lang="en-US" sz="18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5153230" y="3902662"/>
              <a:ext cx="857426" cy="5303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800" dirty="0">
                  <a:gradFill>
                    <a:gsLst>
                      <a:gs pos="0">
                        <a:srgbClr val="FFFFFF"/>
                      </a:gs>
                      <a:gs pos="100000">
                        <a:srgbClr val="FFFFFF"/>
                      </a:gs>
                    </a:gsLst>
                    <a:lin ang="5400000" scaled="0"/>
                  </a:gradFill>
                  <a:ea typeface="Segoe UI" pitchFamily="34" charset="0"/>
                  <a:cs typeface="Segoe UI" pitchFamily="34" charset="0"/>
                </a:rPr>
                <a:t>API</a:t>
              </a:r>
              <a:endParaRPr lang="en-US" sz="18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6124486" y="3902662"/>
              <a:ext cx="857426" cy="5303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800" dirty="0">
                  <a:gradFill>
                    <a:gsLst>
                      <a:gs pos="0">
                        <a:srgbClr val="FFFFFF"/>
                      </a:gs>
                      <a:gs pos="100000">
                        <a:srgbClr val="FFFFFF"/>
                      </a:gs>
                    </a:gsLst>
                    <a:lin ang="5400000" scaled="0"/>
                  </a:gradFill>
                  <a:ea typeface="Segoe UI" pitchFamily="34" charset="0"/>
                  <a:cs typeface="Segoe UI" pitchFamily="34" charset="0"/>
                </a:rPr>
                <a:t>API</a:t>
              </a:r>
              <a:endParaRPr lang="en-US" sz="1800" dirty="0"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37" name="TextBox 36"/>
          <p:cNvSpPr txBox="1"/>
          <p:nvPr/>
        </p:nvSpPr>
        <p:spPr>
          <a:xfrm>
            <a:off x="6187440" y="1561764"/>
            <a:ext cx="5273623" cy="3287054"/>
          </a:xfrm>
          <a:prstGeom prst="rect">
            <a:avLst/>
          </a:prstGeom>
          <a:noFill/>
        </p:spPr>
        <p:txBody>
          <a:bodyPr wrap="none" lIns="182880" tIns="146304" rIns="182880" bIns="146304" rtlCol="0">
            <a:spAutoFit/>
          </a:bodyPr>
          <a:lstStyle/>
          <a:p>
            <a:pPr marL="342900" indent="-342900">
              <a:lnSpc>
                <a:spcPct val="90000"/>
              </a:lnSpc>
              <a:buFontTx/>
              <a:buChar char="-"/>
            </a:pPr>
            <a:r>
              <a:rPr lang="en-US" sz="2400" dirty="0" smtClean="0">
                <a:gradFill>
                  <a:gsLst>
                    <a:gs pos="2917">
                      <a:schemeClr val="tx1"/>
                    </a:gs>
                    <a:gs pos="30000">
                      <a:schemeClr val="tx1"/>
                    </a:gs>
                  </a:gsLst>
                  <a:lin ang="5400000" scaled="0"/>
                </a:gradFill>
              </a:rPr>
              <a:t>More work to migrate code, data</a:t>
            </a:r>
          </a:p>
          <a:p>
            <a:pPr marL="342900" indent="-342900">
              <a:lnSpc>
                <a:spcPct val="90000"/>
              </a:lnSpc>
              <a:buFontTx/>
              <a:buChar char="-"/>
            </a:pPr>
            <a:r>
              <a:rPr lang="en-US" sz="2400" dirty="0" smtClean="0">
                <a:gradFill>
                  <a:gsLst>
                    <a:gs pos="2917">
                      <a:schemeClr val="tx1"/>
                    </a:gs>
                    <a:gs pos="30000">
                      <a:schemeClr val="tx1"/>
                    </a:gs>
                  </a:gsLst>
                  <a:lin ang="5400000" scaled="0"/>
                </a:gradFill>
              </a:rPr>
              <a:t>Simple data models only</a:t>
            </a:r>
          </a:p>
          <a:p>
            <a:pPr marL="342900" indent="-342900">
              <a:lnSpc>
                <a:spcPct val="90000"/>
              </a:lnSpc>
              <a:buFontTx/>
              <a:buChar char="-"/>
            </a:pPr>
            <a:r>
              <a:rPr lang="en-US" sz="2400" dirty="0" smtClean="0">
                <a:gradFill>
                  <a:gsLst>
                    <a:gs pos="2917">
                      <a:schemeClr val="tx1"/>
                    </a:gs>
                    <a:gs pos="30000">
                      <a:schemeClr val="tx1"/>
                    </a:gs>
                  </a:gsLst>
                  <a:lin ang="5400000" scaled="0"/>
                </a:gradFill>
              </a:rPr>
              <a:t>Can easily scale horizontally</a:t>
            </a:r>
          </a:p>
          <a:p>
            <a:pPr marL="342900" indent="-342900">
              <a:lnSpc>
                <a:spcPct val="90000"/>
              </a:lnSpc>
              <a:buFontTx/>
              <a:buChar char="-"/>
            </a:pPr>
            <a:r>
              <a:rPr lang="en-US" sz="2400" dirty="0" smtClean="0">
                <a:gradFill>
                  <a:gsLst>
                    <a:gs pos="2917">
                      <a:schemeClr val="tx1"/>
                    </a:gs>
                    <a:gs pos="30000">
                      <a:schemeClr val="tx1"/>
                    </a:gs>
                  </a:gsLst>
                  <a:lin ang="5400000" scaled="0"/>
                </a:gradFill>
              </a:rPr>
              <a:t>No management of servers</a:t>
            </a:r>
          </a:p>
          <a:p>
            <a:pPr marL="342900" indent="-342900">
              <a:lnSpc>
                <a:spcPct val="90000"/>
              </a:lnSpc>
              <a:buFontTx/>
              <a:buChar char="-"/>
            </a:pPr>
            <a:r>
              <a:rPr lang="en-US" sz="2400" dirty="0" smtClean="0">
                <a:gradFill>
                  <a:gsLst>
                    <a:gs pos="2917">
                      <a:schemeClr val="tx1"/>
                    </a:gs>
                    <a:gs pos="30000">
                      <a:schemeClr val="tx1"/>
                    </a:gs>
                  </a:gsLst>
                  <a:lin ang="5400000" scaled="0"/>
                </a:gradFill>
              </a:rPr>
              <a:t>Auto-scaling by load through day</a:t>
            </a:r>
          </a:p>
          <a:p>
            <a:pPr marL="342900" indent="-342900">
              <a:lnSpc>
                <a:spcPct val="90000"/>
              </a:lnSpc>
              <a:buFontTx/>
              <a:buChar char="-"/>
            </a:pPr>
            <a:r>
              <a:rPr lang="en-US" sz="2400" dirty="0" smtClean="0">
                <a:gradFill>
                  <a:gsLst>
                    <a:gs pos="2917">
                      <a:schemeClr val="tx1"/>
                    </a:gs>
                    <a:gs pos="30000">
                      <a:schemeClr val="tx1"/>
                    </a:gs>
                  </a:gsLst>
                  <a:lin ang="5400000" scaled="0"/>
                </a:gradFill>
              </a:rPr>
              <a:t>Auto creates REST façade on data</a:t>
            </a:r>
          </a:p>
          <a:p>
            <a:pPr marL="342900" indent="-342900">
              <a:lnSpc>
                <a:spcPct val="90000"/>
              </a:lnSpc>
              <a:buFontTx/>
              <a:buChar char="-"/>
            </a:pPr>
            <a:r>
              <a:rPr lang="en-US" sz="2400" dirty="0" smtClean="0">
                <a:gradFill>
                  <a:gsLst>
                    <a:gs pos="2917">
                      <a:schemeClr val="tx1"/>
                    </a:gs>
                    <a:gs pos="30000">
                      <a:schemeClr val="tx1"/>
                    </a:gs>
                  </a:gsLst>
                  <a:lin ang="5400000" scaled="0"/>
                </a:gradFill>
              </a:rPr>
              <a:t>Native client data SDKs</a:t>
            </a:r>
          </a:p>
          <a:p>
            <a:pPr marL="342900" indent="-342900">
              <a:lnSpc>
                <a:spcPct val="90000"/>
              </a:lnSpc>
              <a:buFontTx/>
              <a:buChar char="-"/>
            </a:pPr>
            <a:r>
              <a:rPr lang="en-US" sz="2400" dirty="0" smtClean="0">
                <a:gradFill>
                  <a:gsLst>
                    <a:gs pos="2917">
                      <a:schemeClr val="tx1"/>
                    </a:gs>
                    <a:gs pos="30000">
                      <a:schemeClr val="tx1"/>
                    </a:gs>
                  </a:gsLst>
                  <a:lin ang="5400000" scaled="0"/>
                </a:gradFill>
              </a:rPr>
              <a:t>Have to update app</a:t>
            </a:r>
          </a:p>
          <a:p>
            <a:pPr marL="342900" indent="-342900">
              <a:lnSpc>
                <a:spcPct val="90000"/>
              </a:lnSpc>
              <a:buFontTx/>
              <a:buChar char="-"/>
            </a:pPr>
            <a:endParaRPr lang="en-US" sz="2400" dirty="0" smtClean="0">
              <a:gradFill>
                <a:gsLst>
                  <a:gs pos="2917">
                    <a:schemeClr val="tx1"/>
                  </a:gs>
                  <a:gs pos="30000">
                    <a:schemeClr val="tx1"/>
                  </a:gs>
                </a:gsLst>
                <a:lin ang="5400000" scaled="0"/>
              </a:gradFill>
            </a:endParaRPr>
          </a:p>
        </p:txBody>
      </p:sp>
      <p:sp>
        <p:nvSpPr>
          <p:cNvPr id="38" name="TextBox 37"/>
          <p:cNvSpPr txBox="1"/>
          <p:nvPr/>
        </p:nvSpPr>
        <p:spPr>
          <a:xfrm>
            <a:off x="6156960" y="4578096"/>
            <a:ext cx="3935436" cy="2419124"/>
          </a:xfrm>
          <a:prstGeom prst="rect">
            <a:avLst/>
          </a:prstGeom>
          <a:noFill/>
        </p:spPr>
        <p:txBody>
          <a:bodyPr wrap="none" lIns="182880" tIns="146304" rIns="182880" bIns="146304" rtlCol="0">
            <a:spAutoFit/>
          </a:bodyPr>
          <a:lstStyle/>
          <a:p>
            <a:pPr marL="342900" indent="-342900">
              <a:buFontTx/>
              <a:buChar char="-"/>
            </a:pPr>
            <a:r>
              <a:rPr lang="en-US" sz="2000" dirty="0" smtClean="0"/>
              <a:t>Four units</a:t>
            </a:r>
          </a:p>
          <a:p>
            <a:pPr marL="799705" lvl="1" indent="-342900">
              <a:buFontTx/>
              <a:buChar char="-"/>
            </a:pPr>
            <a:r>
              <a:rPr lang="en-US" sz="2000" dirty="0" smtClean="0"/>
              <a:t>$100.00 </a:t>
            </a:r>
            <a:r>
              <a:rPr lang="en-US" sz="2000" dirty="0"/>
              <a:t>/ </a:t>
            </a:r>
            <a:r>
              <a:rPr lang="en-US" sz="2000" dirty="0" smtClean="0"/>
              <a:t>month</a:t>
            </a:r>
          </a:p>
          <a:p>
            <a:pPr marL="342900" indent="-342900">
              <a:buFontTx/>
              <a:buChar char="-"/>
            </a:pPr>
            <a:r>
              <a:rPr lang="en-US" sz="2000" dirty="0" smtClean="0"/>
              <a:t>SQL </a:t>
            </a:r>
            <a:r>
              <a:rPr lang="en-US" sz="2000" dirty="0"/>
              <a:t>Database – </a:t>
            </a:r>
            <a:r>
              <a:rPr lang="en-US" sz="2000" dirty="0" smtClean="0"/>
              <a:t>10GB</a:t>
            </a:r>
          </a:p>
          <a:p>
            <a:pPr marL="799705" lvl="1" indent="-342900">
              <a:buFontTx/>
              <a:buChar char="-"/>
            </a:pPr>
            <a:r>
              <a:rPr lang="en-US" sz="2000" dirty="0" smtClean="0"/>
              <a:t>$45.96 </a:t>
            </a:r>
            <a:r>
              <a:rPr lang="en-US" sz="2000" dirty="0"/>
              <a:t>/ </a:t>
            </a:r>
            <a:r>
              <a:rPr lang="en-US" sz="2000" dirty="0" smtClean="0"/>
              <a:t>month</a:t>
            </a:r>
          </a:p>
          <a:p>
            <a:pPr marL="799705" lvl="1" indent="-342900">
              <a:buFontTx/>
              <a:buChar char="-"/>
            </a:pPr>
            <a:endParaRPr lang="en-US" sz="2000" dirty="0"/>
          </a:p>
          <a:p>
            <a:r>
              <a:rPr lang="en-US" sz="2000" b="1" dirty="0"/>
              <a:t>Total: About </a:t>
            </a:r>
            <a:r>
              <a:rPr lang="en-US" sz="2000" b="1" dirty="0" smtClean="0"/>
              <a:t>$145.96 </a:t>
            </a:r>
            <a:r>
              <a:rPr lang="en-US" sz="2000" b="1" dirty="0"/>
              <a:t>/ month</a:t>
            </a:r>
            <a:endParaRPr lang="en-US" sz="2000" dirty="0"/>
          </a:p>
          <a:p>
            <a:pPr>
              <a:lnSpc>
                <a:spcPct val="90000"/>
              </a:lnSpc>
            </a:pPr>
            <a:endParaRPr lang="en-US" sz="2000" dirty="0" smtClean="0">
              <a:gradFill>
                <a:gsLst>
                  <a:gs pos="2917">
                    <a:schemeClr val="tx1"/>
                  </a:gs>
                  <a:gs pos="30000">
                    <a:schemeClr val="tx1"/>
                  </a:gs>
                </a:gsLst>
                <a:lin ang="5400000" scaled="0"/>
              </a:gradFill>
            </a:endParaRPr>
          </a:p>
        </p:txBody>
      </p:sp>
      <p:sp>
        <p:nvSpPr>
          <p:cNvPr id="3" name="Flowchart: Magnetic Disk 2"/>
          <p:cNvSpPr/>
          <p:nvPr/>
        </p:nvSpPr>
        <p:spPr bwMode="auto">
          <a:xfrm>
            <a:off x="3688080" y="4763495"/>
            <a:ext cx="1133856" cy="1285614"/>
          </a:xfrm>
          <a:prstGeom prst="flowChartMagneticDisk">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SQL</a:t>
            </a:r>
          </a:p>
          <a:p>
            <a:pPr algn="ctr" defTabSz="932472" fontAlgn="base">
              <a:lnSpc>
                <a:spcPct val="90000"/>
              </a:lnSpc>
              <a:spcBef>
                <a:spcPct val="0"/>
              </a:spcBef>
              <a:spcAft>
                <a:spcPct val="0"/>
              </a:spcAft>
            </a:pPr>
            <a:r>
              <a:rPr lang="en-US" sz="2400" dirty="0" err="1" smtClean="0">
                <a:gradFill>
                  <a:gsLst>
                    <a:gs pos="0">
                      <a:srgbClr val="FFFFFF"/>
                    </a:gs>
                    <a:gs pos="100000">
                      <a:srgbClr val="FFFFFF"/>
                    </a:gs>
                  </a:gsLst>
                  <a:lin ang="5400000" scaled="0"/>
                </a:gradFill>
                <a:ea typeface="Segoe UI" pitchFamily="34" charset="0"/>
                <a:cs typeface="Segoe UI" pitchFamily="34" charset="0"/>
              </a:rPr>
              <a:t>db</a:t>
            </a: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39" name="Customers"/>
          <p:cNvGrpSpPr/>
          <p:nvPr/>
        </p:nvGrpSpPr>
        <p:grpSpPr>
          <a:xfrm>
            <a:off x="425196" y="2767584"/>
            <a:ext cx="2567298" cy="3828287"/>
            <a:chOff x="425196" y="2767584"/>
            <a:chExt cx="2567298" cy="3828287"/>
          </a:xfrm>
        </p:grpSpPr>
        <p:sp>
          <p:nvSpPr>
            <p:cNvPr id="43" name="Rectangle 42"/>
            <p:cNvSpPr/>
            <p:nvPr/>
          </p:nvSpPr>
          <p:spPr bwMode="auto">
            <a:xfrm>
              <a:off x="749808" y="3822192"/>
              <a:ext cx="1414272" cy="755904"/>
            </a:xfrm>
            <a:prstGeom prst="rect">
              <a:avLst/>
            </a:prstGeom>
            <a:solidFill>
              <a:srgbClr val="30303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Customer SQL</a:t>
              </a:r>
              <a:endParaRPr lang="en-US" sz="1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18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43"/>
            <p:cNvSpPr/>
            <p:nvPr/>
          </p:nvSpPr>
          <p:spPr bwMode="auto">
            <a:xfrm>
              <a:off x="749808" y="4727448"/>
              <a:ext cx="1414272" cy="755904"/>
            </a:xfrm>
            <a:prstGeom prst="rect">
              <a:avLst/>
            </a:prstGeom>
            <a:solidFill>
              <a:srgbClr val="30303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Customer SQL</a:t>
              </a:r>
              <a:endParaRPr lang="en-US" sz="1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18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p:cNvSpPr/>
            <p:nvPr/>
          </p:nvSpPr>
          <p:spPr bwMode="auto">
            <a:xfrm>
              <a:off x="749808" y="5632704"/>
              <a:ext cx="1414272" cy="755904"/>
            </a:xfrm>
            <a:prstGeom prst="rect">
              <a:avLst/>
            </a:prstGeom>
            <a:solidFill>
              <a:srgbClr val="30303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Customer SQL</a:t>
              </a:r>
              <a:endParaRPr lang="en-US" sz="1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18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6" name="Rectangle 45"/>
            <p:cNvSpPr/>
            <p:nvPr/>
          </p:nvSpPr>
          <p:spPr bwMode="auto">
            <a:xfrm>
              <a:off x="425196" y="2767584"/>
              <a:ext cx="1946148" cy="3828287"/>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solidFill>
                    <a:schemeClr val="accent6"/>
                  </a:solidFill>
                  <a:ea typeface="Segoe UI" pitchFamily="34" charset="0"/>
                  <a:cs typeface="Segoe UI" pitchFamily="34" charset="0"/>
                </a:rPr>
                <a:t>Each customer’s datacenter</a:t>
              </a:r>
            </a:p>
          </p:txBody>
        </p:sp>
        <p:sp>
          <p:nvSpPr>
            <p:cNvPr id="47" name="Down Arrow 46"/>
            <p:cNvSpPr/>
            <p:nvPr/>
          </p:nvSpPr>
          <p:spPr bwMode="auto">
            <a:xfrm rot="16200000">
              <a:off x="2328030" y="4395215"/>
              <a:ext cx="755904" cy="573024"/>
            </a:xfrm>
            <a:prstGeom prst="down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48" name="Clients"/>
          <p:cNvGrpSpPr/>
          <p:nvPr/>
        </p:nvGrpSpPr>
        <p:grpSpPr>
          <a:xfrm>
            <a:off x="749808" y="67056"/>
            <a:ext cx="6038088" cy="2700525"/>
            <a:chOff x="2389632" y="67056"/>
            <a:chExt cx="6038088" cy="2700525"/>
          </a:xfrm>
        </p:grpSpPr>
        <p:sp>
          <p:nvSpPr>
            <p:cNvPr id="49" name="Freeform 48"/>
            <p:cNvSpPr/>
            <p:nvPr/>
          </p:nvSpPr>
          <p:spPr>
            <a:xfrm>
              <a:off x="3873860" y="191247"/>
              <a:ext cx="4480855" cy="880030"/>
            </a:xfrm>
            <a:custGeom>
              <a:avLst/>
              <a:gdLst>
                <a:gd name="connsiteX0" fmla="*/ 1152413 w 8734227"/>
                <a:gd name="connsiteY0" fmla="*/ 1636663 h 1715383"/>
                <a:gd name="connsiteX1" fmla="*/ 1152413 w 8734227"/>
                <a:gd name="connsiteY1" fmla="*/ 1663491 h 1715383"/>
                <a:gd name="connsiteX2" fmla="*/ 1188645 w 8734227"/>
                <a:gd name="connsiteY2" fmla="*/ 1668494 h 1715383"/>
                <a:gd name="connsiteX3" fmla="*/ 1188591 w 8734227"/>
                <a:gd name="connsiteY3" fmla="*/ 1636663 h 1715383"/>
                <a:gd name="connsiteX4" fmla="*/ 1121597 w 8734227"/>
                <a:gd name="connsiteY4" fmla="*/ 1636663 h 1715383"/>
                <a:gd name="connsiteX5" fmla="*/ 1121599 w 8734227"/>
                <a:gd name="connsiteY5" fmla="*/ 1659239 h 1715383"/>
                <a:gd name="connsiteX6" fmla="*/ 1149027 w 8734227"/>
                <a:gd name="connsiteY6" fmla="*/ 1663024 h 1715383"/>
                <a:gd name="connsiteX7" fmla="*/ 1149027 w 8734227"/>
                <a:gd name="connsiteY7" fmla="*/ 1636663 h 1715383"/>
                <a:gd name="connsiteX8" fmla="*/ 5975882 w 8734227"/>
                <a:gd name="connsiteY8" fmla="*/ 1616729 h 1715383"/>
                <a:gd name="connsiteX9" fmla="*/ 5975882 w 8734227"/>
                <a:gd name="connsiteY9" fmla="*/ 1629353 h 1715383"/>
                <a:gd name="connsiteX10" fmla="*/ 6053370 w 8734227"/>
                <a:gd name="connsiteY10" fmla="*/ 1629353 h 1715383"/>
                <a:gd name="connsiteX11" fmla="*/ 6053370 w 8734227"/>
                <a:gd name="connsiteY11" fmla="*/ 1616729 h 1715383"/>
                <a:gd name="connsiteX12" fmla="*/ 8268937 w 8734227"/>
                <a:gd name="connsiteY12" fmla="*/ 1608864 h 1715383"/>
                <a:gd name="connsiteX13" fmla="*/ 8268937 w 8734227"/>
                <a:gd name="connsiteY13" fmla="*/ 1614441 h 1715383"/>
                <a:gd name="connsiteX14" fmla="*/ 8303165 w 8734227"/>
                <a:gd name="connsiteY14" fmla="*/ 1614441 h 1715383"/>
                <a:gd name="connsiteX15" fmla="*/ 8303165 w 8734227"/>
                <a:gd name="connsiteY15" fmla="*/ 1608864 h 1715383"/>
                <a:gd name="connsiteX16" fmla="*/ 1149027 w 8734227"/>
                <a:gd name="connsiteY16" fmla="*/ 1606864 h 1715383"/>
                <a:gd name="connsiteX17" fmla="*/ 1121599 w 8734227"/>
                <a:gd name="connsiteY17" fmla="*/ 1610703 h 1715383"/>
                <a:gd name="connsiteX18" fmla="*/ 1121602 w 8734227"/>
                <a:gd name="connsiteY18" fmla="*/ 1633277 h 1715383"/>
                <a:gd name="connsiteX19" fmla="*/ 1149027 w 8734227"/>
                <a:gd name="connsiteY19" fmla="*/ 1633277 h 1715383"/>
                <a:gd name="connsiteX20" fmla="*/ 4027721 w 8734227"/>
                <a:gd name="connsiteY20" fmla="*/ 1601447 h 1715383"/>
                <a:gd name="connsiteX21" fmla="*/ 3987043 w 8734227"/>
                <a:gd name="connsiteY21" fmla="*/ 1642124 h 1715383"/>
                <a:gd name="connsiteX22" fmla="*/ 4027721 w 8734227"/>
                <a:gd name="connsiteY22" fmla="*/ 1682801 h 1715383"/>
                <a:gd name="connsiteX23" fmla="*/ 4068398 w 8734227"/>
                <a:gd name="connsiteY23" fmla="*/ 1642124 h 1715383"/>
                <a:gd name="connsiteX24" fmla="*/ 4027721 w 8734227"/>
                <a:gd name="connsiteY24" fmla="*/ 1601447 h 1715383"/>
                <a:gd name="connsiteX25" fmla="*/ 1188532 w 8734227"/>
                <a:gd name="connsiteY25" fmla="*/ 1601335 h 1715383"/>
                <a:gd name="connsiteX26" fmla="*/ 1152413 w 8734227"/>
                <a:gd name="connsiteY26" fmla="*/ 1606390 h 1715383"/>
                <a:gd name="connsiteX27" fmla="*/ 1152413 w 8734227"/>
                <a:gd name="connsiteY27" fmla="*/ 1633277 h 1715383"/>
                <a:gd name="connsiteX28" fmla="*/ 1188586 w 8734227"/>
                <a:gd name="connsiteY28" fmla="*/ 1633277 h 1715383"/>
                <a:gd name="connsiteX29" fmla="*/ 8268937 w 8734227"/>
                <a:gd name="connsiteY29" fmla="*/ 1596942 h 1715383"/>
                <a:gd name="connsiteX30" fmla="*/ 8268937 w 8734227"/>
                <a:gd name="connsiteY30" fmla="*/ 1602519 h 1715383"/>
                <a:gd name="connsiteX31" fmla="*/ 8303165 w 8734227"/>
                <a:gd name="connsiteY31" fmla="*/ 1602519 h 1715383"/>
                <a:gd name="connsiteX32" fmla="*/ 8303165 w 8734227"/>
                <a:gd name="connsiteY32" fmla="*/ 1596942 h 1715383"/>
                <a:gd name="connsiteX33" fmla="*/ 2818847 w 8734227"/>
                <a:gd name="connsiteY33" fmla="*/ 1594679 h 1715383"/>
                <a:gd name="connsiteX34" fmla="*/ 2818847 w 8734227"/>
                <a:gd name="connsiteY34" fmla="*/ 1625793 h 1715383"/>
                <a:gd name="connsiteX35" fmla="*/ 2860864 w 8734227"/>
                <a:gd name="connsiteY35" fmla="*/ 1631591 h 1715383"/>
                <a:gd name="connsiteX36" fmla="*/ 2860802 w 8734227"/>
                <a:gd name="connsiteY36" fmla="*/ 1594679 h 1715383"/>
                <a:gd name="connsiteX37" fmla="*/ 2783108 w 8734227"/>
                <a:gd name="connsiteY37" fmla="*/ 1594679 h 1715383"/>
                <a:gd name="connsiteX38" fmla="*/ 2783110 w 8734227"/>
                <a:gd name="connsiteY38" fmla="*/ 1620860 h 1715383"/>
                <a:gd name="connsiteX39" fmla="*/ 2814919 w 8734227"/>
                <a:gd name="connsiteY39" fmla="*/ 1625251 h 1715383"/>
                <a:gd name="connsiteX40" fmla="*/ 2814919 w 8734227"/>
                <a:gd name="connsiteY40" fmla="*/ 1594679 h 1715383"/>
                <a:gd name="connsiteX41" fmla="*/ 8460169 w 8734227"/>
                <a:gd name="connsiteY41" fmla="*/ 1594535 h 1715383"/>
                <a:gd name="connsiteX42" fmla="*/ 8460169 w 8734227"/>
                <a:gd name="connsiteY42" fmla="*/ 1609826 h 1715383"/>
                <a:gd name="connsiteX43" fmla="*/ 8439786 w 8734227"/>
                <a:gd name="connsiteY43" fmla="*/ 1609826 h 1715383"/>
                <a:gd name="connsiteX44" fmla="*/ 8439786 w 8734227"/>
                <a:gd name="connsiteY44" fmla="*/ 1595380 h 1715383"/>
                <a:gd name="connsiteX45" fmla="*/ 8435075 w 8734227"/>
                <a:gd name="connsiteY45" fmla="*/ 1600091 h 1715383"/>
                <a:gd name="connsiteX46" fmla="*/ 8435075 w 8734227"/>
                <a:gd name="connsiteY46" fmla="*/ 1614633 h 1715383"/>
                <a:gd name="connsiteX47" fmla="*/ 8464880 w 8734227"/>
                <a:gd name="connsiteY47" fmla="*/ 1614633 h 1715383"/>
                <a:gd name="connsiteX48" fmla="*/ 8464880 w 8734227"/>
                <a:gd name="connsiteY48" fmla="*/ 1599246 h 1715383"/>
                <a:gd name="connsiteX49" fmla="*/ 6240640 w 8734227"/>
                <a:gd name="connsiteY49" fmla="*/ 1591376 h 1715383"/>
                <a:gd name="connsiteX50" fmla="*/ 6240640 w 8734227"/>
                <a:gd name="connsiteY50" fmla="*/ 1624080 h 1715383"/>
                <a:gd name="connsiteX51" fmla="*/ 6197045 w 8734227"/>
                <a:gd name="connsiteY51" fmla="*/ 1624080 h 1715383"/>
                <a:gd name="connsiteX52" fmla="*/ 6197045 w 8734227"/>
                <a:gd name="connsiteY52" fmla="*/ 1593184 h 1715383"/>
                <a:gd name="connsiteX53" fmla="*/ 6186968 w 8734227"/>
                <a:gd name="connsiteY53" fmla="*/ 1603261 h 1715383"/>
                <a:gd name="connsiteX54" fmla="*/ 6186968 w 8734227"/>
                <a:gd name="connsiteY54" fmla="*/ 1634363 h 1715383"/>
                <a:gd name="connsiteX55" fmla="*/ 6250715 w 8734227"/>
                <a:gd name="connsiteY55" fmla="*/ 1634363 h 1715383"/>
                <a:gd name="connsiteX56" fmla="*/ 6250715 w 8734227"/>
                <a:gd name="connsiteY56" fmla="*/ 1601453 h 1715383"/>
                <a:gd name="connsiteX57" fmla="*/ 5975882 w 8734227"/>
                <a:gd name="connsiteY57" fmla="*/ 1589739 h 1715383"/>
                <a:gd name="connsiteX58" fmla="*/ 5975882 w 8734227"/>
                <a:gd name="connsiteY58" fmla="*/ 1602364 h 1715383"/>
                <a:gd name="connsiteX59" fmla="*/ 6053370 w 8734227"/>
                <a:gd name="connsiteY59" fmla="*/ 1602364 h 1715383"/>
                <a:gd name="connsiteX60" fmla="*/ 6053370 w 8734227"/>
                <a:gd name="connsiteY60" fmla="*/ 1589739 h 1715383"/>
                <a:gd name="connsiteX61" fmla="*/ 8268937 w 8734227"/>
                <a:gd name="connsiteY61" fmla="*/ 1585020 h 1715383"/>
                <a:gd name="connsiteX62" fmla="*/ 8268937 w 8734227"/>
                <a:gd name="connsiteY62" fmla="*/ 1590597 h 1715383"/>
                <a:gd name="connsiteX63" fmla="*/ 8303165 w 8734227"/>
                <a:gd name="connsiteY63" fmla="*/ 1590597 h 1715383"/>
                <a:gd name="connsiteX64" fmla="*/ 8303165 w 8734227"/>
                <a:gd name="connsiteY64" fmla="*/ 1585020 h 1715383"/>
                <a:gd name="connsiteX65" fmla="*/ 8612398 w 8734227"/>
                <a:gd name="connsiteY65" fmla="*/ 1579252 h 1715383"/>
                <a:gd name="connsiteX66" fmla="*/ 8621916 w 8734227"/>
                <a:gd name="connsiteY66" fmla="*/ 1588770 h 1715383"/>
                <a:gd name="connsiteX67" fmla="*/ 8612398 w 8734227"/>
                <a:gd name="connsiteY67" fmla="*/ 1598288 h 1715383"/>
                <a:gd name="connsiteX68" fmla="*/ 8602880 w 8734227"/>
                <a:gd name="connsiteY68" fmla="*/ 1588770 h 1715383"/>
                <a:gd name="connsiteX69" fmla="*/ 8612398 w 8734227"/>
                <a:gd name="connsiteY69" fmla="*/ 1579252 h 1715383"/>
                <a:gd name="connsiteX70" fmla="*/ 8612398 w 8734227"/>
                <a:gd name="connsiteY70" fmla="*/ 1573932 h 1715383"/>
                <a:gd name="connsiteX71" fmla="*/ 8597559 w 8734227"/>
                <a:gd name="connsiteY71" fmla="*/ 1588770 h 1715383"/>
                <a:gd name="connsiteX72" fmla="*/ 8612398 w 8734227"/>
                <a:gd name="connsiteY72" fmla="*/ 1603608 h 1715383"/>
                <a:gd name="connsiteX73" fmla="*/ 8620988 w 8734227"/>
                <a:gd name="connsiteY73" fmla="*/ 1600545 h 1715383"/>
                <a:gd name="connsiteX74" fmla="*/ 8633111 w 8734227"/>
                <a:gd name="connsiteY74" fmla="*/ 1612668 h 1715383"/>
                <a:gd name="connsiteX75" fmla="*/ 8636873 w 8734227"/>
                <a:gd name="connsiteY75" fmla="*/ 1608907 h 1715383"/>
                <a:gd name="connsiteX76" fmla="*/ 8624637 w 8734227"/>
                <a:gd name="connsiteY76" fmla="*/ 1596671 h 1715383"/>
                <a:gd name="connsiteX77" fmla="*/ 8627236 w 8734227"/>
                <a:gd name="connsiteY77" fmla="*/ 1588770 h 1715383"/>
                <a:gd name="connsiteX78" fmla="*/ 8612398 w 8734227"/>
                <a:gd name="connsiteY78" fmla="*/ 1573932 h 1715383"/>
                <a:gd name="connsiteX79" fmla="*/ 8104689 w 8734227"/>
                <a:gd name="connsiteY79" fmla="*/ 1573371 h 1715383"/>
                <a:gd name="connsiteX80" fmla="*/ 8094578 w 8734227"/>
                <a:gd name="connsiteY80" fmla="*/ 1583482 h 1715383"/>
                <a:gd name="connsiteX81" fmla="*/ 8104865 w 8734227"/>
                <a:gd name="connsiteY81" fmla="*/ 1593770 h 1715383"/>
                <a:gd name="connsiteX82" fmla="*/ 8112479 w 8734227"/>
                <a:gd name="connsiteY82" fmla="*/ 1593770 h 1715383"/>
                <a:gd name="connsiteX83" fmla="*/ 8104788 w 8734227"/>
                <a:gd name="connsiteY83" fmla="*/ 1586078 h 1715383"/>
                <a:gd name="connsiteX84" fmla="*/ 8117510 w 8734227"/>
                <a:gd name="connsiteY84" fmla="*/ 1586078 h 1715383"/>
                <a:gd name="connsiteX85" fmla="*/ 8129144 w 8734227"/>
                <a:gd name="connsiteY85" fmla="*/ 1597712 h 1715383"/>
                <a:gd name="connsiteX86" fmla="*/ 8117510 w 8734227"/>
                <a:gd name="connsiteY86" fmla="*/ 1609345 h 1715383"/>
                <a:gd name="connsiteX87" fmla="*/ 8101646 w 8734227"/>
                <a:gd name="connsiteY87" fmla="*/ 1609345 h 1715383"/>
                <a:gd name="connsiteX88" fmla="*/ 8101646 w 8734227"/>
                <a:gd name="connsiteY88" fmla="*/ 1614633 h 1715383"/>
                <a:gd name="connsiteX89" fmla="*/ 8118183 w 8734227"/>
                <a:gd name="connsiteY89" fmla="*/ 1614633 h 1715383"/>
                <a:gd name="connsiteX90" fmla="*/ 8135104 w 8734227"/>
                <a:gd name="connsiteY90" fmla="*/ 1597711 h 1715383"/>
                <a:gd name="connsiteX91" fmla="*/ 8118183 w 8734227"/>
                <a:gd name="connsiteY91" fmla="*/ 1580790 h 1715383"/>
                <a:gd name="connsiteX92" fmla="*/ 8104884 w 8734227"/>
                <a:gd name="connsiteY92" fmla="*/ 1580790 h 1715383"/>
                <a:gd name="connsiteX93" fmla="*/ 8112303 w 8734227"/>
                <a:gd name="connsiteY93" fmla="*/ 1573371 h 1715383"/>
                <a:gd name="connsiteX94" fmla="*/ 8255477 w 8734227"/>
                <a:gd name="connsiteY94" fmla="*/ 1573098 h 1715383"/>
                <a:gd name="connsiteX95" fmla="*/ 8255477 w 8734227"/>
                <a:gd name="connsiteY95" fmla="*/ 1578675 h 1715383"/>
                <a:gd name="connsiteX96" fmla="*/ 8303165 w 8734227"/>
                <a:gd name="connsiteY96" fmla="*/ 1578675 h 1715383"/>
                <a:gd name="connsiteX97" fmla="*/ 8303165 w 8734227"/>
                <a:gd name="connsiteY97" fmla="*/ 1573098 h 1715383"/>
                <a:gd name="connsiteX98" fmla="*/ 8450362 w 8734227"/>
                <a:gd name="connsiteY98" fmla="*/ 1572906 h 1715383"/>
                <a:gd name="connsiteX99" fmla="*/ 8439786 w 8734227"/>
                <a:gd name="connsiteY99" fmla="*/ 1583482 h 1715383"/>
                <a:gd name="connsiteX100" fmla="*/ 8439786 w 8734227"/>
                <a:gd name="connsiteY100" fmla="*/ 1583447 h 1715383"/>
                <a:gd name="connsiteX101" fmla="*/ 8435075 w 8734227"/>
                <a:gd name="connsiteY101" fmla="*/ 1588158 h 1715383"/>
                <a:gd name="connsiteX102" fmla="*/ 8435075 w 8734227"/>
                <a:gd name="connsiteY102" fmla="*/ 1588193 h 1715383"/>
                <a:gd name="connsiteX103" fmla="*/ 8425148 w 8734227"/>
                <a:gd name="connsiteY103" fmla="*/ 1598120 h 1715383"/>
                <a:gd name="connsiteX104" fmla="*/ 8429121 w 8734227"/>
                <a:gd name="connsiteY104" fmla="*/ 1602092 h 1715383"/>
                <a:gd name="connsiteX105" fmla="*/ 8450362 w 8734227"/>
                <a:gd name="connsiteY105" fmla="*/ 1580852 h 1715383"/>
                <a:gd name="connsiteX106" fmla="*/ 8450418 w 8734227"/>
                <a:gd name="connsiteY106" fmla="*/ 1580908 h 1715383"/>
                <a:gd name="connsiteX107" fmla="*/ 8450438 w 8734227"/>
                <a:gd name="connsiteY107" fmla="*/ 1580888 h 1715383"/>
                <a:gd name="connsiteX108" fmla="*/ 8471671 w 8734227"/>
                <a:gd name="connsiteY108" fmla="*/ 1602122 h 1715383"/>
                <a:gd name="connsiteX109" fmla="*/ 8475624 w 8734227"/>
                <a:gd name="connsiteY109" fmla="*/ 1598168 h 1715383"/>
                <a:gd name="connsiteX110" fmla="*/ 8464880 w 8734227"/>
                <a:gd name="connsiteY110" fmla="*/ 1587424 h 1715383"/>
                <a:gd name="connsiteX111" fmla="*/ 8464880 w 8734227"/>
                <a:gd name="connsiteY111" fmla="*/ 1574444 h 1715383"/>
                <a:gd name="connsiteX112" fmla="*/ 8460169 w 8734227"/>
                <a:gd name="connsiteY112" fmla="*/ 1574444 h 1715383"/>
                <a:gd name="connsiteX113" fmla="*/ 8460169 w 8734227"/>
                <a:gd name="connsiteY113" fmla="*/ 1582713 h 1715383"/>
                <a:gd name="connsiteX114" fmla="*/ 3085285 w 8734227"/>
                <a:gd name="connsiteY114" fmla="*/ 1568490 h 1715383"/>
                <a:gd name="connsiteX115" fmla="*/ 3102553 w 8734227"/>
                <a:gd name="connsiteY115" fmla="*/ 1585759 h 1715383"/>
                <a:gd name="connsiteX116" fmla="*/ 3085285 w 8734227"/>
                <a:gd name="connsiteY116" fmla="*/ 1603029 h 1715383"/>
                <a:gd name="connsiteX117" fmla="*/ 3068014 w 8734227"/>
                <a:gd name="connsiteY117" fmla="*/ 1585759 h 1715383"/>
                <a:gd name="connsiteX118" fmla="*/ 3085285 w 8734227"/>
                <a:gd name="connsiteY118" fmla="*/ 1568490 h 1715383"/>
                <a:gd name="connsiteX119" fmla="*/ 5975882 w 8734227"/>
                <a:gd name="connsiteY119" fmla="*/ 1562748 h 1715383"/>
                <a:gd name="connsiteX120" fmla="*/ 5975882 w 8734227"/>
                <a:gd name="connsiteY120" fmla="*/ 1575374 h 1715383"/>
                <a:gd name="connsiteX121" fmla="*/ 6053370 w 8734227"/>
                <a:gd name="connsiteY121" fmla="*/ 1575374 h 1715383"/>
                <a:gd name="connsiteX122" fmla="*/ 6053370 w 8734227"/>
                <a:gd name="connsiteY122" fmla="*/ 1562748 h 1715383"/>
                <a:gd name="connsiteX123" fmla="*/ 2566537 w 8734227"/>
                <a:gd name="connsiteY123" fmla="*/ 1561821 h 1715383"/>
                <a:gd name="connsiteX124" fmla="*/ 2541313 w 8734227"/>
                <a:gd name="connsiteY124" fmla="*/ 1590869 h 1715383"/>
                <a:gd name="connsiteX125" fmla="*/ 2566537 w 8734227"/>
                <a:gd name="connsiteY125" fmla="*/ 1621153 h 1715383"/>
                <a:gd name="connsiteX126" fmla="*/ 2582362 w 8734227"/>
                <a:gd name="connsiteY126" fmla="*/ 1621153 h 1715383"/>
                <a:gd name="connsiteX127" fmla="*/ 2563569 w 8734227"/>
                <a:gd name="connsiteY127" fmla="*/ 1598903 h 1715383"/>
                <a:gd name="connsiteX128" fmla="*/ 2606103 w 8734227"/>
                <a:gd name="connsiteY128" fmla="*/ 1598903 h 1715383"/>
                <a:gd name="connsiteX129" fmla="*/ 2606103 w 8734227"/>
                <a:gd name="connsiteY129" fmla="*/ 1583453 h 1715383"/>
                <a:gd name="connsiteX130" fmla="*/ 2563569 w 8734227"/>
                <a:gd name="connsiteY130" fmla="*/ 1583453 h 1715383"/>
                <a:gd name="connsiteX131" fmla="*/ 2582362 w 8734227"/>
                <a:gd name="connsiteY131" fmla="*/ 1561821 h 1715383"/>
                <a:gd name="connsiteX132" fmla="*/ 2814919 w 8734227"/>
                <a:gd name="connsiteY132" fmla="*/ 1560122 h 1715383"/>
                <a:gd name="connsiteX133" fmla="*/ 2783110 w 8734227"/>
                <a:gd name="connsiteY133" fmla="*/ 1564573 h 1715383"/>
                <a:gd name="connsiteX134" fmla="*/ 2783116 w 8734227"/>
                <a:gd name="connsiteY134" fmla="*/ 1590755 h 1715383"/>
                <a:gd name="connsiteX135" fmla="*/ 2814919 w 8734227"/>
                <a:gd name="connsiteY135" fmla="*/ 1590755 h 1715383"/>
                <a:gd name="connsiteX136" fmla="*/ 3085194 w 8734227"/>
                <a:gd name="connsiteY136" fmla="*/ 1559855 h 1715383"/>
                <a:gd name="connsiteX137" fmla="*/ 3059291 w 8734227"/>
                <a:gd name="connsiteY137" fmla="*/ 1585759 h 1715383"/>
                <a:gd name="connsiteX138" fmla="*/ 3062416 w 8734227"/>
                <a:gd name="connsiteY138" fmla="*/ 1597850 h 1715383"/>
                <a:gd name="connsiteX139" fmla="*/ 3038712 w 8734227"/>
                <a:gd name="connsiteY139" fmla="*/ 1621553 h 1715383"/>
                <a:gd name="connsiteX140" fmla="*/ 3038712 w 8734227"/>
                <a:gd name="connsiteY140" fmla="*/ 1625623 h 1715383"/>
                <a:gd name="connsiteX141" fmla="*/ 3046852 w 8734227"/>
                <a:gd name="connsiteY141" fmla="*/ 1633764 h 1715383"/>
                <a:gd name="connsiteX142" fmla="*/ 3050925 w 8734227"/>
                <a:gd name="connsiteY142" fmla="*/ 1633764 h 1715383"/>
                <a:gd name="connsiteX143" fmla="*/ 3075079 w 8734227"/>
                <a:gd name="connsiteY143" fmla="*/ 1609610 h 1715383"/>
                <a:gd name="connsiteX144" fmla="*/ 3085194 w 8734227"/>
                <a:gd name="connsiteY144" fmla="*/ 1611663 h 1715383"/>
                <a:gd name="connsiteX145" fmla="*/ 3111099 w 8734227"/>
                <a:gd name="connsiteY145" fmla="*/ 1585759 h 1715383"/>
                <a:gd name="connsiteX146" fmla="*/ 3085194 w 8734227"/>
                <a:gd name="connsiteY146" fmla="*/ 1559855 h 1715383"/>
                <a:gd name="connsiteX147" fmla="*/ 2860734 w 8734227"/>
                <a:gd name="connsiteY147" fmla="*/ 1553710 h 1715383"/>
                <a:gd name="connsiteX148" fmla="*/ 2818847 w 8734227"/>
                <a:gd name="connsiteY148" fmla="*/ 1559572 h 1715383"/>
                <a:gd name="connsiteX149" fmla="*/ 2818847 w 8734227"/>
                <a:gd name="connsiteY149" fmla="*/ 1590755 h 1715383"/>
                <a:gd name="connsiteX150" fmla="*/ 2860797 w 8734227"/>
                <a:gd name="connsiteY150" fmla="*/ 1590755 h 1715383"/>
                <a:gd name="connsiteX151" fmla="*/ 6408449 w 8734227"/>
                <a:gd name="connsiteY151" fmla="*/ 1550368 h 1715383"/>
                <a:gd name="connsiteX152" fmla="*/ 6434588 w 8734227"/>
                <a:gd name="connsiteY152" fmla="*/ 1576506 h 1715383"/>
                <a:gd name="connsiteX153" fmla="*/ 6408449 w 8734227"/>
                <a:gd name="connsiteY153" fmla="*/ 1602645 h 1715383"/>
                <a:gd name="connsiteX154" fmla="*/ 6382311 w 8734227"/>
                <a:gd name="connsiteY154" fmla="*/ 1576506 h 1715383"/>
                <a:gd name="connsiteX155" fmla="*/ 6408449 w 8734227"/>
                <a:gd name="connsiteY155" fmla="*/ 1550368 h 1715383"/>
                <a:gd name="connsiteX156" fmla="*/ 6219663 w 8734227"/>
                <a:gd name="connsiteY156" fmla="*/ 1545115 h 1715383"/>
                <a:gd name="connsiteX157" fmla="*/ 6197045 w 8734227"/>
                <a:gd name="connsiteY157" fmla="*/ 1567734 h 1715383"/>
                <a:gd name="connsiteX158" fmla="*/ 6197045 w 8734227"/>
                <a:gd name="connsiteY158" fmla="*/ 1567661 h 1715383"/>
                <a:gd name="connsiteX159" fmla="*/ 6186968 w 8734227"/>
                <a:gd name="connsiteY159" fmla="*/ 1577738 h 1715383"/>
                <a:gd name="connsiteX160" fmla="*/ 6186968 w 8734227"/>
                <a:gd name="connsiteY160" fmla="*/ 1577811 h 1715383"/>
                <a:gd name="connsiteX161" fmla="*/ 6165737 w 8734227"/>
                <a:gd name="connsiteY161" fmla="*/ 1599043 h 1715383"/>
                <a:gd name="connsiteX162" fmla="*/ 6174233 w 8734227"/>
                <a:gd name="connsiteY162" fmla="*/ 1607540 h 1715383"/>
                <a:gd name="connsiteX163" fmla="*/ 6219663 w 8734227"/>
                <a:gd name="connsiteY163" fmla="*/ 1562110 h 1715383"/>
                <a:gd name="connsiteX164" fmla="*/ 6219784 w 8734227"/>
                <a:gd name="connsiteY164" fmla="*/ 1562231 h 1715383"/>
                <a:gd name="connsiteX165" fmla="*/ 6219828 w 8734227"/>
                <a:gd name="connsiteY165" fmla="*/ 1562188 h 1715383"/>
                <a:gd name="connsiteX166" fmla="*/ 6265241 w 8734227"/>
                <a:gd name="connsiteY166" fmla="*/ 1607603 h 1715383"/>
                <a:gd name="connsiteX167" fmla="*/ 6273696 w 8734227"/>
                <a:gd name="connsiteY167" fmla="*/ 1599147 h 1715383"/>
                <a:gd name="connsiteX168" fmla="*/ 6250715 w 8734227"/>
                <a:gd name="connsiteY168" fmla="*/ 1576167 h 1715383"/>
                <a:gd name="connsiteX169" fmla="*/ 6250715 w 8734227"/>
                <a:gd name="connsiteY169" fmla="*/ 1548405 h 1715383"/>
                <a:gd name="connsiteX170" fmla="*/ 6240640 w 8734227"/>
                <a:gd name="connsiteY170" fmla="*/ 1548405 h 1715383"/>
                <a:gd name="connsiteX171" fmla="*/ 6240640 w 8734227"/>
                <a:gd name="connsiteY171" fmla="*/ 1566092 h 1715383"/>
                <a:gd name="connsiteX172" fmla="*/ 6408449 w 8734227"/>
                <a:gd name="connsiteY172" fmla="*/ 1535759 h 1715383"/>
                <a:gd name="connsiteX173" fmla="*/ 6367702 w 8734227"/>
                <a:gd name="connsiteY173" fmla="*/ 1576506 h 1715383"/>
                <a:gd name="connsiteX174" fmla="*/ 6408449 w 8734227"/>
                <a:gd name="connsiteY174" fmla="*/ 1617255 h 1715383"/>
                <a:gd name="connsiteX175" fmla="*/ 6432040 w 8734227"/>
                <a:gd name="connsiteY175" fmla="*/ 1608842 h 1715383"/>
                <a:gd name="connsiteX176" fmla="*/ 6465332 w 8734227"/>
                <a:gd name="connsiteY176" fmla="*/ 1642134 h 1715383"/>
                <a:gd name="connsiteX177" fmla="*/ 6475661 w 8734227"/>
                <a:gd name="connsiteY177" fmla="*/ 1631804 h 1715383"/>
                <a:gd name="connsiteX178" fmla="*/ 6442062 w 8734227"/>
                <a:gd name="connsiteY178" fmla="*/ 1598203 h 1715383"/>
                <a:gd name="connsiteX179" fmla="*/ 6449198 w 8734227"/>
                <a:gd name="connsiteY179" fmla="*/ 1576506 h 1715383"/>
                <a:gd name="connsiteX180" fmla="*/ 6408449 w 8734227"/>
                <a:gd name="connsiteY180" fmla="*/ 1535759 h 1715383"/>
                <a:gd name="connsiteX181" fmla="*/ 5945410 w 8734227"/>
                <a:gd name="connsiteY181" fmla="*/ 1535759 h 1715383"/>
                <a:gd name="connsiteX182" fmla="*/ 5945410 w 8734227"/>
                <a:gd name="connsiteY182" fmla="*/ 1548383 h 1715383"/>
                <a:gd name="connsiteX183" fmla="*/ 6053370 w 8734227"/>
                <a:gd name="connsiteY183" fmla="*/ 1548383 h 1715383"/>
                <a:gd name="connsiteX184" fmla="*/ 6053370 w 8734227"/>
                <a:gd name="connsiteY184" fmla="*/ 1535759 h 1715383"/>
                <a:gd name="connsiteX185" fmla="*/ 5791471 w 8734227"/>
                <a:gd name="connsiteY185" fmla="*/ 1535759 h 1715383"/>
                <a:gd name="connsiteX186" fmla="*/ 5765016 w 8734227"/>
                <a:gd name="connsiteY186" fmla="*/ 1562214 h 1715383"/>
                <a:gd name="connsiteX187" fmla="*/ 5791932 w 8734227"/>
                <a:gd name="connsiteY187" fmla="*/ 1589132 h 1715383"/>
                <a:gd name="connsiteX188" fmla="*/ 5811855 w 8734227"/>
                <a:gd name="connsiteY188" fmla="*/ 1589132 h 1715383"/>
                <a:gd name="connsiteX189" fmla="*/ 5791731 w 8734227"/>
                <a:gd name="connsiteY189" fmla="*/ 1569006 h 1715383"/>
                <a:gd name="connsiteX190" fmla="*/ 5825016 w 8734227"/>
                <a:gd name="connsiteY190" fmla="*/ 1569006 h 1715383"/>
                <a:gd name="connsiteX191" fmla="*/ 5855455 w 8734227"/>
                <a:gd name="connsiteY191" fmla="*/ 1599445 h 1715383"/>
                <a:gd name="connsiteX192" fmla="*/ 5825016 w 8734227"/>
                <a:gd name="connsiteY192" fmla="*/ 1629884 h 1715383"/>
                <a:gd name="connsiteX193" fmla="*/ 5783509 w 8734227"/>
                <a:gd name="connsiteY193" fmla="*/ 1629884 h 1715383"/>
                <a:gd name="connsiteX194" fmla="*/ 5783509 w 8734227"/>
                <a:gd name="connsiteY194" fmla="*/ 1643718 h 1715383"/>
                <a:gd name="connsiteX195" fmla="*/ 5826777 w 8734227"/>
                <a:gd name="connsiteY195" fmla="*/ 1643718 h 1715383"/>
                <a:gd name="connsiteX196" fmla="*/ 5871050 w 8734227"/>
                <a:gd name="connsiteY196" fmla="*/ 1599445 h 1715383"/>
                <a:gd name="connsiteX197" fmla="*/ 5826777 w 8734227"/>
                <a:gd name="connsiteY197" fmla="*/ 1555170 h 1715383"/>
                <a:gd name="connsiteX198" fmla="*/ 5791982 w 8734227"/>
                <a:gd name="connsiteY198" fmla="*/ 1555170 h 1715383"/>
                <a:gd name="connsiteX199" fmla="*/ 5811394 w 8734227"/>
                <a:gd name="connsiteY199" fmla="*/ 1535759 h 1715383"/>
                <a:gd name="connsiteX200" fmla="*/ 5136541 w 8734227"/>
                <a:gd name="connsiteY200" fmla="*/ 1520601 h 1715383"/>
                <a:gd name="connsiteX201" fmla="*/ 5066061 w 8734227"/>
                <a:gd name="connsiteY201" fmla="*/ 1591081 h 1715383"/>
                <a:gd name="connsiteX202" fmla="*/ 5136541 w 8734227"/>
                <a:gd name="connsiteY202" fmla="*/ 1661562 h 1715383"/>
                <a:gd name="connsiteX203" fmla="*/ 5207022 w 8734227"/>
                <a:gd name="connsiteY203" fmla="*/ 1591081 h 1715383"/>
                <a:gd name="connsiteX204" fmla="*/ 5136541 w 8734227"/>
                <a:gd name="connsiteY204" fmla="*/ 1520601 h 1715383"/>
                <a:gd name="connsiteX205" fmla="*/ 2804155 w 8734227"/>
                <a:gd name="connsiteY205" fmla="*/ 1019973 h 1715383"/>
                <a:gd name="connsiteX206" fmla="*/ 3072374 w 8734227"/>
                <a:gd name="connsiteY206" fmla="*/ 1019973 h 1715383"/>
                <a:gd name="connsiteX207" fmla="*/ 3072771 w 8734227"/>
                <a:gd name="connsiteY207" fmla="*/ 1255954 h 1715383"/>
                <a:gd name="connsiteX208" fmla="*/ 2804155 w 8734227"/>
                <a:gd name="connsiteY208" fmla="*/ 1218873 h 1715383"/>
                <a:gd name="connsiteX209" fmla="*/ 2575684 w 8734227"/>
                <a:gd name="connsiteY209" fmla="*/ 1019973 h 1715383"/>
                <a:gd name="connsiteX210" fmla="*/ 2779051 w 8734227"/>
                <a:gd name="connsiteY210" fmla="*/ 1019973 h 1715383"/>
                <a:gd name="connsiteX211" fmla="*/ 2779051 w 8734227"/>
                <a:gd name="connsiteY211" fmla="*/ 1215407 h 1715383"/>
                <a:gd name="connsiteX212" fmla="*/ 2575706 w 8734227"/>
                <a:gd name="connsiteY212" fmla="*/ 1187336 h 1715383"/>
                <a:gd name="connsiteX213" fmla="*/ 2575684 w 8734227"/>
                <a:gd name="connsiteY213" fmla="*/ 1019973 h 1715383"/>
                <a:gd name="connsiteX214" fmla="*/ 1127626 w 8734227"/>
                <a:gd name="connsiteY214" fmla="*/ 1017379 h 1715383"/>
                <a:gd name="connsiteX215" fmla="*/ 1496190 w 8734227"/>
                <a:gd name="connsiteY215" fmla="*/ 1017379 h 1715383"/>
                <a:gd name="connsiteX216" fmla="*/ 1496735 w 8734227"/>
                <a:gd name="connsiteY216" fmla="*/ 1341644 h 1715383"/>
                <a:gd name="connsiteX217" fmla="*/ 1127626 w 8734227"/>
                <a:gd name="connsiteY217" fmla="*/ 1290690 h 1715383"/>
                <a:gd name="connsiteX218" fmla="*/ 813680 w 8734227"/>
                <a:gd name="connsiteY218" fmla="*/ 1017379 h 1715383"/>
                <a:gd name="connsiteX219" fmla="*/ 1093130 w 8734227"/>
                <a:gd name="connsiteY219" fmla="*/ 1017379 h 1715383"/>
                <a:gd name="connsiteX220" fmla="*/ 1093130 w 8734227"/>
                <a:gd name="connsiteY220" fmla="*/ 1285928 h 1715383"/>
                <a:gd name="connsiteX221" fmla="*/ 813711 w 8734227"/>
                <a:gd name="connsiteY221" fmla="*/ 1247355 h 1715383"/>
                <a:gd name="connsiteX222" fmla="*/ 813680 w 8734227"/>
                <a:gd name="connsiteY222" fmla="*/ 1017379 h 1715383"/>
                <a:gd name="connsiteX223" fmla="*/ 8200722 w 8734227"/>
                <a:gd name="connsiteY223" fmla="*/ 882974 h 1715383"/>
                <a:gd name="connsiteX224" fmla="*/ 8221059 w 8734227"/>
                <a:gd name="connsiteY224" fmla="*/ 882974 h 1715383"/>
                <a:gd name="connsiteX225" fmla="*/ 8511008 w 8734227"/>
                <a:gd name="connsiteY225" fmla="*/ 882974 h 1715383"/>
                <a:gd name="connsiteX226" fmla="*/ 8531346 w 8734227"/>
                <a:gd name="connsiteY226" fmla="*/ 882974 h 1715383"/>
                <a:gd name="connsiteX227" fmla="*/ 8531346 w 8734227"/>
                <a:gd name="connsiteY227" fmla="*/ 1018677 h 1715383"/>
                <a:gd name="connsiteX228" fmla="*/ 8530729 w 8734227"/>
                <a:gd name="connsiteY228" fmla="*/ 1018677 h 1715383"/>
                <a:gd name="connsiteX229" fmla="*/ 8530729 w 8734227"/>
                <a:gd name="connsiteY229" fmla="*/ 1161453 h 1715383"/>
                <a:gd name="connsiteX230" fmla="*/ 8529496 w 8734227"/>
                <a:gd name="connsiteY230" fmla="*/ 1167628 h 1715383"/>
                <a:gd name="connsiteX231" fmla="*/ 8527031 w 8734227"/>
                <a:gd name="connsiteY231" fmla="*/ 1173185 h 1715383"/>
                <a:gd name="connsiteX232" fmla="*/ 8522717 w 8734227"/>
                <a:gd name="connsiteY232" fmla="*/ 1177508 h 1715383"/>
                <a:gd name="connsiteX233" fmla="*/ 8517171 w 8734227"/>
                <a:gd name="connsiteY233" fmla="*/ 1180286 h 1715383"/>
                <a:gd name="connsiteX234" fmla="*/ 8511008 w 8734227"/>
                <a:gd name="connsiteY234" fmla="*/ 1181521 h 1715383"/>
                <a:gd name="connsiteX235" fmla="*/ 8468428 w 8734227"/>
                <a:gd name="connsiteY235" fmla="*/ 1181521 h 1715383"/>
                <a:gd name="connsiteX236" fmla="*/ 8468428 w 8734227"/>
                <a:gd name="connsiteY236" fmla="*/ 1268851 h 1715383"/>
                <a:gd name="connsiteX237" fmla="*/ 8467189 w 8734227"/>
                <a:gd name="connsiteY237" fmla="*/ 1277782 h 1715383"/>
                <a:gd name="connsiteX238" fmla="*/ 8463782 w 8734227"/>
                <a:gd name="connsiteY238" fmla="*/ 1286098 h 1715383"/>
                <a:gd name="connsiteX239" fmla="*/ 8458516 w 8734227"/>
                <a:gd name="connsiteY239" fmla="*/ 1293182 h 1715383"/>
                <a:gd name="connsiteX240" fmla="*/ 8451391 w 8734227"/>
                <a:gd name="connsiteY240" fmla="*/ 1299034 h 1715383"/>
                <a:gd name="connsiteX241" fmla="*/ 8443027 w 8734227"/>
                <a:gd name="connsiteY241" fmla="*/ 1302422 h 1715383"/>
                <a:gd name="connsiteX242" fmla="*/ 8433424 w 8734227"/>
                <a:gd name="connsiteY242" fmla="*/ 1303654 h 1715383"/>
                <a:gd name="connsiteX243" fmla="*/ 8424131 w 8734227"/>
                <a:gd name="connsiteY243" fmla="*/ 1302422 h 1715383"/>
                <a:gd name="connsiteX244" fmla="*/ 8415767 w 8734227"/>
                <a:gd name="connsiteY244" fmla="*/ 1299034 h 1715383"/>
                <a:gd name="connsiteX245" fmla="*/ 8408642 w 8734227"/>
                <a:gd name="connsiteY245" fmla="*/ 1293182 h 1715383"/>
                <a:gd name="connsiteX246" fmla="*/ 8403066 w 8734227"/>
                <a:gd name="connsiteY246" fmla="*/ 1286098 h 1715383"/>
                <a:gd name="connsiteX247" fmla="*/ 8399349 w 8734227"/>
                <a:gd name="connsiteY247" fmla="*/ 1277782 h 1715383"/>
                <a:gd name="connsiteX248" fmla="*/ 8398109 w 8734227"/>
                <a:gd name="connsiteY248" fmla="*/ 1268851 h 1715383"/>
                <a:gd name="connsiteX249" fmla="*/ 8398109 w 8734227"/>
                <a:gd name="connsiteY249" fmla="*/ 1181521 h 1715383"/>
                <a:gd name="connsiteX250" fmla="*/ 8332725 w 8734227"/>
                <a:gd name="connsiteY250" fmla="*/ 1181521 h 1715383"/>
                <a:gd name="connsiteX251" fmla="*/ 8332725 w 8734227"/>
                <a:gd name="connsiteY251" fmla="*/ 1268851 h 1715383"/>
                <a:gd name="connsiteX252" fmla="*/ 8331196 w 8734227"/>
                <a:gd name="connsiteY252" fmla="*/ 1277782 h 1715383"/>
                <a:gd name="connsiteX253" fmla="*/ 8328139 w 8734227"/>
                <a:gd name="connsiteY253" fmla="*/ 1286098 h 1715383"/>
                <a:gd name="connsiteX254" fmla="*/ 8322636 w 8734227"/>
                <a:gd name="connsiteY254" fmla="*/ 1293182 h 1715383"/>
                <a:gd name="connsiteX255" fmla="*/ 8315605 w 8734227"/>
                <a:gd name="connsiteY255" fmla="*/ 1299034 h 1715383"/>
                <a:gd name="connsiteX256" fmla="*/ 8307351 w 8734227"/>
                <a:gd name="connsiteY256" fmla="*/ 1302422 h 1715383"/>
                <a:gd name="connsiteX257" fmla="*/ 8297874 w 8734227"/>
                <a:gd name="connsiteY257" fmla="*/ 1303654 h 1715383"/>
                <a:gd name="connsiteX258" fmla="*/ 8288702 w 8734227"/>
                <a:gd name="connsiteY258" fmla="*/ 1302422 h 1715383"/>
                <a:gd name="connsiteX259" fmla="*/ 8280448 w 8734227"/>
                <a:gd name="connsiteY259" fmla="*/ 1299034 h 1715383"/>
                <a:gd name="connsiteX260" fmla="*/ 8273417 w 8734227"/>
                <a:gd name="connsiteY260" fmla="*/ 1293182 h 1715383"/>
                <a:gd name="connsiteX261" fmla="*/ 8267914 w 8734227"/>
                <a:gd name="connsiteY261" fmla="*/ 1286098 h 1715383"/>
                <a:gd name="connsiteX262" fmla="*/ 8264245 w 8734227"/>
                <a:gd name="connsiteY262" fmla="*/ 1277782 h 1715383"/>
                <a:gd name="connsiteX263" fmla="*/ 8263023 w 8734227"/>
                <a:gd name="connsiteY263" fmla="*/ 1268851 h 1715383"/>
                <a:gd name="connsiteX264" fmla="*/ 8263023 w 8734227"/>
                <a:gd name="connsiteY264" fmla="*/ 1181521 h 1715383"/>
                <a:gd name="connsiteX265" fmla="*/ 8221059 w 8734227"/>
                <a:gd name="connsiteY265" fmla="*/ 1181521 h 1715383"/>
                <a:gd name="connsiteX266" fmla="*/ 8214589 w 8734227"/>
                <a:gd name="connsiteY266" fmla="*/ 1180286 h 1715383"/>
                <a:gd name="connsiteX267" fmla="*/ 8209350 w 8734227"/>
                <a:gd name="connsiteY267" fmla="*/ 1177508 h 1715383"/>
                <a:gd name="connsiteX268" fmla="*/ 8205037 w 8734227"/>
                <a:gd name="connsiteY268" fmla="*/ 1173185 h 1715383"/>
                <a:gd name="connsiteX269" fmla="*/ 8202263 w 8734227"/>
                <a:gd name="connsiteY269" fmla="*/ 1167628 h 1715383"/>
                <a:gd name="connsiteX270" fmla="*/ 8201339 w 8734227"/>
                <a:gd name="connsiteY270" fmla="*/ 1161453 h 1715383"/>
                <a:gd name="connsiteX271" fmla="*/ 8201339 w 8734227"/>
                <a:gd name="connsiteY271" fmla="*/ 1018677 h 1715383"/>
                <a:gd name="connsiteX272" fmla="*/ 8200722 w 8734227"/>
                <a:gd name="connsiteY272" fmla="*/ 1018677 h 1715383"/>
                <a:gd name="connsiteX273" fmla="*/ 5227484 w 8734227"/>
                <a:gd name="connsiteY273" fmla="*/ 878578 h 1715383"/>
                <a:gd name="connsiteX274" fmla="*/ 5323885 w 8734227"/>
                <a:gd name="connsiteY274" fmla="*/ 928253 h 1715383"/>
                <a:gd name="connsiteX275" fmla="*/ 5270531 w 8734227"/>
                <a:gd name="connsiteY275" fmla="*/ 1022696 h 1715383"/>
                <a:gd name="connsiteX276" fmla="*/ 5337223 w 8734227"/>
                <a:gd name="connsiteY276" fmla="*/ 1123886 h 1715383"/>
                <a:gd name="connsiteX277" fmla="*/ 5228091 w 8734227"/>
                <a:gd name="connsiteY277" fmla="*/ 1255739 h 1715383"/>
                <a:gd name="connsiteX278" fmla="*/ 5146848 w 8734227"/>
                <a:gd name="connsiteY278" fmla="*/ 1236114 h 1715383"/>
                <a:gd name="connsiteX279" fmla="*/ 5064998 w 8734227"/>
                <a:gd name="connsiteY279" fmla="*/ 1256965 h 1715383"/>
                <a:gd name="connsiteX280" fmla="*/ 4935858 w 8734227"/>
                <a:gd name="connsiteY280" fmla="*/ 1031282 h 1715383"/>
                <a:gd name="connsiteX281" fmla="*/ 5054085 w 8734227"/>
                <a:gd name="connsiteY281" fmla="*/ 879805 h 1715383"/>
                <a:gd name="connsiteX282" fmla="*/ 5140179 w 8734227"/>
                <a:gd name="connsiteY282" fmla="*/ 901882 h 1715383"/>
                <a:gd name="connsiteX283" fmla="*/ 5227484 w 8734227"/>
                <a:gd name="connsiteY283" fmla="*/ 878578 h 1715383"/>
                <a:gd name="connsiteX284" fmla="*/ 8583622 w 8734227"/>
                <a:gd name="connsiteY284" fmla="*/ 871871 h 1715383"/>
                <a:gd name="connsiteX285" fmla="*/ 8592915 w 8734227"/>
                <a:gd name="connsiteY285" fmla="*/ 873105 h 1715383"/>
                <a:gd name="connsiteX286" fmla="*/ 8601898 w 8734227"/>
                <a:gd name="connsiteY286" fmla="*/ 876806 h 1715383"/>
                <a:gd name="connsiteX287" fmla="*/ 8609023 w 8734227"/>
                <a:gd name="connsiteY287" fmla="*/ 882357 h 1715383"/>
                <a:gd name="connsiteX288" fmla="*/ 8614289 w 8734227"/>
                <a:gd name="connsiteY288" fmla="*/ 889451 h 1715383"/>
                <a:gd name="connsiteX289" fmla="*/ 8617697 w 8734227"/>
                <a:gd name="connsiteY289" fmla="*/ 897778 h 1715383"/>
                <a:gd name="connsiteX290" fmla="*/ 8618936 w 8734227"/>
                <a:gd name="connsiteY290" fmla="*/ 907339 h 1715383"/>
                <a:gd name="connsiteX291" fmla="*/ 8618936 w 8734227"/>
                <a:gd name="connsiteY291" fmla="*/ 1064631 h 1715383"/>
                <a:gd name="connsiteX292" fmla="*/ 8617697 w 8734227"/>
                <a:gd name="connsiteY292" fmla="*/ 1073884 h 1715383"/>
                <a:gd name="connsiteX293" fmla="*/ 8614289 w 8734227"/>
                <a:gd name="connsiteY293" fmla="*/ 1082520 h 1715383"/>
                <a:gd name="connsiteX294" fmla="*/ 8609023 w 8734227"/>
                <a:gd name="connsiteY294" fmla="*/ 1089613 h 1715383"/>
                <a:gd name="connsiteX295" fmla="*/ 8601898 w 8734227"/>
                <a:gd name="connsiteY295" fmla="*/ 1095165 h 1715383"/>
                <a:gd name="connsiteX296" fmla="*/ 8592915 w 8734227"/>
                <a:gd name="connsiteY296" fmla="*/ 1098249 h 1715383"/>
                <a:gd name="connsiteX297" fmla="*/ 8583622 w 8734227"/>
                <a:gd name="connsiteY297" fmla="*/ 1099482 h 1715383"/>
                <a:gd name="connsiteX298" fmla="*/ 8574638 w 8734227"/>
                <a:gd name="connsiteY298" fmla="*/ 1098249 h 1715383"/>
                <a:gd name="connsiteX299" fmla="*/ 8566274 w 8734227"/>
                <a:gd name="connsiteY299" fmla="*/ 1095165 h 1715383"/>
                <a:gd name="connsiteX300" fmla="*/ 8559149 w 8734227"/>
                <a:gd name="connsiteY300" fmla="*/ 1089613 h 1715383"/>
                <a:gd name="connsiteX301" fmla="*/ 8553264 w 8734227"/>
                <a:gd name="connsiteY301" fmla="*/ 1082520 h 1715383"/>
                <a:gd name="connsiteX302" fmla="*/ 8549856 w 8734227"/>
                <a:gd name="connsiteY302" fmla="*/ 1073884 h 1715383"/>
                <a:gd name="connsiteX303" fmla="*/ 8548617 w 8734227"/>
                <a:gd name="connsiteY303" fmla="*/ 1064631 h 1715383"/>
                <a:gd name="connsiteX304" fmla="*/ 8548617 w 8734227"/>
                <a:gd name="connsiteY304" fmla="*/ 907339 h 1715383"/>
                <a:gd name="connsiteX305" fmla="*/ 8549856 w 8734227"/>
                <a:gd name="connsiteY305" fmla="*/ 897778 h 1715383"/>
                <a:gd name="connsiteX306" fmla="*/ 8553264 w 8734227"/>
                <a:gd name="connsiteY306" fmla="*/ 889451 h 1715383"/>
                <a:gd name="connsiteX307" fmla="*/ 8559149 w 8734227"/>
                <a:gd name="connsiteY307" fmla="*/ 882357 h 1715383"/>
                <a:gd name="connsiteX308" fmla="*/ 8566274 w 8734227"/>
                <a:gd name="connsiteY308" fmla="*/ 876806 h 1715383"/>
                <a:gd name="connsiteX309" fmla="*/ 8574638 w 8734227"/>
                <a:gd name="connsiteY309" fmla="*/ 873105 h 1715383"/>
                <a:gd name="connsiteX310" fmla="*/ 8147521 w 8734227"/>
                <a:gd name="connsiteY310" fmla="*/ 871871 h 1715383"/>
                <a:gd name="connsiteX311" fmla="*/ 8157040 w 8734227"/>
                <a:gd name="connsiteY311" fmla="*/ 873105 h 1715383"/>
                <a:gd name="connsiteX312" fmla="*/ 8165331 w 8734227"/>
                <a:gd name="connsiteY312" fmla="*/ 876806 h 1715383"/>
                <a:gd name="connsiteX313" fmla="*/ 8172394 w 8734227"/>
                <a:gd name="connsiteY313" fmla="*/ 882357 h 1715383"/>
                <a:gd name="connsiteX314" fmla="*/ 8177921 w 8734227"/>
                <a:gd name="connsiteY314" fmla="*/ 889451 h 1715383"/>
                <a:gd name="connsiteX315" fmla="*/ 8181606 w 8734227"/>
                <a:gd name="connsiteY315" fmla="*/ 897778 h 1715383"/>
                <a:gd name="connsiteX316" fmla="*/ 8182834 w 8734227"/>
                <a:gd name="connsiteY316" fmla="*/ 907339 h 1715383"/>
                <a:gd name="connsiteX317" fmla="*/ 8182834 w 8734227"/>
                <a:gd name="connsiteY317" fmla="*/ 1064631 h 1715383"/>
                <a:gd name="connsiteX318" fmla="*/ 8181606 w 8734227"/>
                <a:gd name="connsiteY318" fmla="*/ 1073884 h 1715383"/>
                <a:gd name="connsiteX319" fmla="*/ 8177921 w 8734227"/>
                <a:gd name="connsiteY319" fmla="*/ 1082520 h 1715383"/>
                <a:gd name="connsiteX320" fmla="*/ 8172394 w 8734227"/>
                <a:gd name="connsiteY320" fmla="*/ 1089613 h 1715383"/>
                <a:gd name="connsiteX321" fmla="*/ 8165331 w 8734227"/>
                <a:gd name="connsiteY321" fmla="*/ 1095165 h 1715383"/>
                <a:gd name="connsiteX322" fmla="*/ 8157040 w 8734227"/>
                <a:gd name="connsiteY322" fmla="*/ 1098249 h 1715383"/>
                <a:gd name="connsiteX323" fmla="*/ 8147521 w 8734227"/>
                <a:gd name="connsiteY323" fmla="*/ 1099482 h 1715383"/>
                <a:gd name="connsiteX324" fmla="*/ 8138309 w 8734227"/>
                <a:gd name="connsiteY324" fmla="*/ 1098249 h 1715383"/>
                <a:gd name="connsiteX325" fmla="*/ 8130018 w 8734227"/>
                <a:gd name="connsiteY325" fmla="*/ 1095165 h 1715383"/>
                <a:gd name="connsiteX326" fmla="*/ 8122956 w 8734227"/>
                <a:gd name="connsiteY326" fmla="*/ 1089613 h 1715383"/>
                <a:gd name="connsiteX327" fmla="*/ 8117428 w 8734227"/>
                <a:gd name="connsiteY327" fmla="*/ 1082520 h 1715383"/>
                <a:gd name="connsiteX328" fmla="*/ 8113743 w 8734227"/>
                <a:gd name="connsiteY328" fmla="*/ 1073884 h 1715383"/>
                <a:gd name="connsiteX329" fmla="*/ 8112515 w 8734227"/>
                <a:gd name="connsiteY329" fmla="*/ 1064631 h 1715383"/>
                <a:gd name="connsiteX330" fmla="*/ 8112515 w 8734227"/>
                <a:gd name="connsiteY330" fmla="*/ 907339 h 1715383"/>
                <a:gd name="connsiteX331" fmla="*/ 8113743 w 8734227"/>
                <a:gd name="connsiteY331" fmla="*/ 897778 h 1715383"/>
                <a:gd name="connsiteX332" fmla="*/ 8117428 w 8734227"/>
                <a:gd name="connsiteY332" fmla="*/ 889451 h 1715383"/>
                <a:gd name="connsiteX333" fmla="*/ 8122956 w 8734227"/>
                <a:gd name="connsiteY333" fmla="*/ 882357 h 1715383"/>
                <a:gd name="connsiteX334" fmla="*/ 8130018 w 8734227"/>
                <a:gd name="connsiteY334" fmla="*/ 876806 h 1715383"/>
                <a:gd name="connsiteX335" fmla="*/ 8138309 w 8734227"/>
                <a:gd name="connsiteY335" fmla="*/ 873105 h 1715383"/>
                <a:gd name="connsiteX336" fmla="*/ 2779051 w 8734227"/>
                <a:gd name="connsiteY336" fmla="*/ 799046 h 1715383"/>
                <a:gd name="connsiteX337" fmla="*/ 2779051 w 8734227"/>
                <a:gd name="connsiteY337" fmla="*/ 994869 h 1715383"/>
                <a:gd name="connsiteX338" fmla="*/ 2575728 w 8734227"/>
                <a:gd name="connsiteY338" fmla="*/ 994869 h 1715383"/>
                <a:gd name="connsiteX339" fmla="*/ 2575706 w 8734227"/>
                <a:gd name="connsiteY339" fmla="*/ 827507 h 1715383"/>
                <a:gd name="connsiteX340" fmla="*/ 6545761 w 8734227"/>
                <a:gd name="connsiteY340" fmla="*/ 779646 h 1715383"/>
                <a:gd name="connsiteX341" fmla="*/ 6571241 w 8734227"/>
                <a:gd name="connsiteY341" fmla="*/ 779646 h 1715383"/>
                <a:gd name="connsiteX342" fmla="*/ 6934512 w 8734227"/>
                <a:gd name="connsiteY342" fmla="*/ 779646 h 1715383"/>
                <a:gd name="connsiteX343" fmla="*/ 6959993 w 8734227"/>
                <a:gd name="connsiteY343" fmla="*/ 779646 h 1715383"/>
                <a:gd name="connsiteX344" fmla="*/ 6959993 w 8734227"/>
                <a:gd name="connsiteY344" fmla="*/ 949666 h 1715383"/>
                <a:gd name="connsiteX345" fmla="*/ 6959220 w 8734227"/>
                <a:gd name="connsiteY345" fmla="*/ 949666 h 1715383"/>
                <a:gd name="connsiteX346" fmla="*/ 6959220 w 8734227"/>
                <a:gd name="connsiteY346" fmla="*/ 1128547 h 1715383"/>
                <a:gd name="connsiteX347" fmla="*/ 6957675 w 8734227"/>
                <a:gd name="connsiteY347" fmla="*/ 1136283 h 1715383"/>
                <a:gd name="connsiteX348" fmla="*/ 6954587 w 8734227"/>
                <a:gd name="connsiteY348" fmla="*/ 1143246 h 1715383"/>
                <a:gd name="connsiteX349" fmla="*/ 6949182 w 8734227"/>
                <a:gd name="connsiteY349" fmla="*/ 1148661 h 1715383"/>
                <a:gd name="connsiteX350" fmla="*/ 6942234 w 8734227"/>
                <a:gd name="connsiteY350" fmla="*/ 1152143 h 1715383"/>
                <a:gd name="connsiteX351" fmla="*/ 6934512 w 8734227"/>
                <a:gd name="connsiteY351" fmla="*/ 1153690 h 1715383"/>
                <a:gd name="connsiteX352" fmla="*/ 6881165 w 8734227"/>
                <a:gd name="connsiteY352" fmla="*/ 1153690 h 1715383"/>
                <a:gd name="connsiteX353" fmla="*/ 6881165 w 8734227"/>
                <a:gd name="connsiteY353" fmla="*/ 1263103 h 1715383"/>
                <a:gd name="connsiteX354" fmla="*/ 6879613 w 8734227"/>
                <a:gd name="connsiteY354" fmla="*/ 1274294 h 1715383"/>
                <a:gd name="connsiteX355" fmla="*/ 6875343 w 8734227"/>
                <a:gd name="connsiteY355" fmla="*/ 1284713 h 1715383"/>
                <a:gd name="connsiteX356" fmla="*/ 6868745 w 8734227"/>
                <a:gd name="connsiteY356" fmla="*/ 1293588 h 1715383"/>
                <a:gd name="connsiteX357" fmla="*/ 6859819 w 8734227"/>
                <a:gd name="connsiteY357" fmla="*/ 1300920 h 1715383"/>
                <a:gd name="connsiteX358" fmla="*/ 6849340 w 8734227"/>
                <a:gd name="connsiteY358" fmla="*/ 1305165 h 1715383"/>
                <a:gd name="connsiteX359" fmla="*/ 6837308 w 8734227"/>
                <a:gd name="connsiteY359" fmla="*/ 1306708 h 1715383"/>
                <a:gd name="connsiteX360" fmla="*/ 6825665 w 8734227"/>
                <a:gd name="connsiteY360" fmla="*/ 1305165 h 1715383"/>
                <a:gd name="connsiteX361" fmla="*/ 6815186 w 8734227"/>
                <a:gd name="connsiteY361" fmla="*/ 1300920 h 1715383"/>
                <a:gd name="connsiteX362" fmla="*/ 6806259 w 8734227"/>
                <a:gd name="connsiteY362" fmla="*/ 1293588 h 1715383"/>
                <a:gd name="connsiteX363" fmla="*/ 6799273 w 8734227"/>
                <a:gd name="connsiteY363" fmla="*/ 1284713 h 1715383"/>
                <a:gd name="connsiteX364" fmla="*/ 6794616 w 8734227"/>
                <a:gd name="connsiteY364" fmla="*/ 1274294 h 1715383"/>
                <a:gd name="connsiteX365" fmla="*/ 6793064 w 8734227"/>
                <a:gd name="connsiteY365" fmla="*/ 1263103 h 1715383"/>
                <a:gd name="connsiteX366" fmla="*/ 6793064 w 8734227"/>
                <a:gd name="connsiteY366" fmla="*/ 1153690 h 1715383"/>
                <a:gd name="connsiteX367" fmla="*/ 6711145 w 8734227"/>
                <a:gd name="connsiteY367" fmla="*/ 1153690 h 1715383"/>
                <a:gd name="connsiteX368" fmla="*/ 6711145 w 8734227"/>
                <a:gd name="connsiteY368" fmla="*/ 1263103 h 1715383"/>
                <a:gd name="connsiteX369" fmla="*/ 6709230 w 8734227"/>
                <a:gd name="connsiteY369" fmla="*/ 1274294 h 1715383"/>
                <a:gd name="connsiteX370" fmla="*/ 6705399 w 8734227"/>
                <a:gd name="connsiteY370" fmla="*/ 1284713 h 1715383"/>
                <a:gd name="connsiteX371" fmla="*/ 6698505 w 8734227"/>
                <a:gd name="connsiteY371" fmla="*/ 1293588 h 1715383"/>
                <a:gd name="connsiteX372" fmla="*/ 6689696 w 8734227"/>
                <a:gd name="connsiteY372" fmla="*/ 1300920 h 1715383"/>
                <a:gd name="connsiteX373" fmla="*/ 6679354 w 8734227"/>
                <a:gd name="connsiteY373" fmla="*/ 1305165 h 1715383"/>
                <a:gd name="connsiteX374" fmla="*/ 6667480 w 8734227"/>
                <a:gd name="connsiteY374" fmla="*/ 1306708 h 1715383"/>
                <a:gd name="connsiteX375" fmla="*/ 6655990 w 8734227"/>
                <a:gd name="connsiteY375" fmla="*/ 1305165 h 1715383"/>
                <a:gd name="connsiteX376" fmla="*/ 6645648 w 8734227"/>
                <a:gd name="connsiteY376" fmla="*/ 1300920 h 1715383"/>
                <a:gd name="connsiteX377" fmla="*/ 6636839 w 8734227"/>
                <a:gd name="connsiteY377" fmla="*/ 1293588 h 1715383"/>
                <a:gd name="connsiteX378" fmla="*/ 6629944 w 8734227"/>
                <a:gd name="connsiteY378" fmla="*/ 1284713 h 1715383"/>
                <a:gd name="connsiteX379" fmla="*/ 6625348 w 8734227"/>
                <a:gd name="connsiteY379" fmla="*/ 1274294 h 1715383"/>
                <a:gd name="connsiteX380" fmla="*/ 6623816 w 8734227"/>
                <a:gd name="connsiteY380" fmla="*/ 1263103 h 1715383"/>
                <a:gd name="connsiteX381" fmla="*/ 6623816 w 8734227"/>
                <a:gd name="connsiteY381" fmla="*/ 1153690 h 1715383"/>
                <a:gd name="connsiteX382" fmla="*/ 6571241 w 8734227"/>
                <a:gd name="connsiteY382" fmla="*/ 1153690 h 1715383"/>
                <a:gd name="connsiteX383" fmla="*/ 6563134 w 8734227"/>
                <a:gd name="connsiteY383" fmla="*/ 1152143 h 1715383"/>
                <a:gd name="connsiteX384" fmla="*/ 6556571 w 8734227"/>
                <a:gd name="connsiteY384" fmla="*/ 1148661 h 1715383"/>
                <a:gd name="connsiteX385" fmla="*/ 6551167 w 8734227"/>
                <a:gd name="connsiteY385" fmla="*/ 1143246 h 1715383"/>
                <a:gd name="connsiteX386" fmla="*/ 6547692 w 8734227"/>
                <a:gd name="connsiteY386" fmla="*/ 1136283 h 1715383"/>
                <a:gd name="connsiteX387" fmla="*/ 6546534 w 8734227"/>
                <a:gd name="connsiteY387" fmla="*/ 1128547 h 1715383"/>
                <a:gd name="connsiteX388" fmla="*/ 6546534 w 8734227"/>
                <a:gd name="connsiteY388" fmla="*/ 949666 h 1715383"/>
                <a:gd name="connsiteX389" fmla="*/ 6545761 w 8734227"/>
                <a:gd name="connsiteY389" fmla="*/ 949666 h 1715383"/>
                <a:gd name="connsiteX390" fmla="*/ 8437587 w 8734227"/>
                <a:gd name="connsiteY390" fmla="*/ 772562 h 1715383"/>
                <a:gd name="connsiteX391" fmla="*/ 8431419 w 8734227"/>
                <a:gd name="connsiteY391" fmla="*/ 774092 h 1715383"/>
                <a:gd name="connsiteX392" fmla="*/ 8425867 w 8734227"/>
                <a:gd name="connsiteY392" fmla="*/ 776846 h 1715383"/>
                <a:gd name="connsiteX393" fmla="*/ 8421858 w 8734227"/>
                <a:gd name="connsiteY393" fmla="*/ 780824 h 1715383"/>
                <a:gd name="connsiteX394" fmla="*/ 8418774 w 8734227"/>
                <a:gd name="connsiteY394" fmla="*/ 786333 h 1715383"/>
                <a:gd name="connsiteX395" fmla="*/ 8417848 w 8734227"/>
                <a:gd name="connsiteY395" fmla="*/ 792453 h 1715383"/>
                <a:gd name="connsiteX396" fmla="*/ 8418774 w 8734227"/>
                <a:gd name="connsiteY396" fmla="*/ 798880 h 1715383"/>
                <a:gd name="connsiteX397" fmla="*/ 8421858 w 8734227"/>
                <a:gd name="connsiteY397" fmla="*/ 804083 h 1715383"/>
                <a:gd name="connsiteX398" fmla="*/ 8425867 w 8734227"/>
                <a:gd name="connsiteY398" fmla="*/ 808367 h 1715383"/>
                <a:gd name="connsiteX399" fmla="*/ 8431419 w 8734227"/>
                <a:gd name="connsiteY399" fmla="*/ 811121 h 1715383"/>
                <a:gd name="connsiteX400" fmla="*/ 8437587 w 8734227"/>
                <a:gd name="connsiteY400" fmla="*/ 812039 h 1715383"/>
                <a:gd name="connsiteX401" fmla="*/ 8443755 w 8734227"/>
                <a:gd name="connsiteY401" fmla="*/ 811121 h 1715383"/>
                <a:gd name="connsiteX402" fmla="*/ 8449307 w 8734227"/>
                <a:gd name="connsiteY402" fmla="*/ 808367 h 1715383"/>
                <a:gd name="connsiteX403" fmla="*/ 8453316 w 8734227"/>
                <a:gd name="connsiteY403" fmla="*/ 804083 h 1715383"/>
                <a:gd name="connsiteX404" fmla="*/ 8456401 w 8734227"/>
                <a:gd name="connsiteY404" fmla="*/ 798880 h 1715383"/>
                <a:gd name="connsiteX405" fmla="*/ 8457326 w 8734227"/>
                <a:gd name="connsiteY405" fmla="*/ 792453 h 1715383"/>
                <a:gd name="connsiteX406" fmla="*/ 8456401 w 8734227"/>
                <a:gd name="connsiteY406" fmla="*/ 786333 h 1715383"/>
                <a:gd name="connsiteX407" fmla="*/ 8453316 w 8734227"/>
                <a:gd name="connsiteY407" fmla="*/ 780824 h 1715383"/>
                <a:gd name="connsiteX408" fmla="*/ 8449307 w 8734227"/>
                <a:gd name="connsiteY408" fmla="*/ 776846 h 1715383"/>
                <a:gd name="connsiteX409" fmla="*/ 8443755 w 8734227"/>
                <a:gd name="connsiteY409" fmla="*/ 774092 h 1715383"/>
                <a:gd name="connsiteX410" fmla="*/ 8293556 w 8734227"/>
                <a:gd name="connsiteY410" fmla="*/ 772562 h 1715383"/>
                <a:gd name="connsiteX411" fmla="*/ 8287388 w 8734227"/>
                <a:gd name="connsiteY411" fmla="*/ 774092 h 1715383"/>
                <a:gd name="connsiteX412" fmla="*/ 8281836 w 8734227"/>
                <a:gd name="connsiteY412" fmla="*/ 776846 h 1715383"/>
                <a:gd name="connsiteX413" fmla="*/ 8277827 w 8734227"/>
                <a:gd name="connsiteY413" fmla="*/ 780824 h 1715383"/>
                <a:gd name="connsiteX414" fmla="*/ 8275360 w 8734227"/>
                <a:gd name="connsiteY414" fmla="*/ 786333 h 1715383"/>
                <a:gd name="connsiteX415" fmla="*/ 8274126 w 8734227"/>
                <a:gd name="connsiteY415" fmla="*/ 792453 h 1715383"/>
                <a:gd name="connsiteX416" fmla="*/ 8275360 w 8734227"/>
                <a:gd name="connsiteY416" fmla="*/ 798880 h 1715383"/>
                <a:gd name="connsiteX417" fmla="*/ 8277827 w 8734227"/>
                <a:gd name="connsiteY417" fmla="*/ 804083 h 1715383"/>
                <a:gd name="connsiteX418" fmla="*/ 8281836 w 8734227"/>
                <a:gd name="connsiteY418" fmla="*/ 808367 h 1715383"/>
                <a:gd name="connsiteX419" fmla="*/ 8287388 w 8734227"/>
                <a:gd name="connsiteY419" fmla="*/ 811121 h 1715383"/>
                <a:gd name="connsiteX420" fmla="*/ 8293556 w 8734227"/>
                <a:gd name="connsiteY420" fmla="*/ 812039 h 1715383"/>
                <a:gd name="connsiteX421" fmla="*/ 8300033 w 8734227"/>
                <a:gd name="connsiteY421" fmla="*/ 811121 h 1715383"/>
                <a:gd name="connsiteX422" fmla="*/ 8305276 w 8734227"/>
                <a:gd name="connsiteY422" fmla="*/ 808367 h 1715383"/>
                <a:gd name="connsiteX423" fmla="*/ 8309902 w 8734227"/>
                <a:gd name="connsiteY423" fmla="*/ 804083 h 1715383"/>
                <a:gd name="connsiteX424" fmla="*/ 8312370 w 8734227"/>
                <a:gd name="connsiteY424" fmla="*/ 798880 h 1715383"/>
                <a:gd name="connsiteX425" fmla="*/ 8313603 w 8734227"/>
                <a:gd name="connsiteY425" fmla="*/ 792453 h 1715383"/>
                <a:gd name="connsiteX426" fmla="*/ 8312370 w 8734227"/>
                <a:gd name="connsiteY426" fmla="*/ 786333 h 1715383"/>
                <a:gd name="connsiteX427" fmla="*/ 8309902 w 8734227"/>
                <a:gd name="connsiteY427" fmla="*/ 780824 h 1715383"/>
                <a:gd name="connsiteX428" fmla="*/ 8305276 w 8734227"/>
                <a:gd name="connsiteY428" fmla="*/ 776846 h 1715383"/>
                <a:gd name="connsiteX429" fmla="*/ 8300033 w 8734227"/>
                <a:gd name="connsiteY429" fmla="*/ 774092 h 1715383"/>
                <a:gd name="connsiteX430" fmla="*/ 7025488 w 8734227"/>
                <a:gd name="connsiteY430" fmla="*/ 765735 h 1715383"/>
                <a:gd name="connsiteX431" fmla="*/ 7037131 w 8734227"/>
                <a:gd name="connsiteY431" fmla="*/ 767281 h 1715383"/>
                <a:gd name="connsiteX432" fmla="*/ 7048387 w 8734227"/>
                <a:gd name="connsiteY432" fmla="*/ 771918 h 1715383"/>
                <a:gd name="connsiteX433" fmla="*/ 7057313 w 8734227"/>
                <a:gd name="connsiteY433" fmla="*/ 778873 h 1715383"/>
                <a:gd name="connsiteX434" fmla="*/ 7063911 w 8734227"/>
                <a:gd name="connsiteY434" fmla="*/ 787761 h 1715383"/>
                <a:gd name="connsiteX435" fmla="*/ 7068181 w 8734227"/>
                <a:gd name="connsiteY435" fmla="*/ 798193 h 1715383"/>
                <a:gd name="connsiteX436" fmla="*/ 7069733 w 8734227"/>
                <a:gd name="connsiteY436" fmla="*/ 810172 h 1715383"/>
                <a:gd name="connsiteX437" fmla="*/ 7069733 w 8734227"/>
                <a:gd name="connsiteY437" fmla="*/ 1007241 h 1715383"/>
                <a:gd name="connsiteX438" fmla="*/ 7068181 w 8734227"/>
                <a:gd name="connsiteY438" fmla="*/ 1018833 h 1715383"/>
                <a:gd name="connsiteX439" fmla="*/ 7063911 w 8734227"/>
                <a:gd name="connsiteY439" fmla="*/ 1029653 h 1715383"/>
                <a:gd name="connsiteX440" fmla="*/ 7057313 w 8734227"/>
                <a:gd name="connsiteY440" fmla="*/ 1038540 h 1715383"/>
                <a:gd name="connsiteX441" fmla="*/ 7048387 w 8734227"/>
                <a:gd name="connsiteY441" fmla="*/ 1045496 h 1715383"/>
                <a:gd name="connsiteX442" fmla="*/ 7037131 w 8734227"/>
                <a:gd name="connsiteY442" fmla="*/ 1049360 h 1715383"/>
                <a:gd name="connsiteX443" fmla="*/ 7025488 w 8734227"/>
                <a:gd name="connsiteY443" fmla="*/ 1050905 h 1715383"/>
                <a:gd name="connsiteX444" fmla="*/ 7014233 w 8734227"/>
                <a:gd name="connsiteY444" fmla="*/ 1049360 h 1715383"/>
                <a:gd name="connsiteX445" fmla="*/ 7003754 w 8734227"/>
                <a:gd name="connsiteY445" fmla="*/ 1045496 h 1715383"/>
                <a:gd name="connsiteX446" fmla="*/ 6994827 w 8734227"/>
                <a:gd name="connsiteY446" fmla="*/ 1038540 h 1715383"/>
                <a:gd name="connsiteX447" fmla="*/ 6987453 w 8734227"/>
                <a:gd name="connsiteY447" fmla="*/ 1029653 h 1715383"/>
                <a:gd name="connsiteX448" fmla="*/ 6983184 w 8734227"/>
                <a:gd name="connsiteY448" fmla="*/ 1018833 h 1715383"/>
                <a:gd name="connsiteX449" fmla="*/ 6981632 w 8734227"/>
                <a:gd name="connsiteY449" fmla="*/ 1007241 h 1715383"/>
                <a:gd name="connsiteX450" fmla="*/ 6981632 w 8734227"/>
                <a:gd name="connsiteY450" fmla="*/ 810172 h 1715383"/>
                <a:gd name="connsiteX451" fmla="*/ 6983184 w 8734227"/>
                <a:gd name="connsiteY451" fmla="*/ 798193 h 1715383"/>
                <a:gd name="connsiteX452" fmla="*/ 6987453 w 8734227"/>
                <a:gd name="connsiteY452" fmla="*/ 787761 h 1715383"/>
                <a:gd name="connsiteX453" fmla="*/ 6994827 w 8734227"/>
                <a:gd name="connsiteY453" fmla="*/ 778873 h 1715383"/>
                <a:gd name="connsiteX454" fmla="*/ 7003754 w 8734227"/>
                <a:gd name="connsiteY454" fmla="*/ 771918 h 1715383"/>
                <a:gd name="connsiteX455" fmla="*/ 7014233 w 8734227"/>
                <a:gd name="connsiteY455" fmla="*/ 767281 h 1715383"/>
                <a:gd name="connsiteX456" fmla="*/ 6479106 w 8734227"/>
                <a:gd name="connsiteY456" fmla="*/ 765735 h 1715383"/>
                <a:gd name="connsiteX457" fmla="*/ 6491033 w 8734227"/>
                <a:gd name="connsiteY457" fmla="*/ 767281 h 1715383"/>
                <a:gd name="connsiteX458" fmla="*/ 6501421 w 8734227"/>
                <a:gd name="connsiteY458" fmla="*/ 771918 h 1715383"/>
                <a:gd name="connsiteX459" fmla="*/ 6510269 w 8734227"/>
                <a:gd name="connsiteY459" fmla="*/ 778873 h 1715383"/>
                <a:gd name="connsiteX460" fmla="*/ 6517194 w 8734227"/>
                <a:gd name="connsiteY460" fmla="*/ 787761 h 1715383"/>
                <a:gd name="connsiteX461" fmla="*/ 6521811 w 8734227"/>
                <a:gd name="connsiteY461" fmla="*/ 798193 h 1715383"/>
                <a:gd name="connsiteX462" fmla="*/ 6523349 w 8734227"/>
                <a:gd name="connsiteY462" fmla="*/ 810172 h 1715383"/>
                <a:gd name="connsiteX463" fmla="*/ 6523349 w 8734227"/>
                <a:gd name="connsiteY463" fmla="*/ 1007241 h 1715383"/>
                <a:gd name="connsiteX464" fmla="*/ 6521811 w 8734227"/>
                <a:gd name="connsiteY464" fmla="*/ 1018833 h 1715383"/>
                <a:gd name="connsiteX465" fmla="*/ 6517194 w 8734227"/>
                <a:gd name="connsiteY465" fmla="*/ 1029653 h 1715383"/>
                <a:gd name="connsiteX466" fmla="*/ 6510269 w 8734227"/>
                <a:gd name="connsiteY466" fmla="*/ 1038540 h 1715383"/>
                <a:gd name="connsiteX467" fmla="*/ 6501421 w 8734227"/>
                <a:gd name="connsiteY467" fmla="*/ 1045496 h 1715383"/>
                <a:gd name="connsiteX468" fmla="*/ 6491033 w 8734227"/>
                <a:gd name="connsiteY468" fmla="*/ 1049360 h 1715383"/>
                <a:gd name="connsiteX469" fmla="*/ 6479106 w 8734227"/>
                <a:gd name="connsiteY469" fmla="*/ 1050905 h 1715383"/>
                <a:gd name="connsiteX470" fmla="*/ 6467565 w 8734227"/>
                <a:gd name="connsiteY470" fmla="*/ 1049360 h 1715383"/>
                <a:gd name="connsiteX471" fmla="*/ 6457177 w 8734227"/>
                <a:gd name="connsiteY471" fmla="*/ 1045496 h 1715383"/>
                <a:gd name="connsiteX472" fmla="*/ 6448329 w 8734227"/>
                <a:gd name="connsiteY472" fmla="*/ 1038540 h 1715383"/>
                <a:gd name="connsiteX473" fmla="*/ 6441404 w 8734227"/>
                <a:gd name="connsiteY473" fmla="*/ 1029653 h 1715383"/>
                <a:gd name="connsiteX474" fmla="*/ 6436787 w 8734227"/>
                <a:gd name="connsiteY474" fmla="*/ 1018833 h 1715383"/>
                <a:gd name="connsiteX475" fmla="*/ 6435248 w 8734227"/>
                <a:gd name="connsiteY475" fmla="*/ 1007241 h 1715383"/>
                <a:gd name="connsiteX476" fmla="*/ 6435248 w 8734227"/>
                <a:gd name="connsiteY476" fmla="*/ 810172 h 1715383"/>
                <a:gd name="connsiteX477" fmla="*/ 6436787 w 8734227"/>
                <a:gd name="connsiteY477" fmla="*/ 798193 h 1715383"/>
                <a:gd name="connsiteX478" fmla="*/ 6441404 w 8734227"/>
                <a:gd name="connsiteY478" fmla="*/ 787761 h 1715383"/>
                <a:gd name="connsiteX479" fmla="*/ 6448329 w 8734227"/>
                <a:gd name="connsiteY479" fmla="*/ 778873 h 1715383"/>
                <a:gd name="connsiteX480" fmla="*/ 6457177 w 8734227"/>
                <a:gd name="connsiteY480" fmla="*/ 771918 h 1715383"/>
                <a:gd name="connsiteX481" fmla="*/ 6467565 w 8734227"/>
                <a:gd name="connsiteY481" fmla="*/ 767281 h 1715383"/>
                <a:gd name="connsiteX482" fmla="*/ 5234778 w 8734227"/>
                <a:gd name="connsiteY482" fmla="*/ 759063 h 1715383"/>
                <a:gd name="connsiteX483" fmla="*/ 5209318 w 8734227"/>
                <a:gd name="connsiteY483" fmla="*/ 838744 h 1715383"/>
                <a:gd name="connsiteX484" fmla="*/ 5135967 w 8734227"/>
                <a:gd name="connsiteY484" fmla="*/ 873682 h 1715383"/>
                <a:gd name="connsiteX485" fmla="*/ 5157184 w 8734227"/>
                <a:gd name="connsiteY485" fmla="*/ 802581 h 1715383"/>
                <a:gd name="connsiteX486" fmla="*/ 5234778 w 8734227"/>
                <a:gd name="connsiteY486" fmla="*/ 759063 h 1715383"/>
                <a:gd name="connsiteX487" fmla="*/ 3071934 w 8734227"/>
                <a:gd name="connsiteY487" fmla="*/ 758052 h 1715383"/>
                <a:gd name="connsiteX488" fmla="*/ 3072332 w 8734227"/>
                <a:gd name="connsiteY488" fmla="*/ 994869 h 1715383"/>
                <a:gd name="connsiteX489" fmla="*/ 2804155 w 8734227"/>
                <a:gd name="connsiteY489" fmla="*/ 994869 h 1715383"/>
                <a:gd name="connsiteX490" fmla="*/ 2804155 w 8734227"/>
                <a:gd name="connsiteY490" fmla="*/ 795532 h 1715383"/>
                <a:gd name="connsiteX491" fmla="*/ 1093130 w 8734227"/>
                <a:gd name="connsiteY491" fmla="*/ 713799 h 1715383"/>
                <a:gd name="connsiteX492" fmla="*/ 1093130 w 8734227"/>
                <a:gd name="connsiteY492" fmla="*/ 982883 h 1715383"/>
                <a:gd name="connsiteX493" fmla="*/ 813740 w 8734227"/>
                <a:gd name="connsiteY493" fmla="*/ 982883 h 1715383"/>
                <a:gd name="connsiteX494" fmla="*/ 813710 w 8734227"/>
                <a:gd name="connsiteY494" fmla="*/ 752908 h 1715383"/>
                <a:gd name="connsiteX495" fmla="*/ 8262676 w 8734227"/>
                <a:gd name="connsiteY495" fmla="*/ 695457 h 1715383"/>
                <a:gd name="connsiteX496" fmla="*/ 8263593 w 8734227"/>
                <a:gd name="connsiteY496" fmla="*/ 695770 h 1715383"/>
                <a:gd name="connsiteX497" fmla="*/ 8263899 w 8734227"/>
                <a:gd name="connsiteY497" fmla="*/ 695770 h 1715383"/>
                <a:gd name="connsiteX498" fmla="*/ 8292641 w 8734227"/>
                <a:gd name="connsiteY498" fmla="*/ 737285 h 1715383"/>
                <a:gd name="connsiteX499" fmla="*/ 8297874 w 8734227"/>
                <a:gd name="connsiteY499" fmla="*/ 735220 h 1715383"/>
                <a:gd name="connsiteX500" fmla="*/ 8312986 w 8734227"/>
                <a:gd name="connsiteY500" fmla="*/ 730912 h 1715383"/>
                <a:gd name="connsiteX501" fmla="*/ 8328715 w 8734227"/>
                <a:gd name="connsiteY501" fmla="*/ 727527 h 1715383"/>
                <a:gd name="connsiteX502" fmla="*/ 8346604 w 8734227"/>
                <a:gd name="connsiteY502" fmla="*/ 725681 h 1715383"/>
                <a:gd name="connsiteX503" fmla="*/ 8365726 w 8734227"/>
                <a:gd name="connsiteY503" fmla="*/ 725065 h 1715383"/>
                <a:gd name="connsiteX504" fmla="*/ 8385465 w 8734227"/>
                <a:gd name="connsiteY504" fmla="*/ 725988 h 1715383"/>
                <a:gd name="connsiteX505" fmla="*/ 8403661 w 8734227"/>
                <a:gd name="connsiteY505" fmla="*/ 728142 h 1715383"/>
                <a:gd name="connsiteX506" fmla="*/ 8420624 w 8734227"/>
                <a:gd name="connsiteY506" fmla="*/ 731835 h 1715383"/>
                <a:gd name="connsiteX507" fmla="*/ 8435428 w 8734227"/>
                <a:gd name="connsiteY507" fmla="*/ 736451 h 1715383"/>
                <a:gd name="connsiteX508" fmla="*/ 8438249 w 8734227"/>
                <a:gd name="connsiteY508" fmla="*/ 737667 h 1715383"/>
                <a:gd name="connsiteX509" fmla="*/ 8467449 w 8734227"/>
                <a:gd name="connsiteY509" fmla="*/ 695770 h 1715383"/>
                <a:gd name="connsiteX510" fmla="*/ 8468071 w 8734227"/>
                <a:gd name="connsiteY510" fmla="*/ 695770 h 1715383"/>
                <a:gd name="connsiteX511" fmla="*/ 8468693 w 8734227"/>
                <a:gd name="connsiteY511" fmla="*/ 695457 h 1715383"/>
                <a:gd name="connsiteX512" fmla="*/ 8469626 w 8734227"/>
                <a:gd name="connsiteY512" fmla="*/ 695770 h 1715383"/>
                <a:gd name="connsiteX513" fmla="*/ 8470870 w 8734227"/>
                <a:gd name="connsiteY513" fmla="*/ 695770 h 1715383"/>
                <a:gd name="connsiteX514" fmla="*/ 8471803 w 8734227"/>
                <a:gd name="connsiteY514" fmla="*/ 696707 h 1715383"/>
                <a:gd name="connsiteX515" fmla="*/ 8472736 w 8734227"/>
                <a:gd name="connsiteY515" fmla="*/ 697332 h 1715383"/>
                <a:gd name="connsiteX516" fmla="*/ 8473358 w 8734227"/>
                <a:gd name="connsiteY516" fmla="*/ 698268 h 1715383"/>
                <a:gd name="connsiteX517" fmla="*/ 8473980 w 8734227"/>
                <a:gd name="connsiteY517" fmla="*/ 699518 h 1715383"/>
                <a:gd name="connsiteX518" fmla="*/ 8473358 w 8734227"/>
                <a:gd name="connsiteY518" fmla="*/ 700143 h 1715383"/>
                <a:gd name="connsiteX519" fmla="*/ 8445137 w 8734227"/>
                <a:gd name="connsiteY519" fmla="*/ 740635 h 1715383"/>
                <a:gd name="connsiteX520" fmla="*/ 8448998 w 8734227"/>
                <a:gd name="connsiteY520" fmla="*/ 742298 h 1715383"/>
                <a:gd name="connsiteX521" fmla="*/ 8461335 w 8734227"/>
                <a:gd name="connsiteY521" fmla="*/ 748760 h 1715383"/>
                <a:gd name="connsiteX522" fmla="*/ 8472129 w 8734227"/>
                <a:gd name="connsiteY522" fmla="*/ 755838 h 1715383"/>
                <a:gd name="connsiteX523" fmla="*/ 8481691 w 8734227"/>
                <a:gd name="connsiteY523" fmla="*/ 763839 h 1715383"/>
                <a:gd name="connsiteX524" fmla="*/ 8490018 w 8734227"/>
                <a:gd name="connsiteY524" fmla="*/ 772456 h 1715383"/>
                <a:gd name="connsiteX525" fmla="*/ 8497728 w 8734227"/>
                <a:gd name="connsiteY525" fmla="*/ 781072 h 1715383"/>
                <a:gd name="connsiteX526" fmla="*/ 8504205 w 8734227"/>
                <a:gd name="connsiteY526" fmla="*/ 789997 h 1715383"/>
                <a:gd name="connsiteX527" fmla="*/ 8509757 w 8734227"/>
                <a:gd name="connsiteY527" fmla="*/ 799229 h 1715383"/>
                <a:gd name="connsiteX528" fmla="*/ 8514383 w 8734227"/>
                <a:gd name="connsiteY528" fmla="*/ 808153 h 1715383"/>
                <a:gd name="connsiteX529" fmla="*/ 8518084 w 8734227"/>
                <a:gd name="connsiteY529" fmla="*/ 817077 h 1715383"/>
                <a:gd name="connsiteX530" fmla="*/ 8521477 w 8734227"/>
                <a:gd name="connsiteY530" fmla="*/ 825386 h 1715383"/>
                <a:gd name="connsiteX531" fmla="*/ 8523944 w 8734227"/>
                <a:gd name="connsiteY531" fmla="*/ 833079 h 1715383"/>
                <a:gd name="connsiteX532" fmla="*/ 8526103 w 8734227"/>
                <a:gd name="connsiteY532" fmla="*/ 840773 h 1715383"/>
                <a:gd name="connsiteX533" fmla="*/ 8527336 w 8734227"/>
                <a:gd name="connsiteY533" fmla="*/ 846927 h 1715383"/>
                <a:gd name="connsiteX534" fmla="*/ 8528262 w 8734227"/>
                <a:gd name="connsiteY534" fmla="*/ 852774 h 1715383"/>
                <a:gd name="connsiteX535" fmla="*/ 8528879 w 8734227"/>
                <a:gd name="connsiteY535" fmla="*/ 857390 h 1715383"/>
                <a:gd name="connsiteX536" fmla="*/ 8529495 w 8734227"/>
                <a:gd name="connsiteY536" fmla="*/ 861083 h 1715383"/>
                <a:gd name="connsiteX537" fmla="*/ 8529495 w 8734227"/>
                <a:gd name="connsiteY537" fmla="*/ 862929 h 1715383"/>
                <a:gd name="connsiteX538" fmla="*/ 8529495 w 8734227"/>
                <a:gd name="connsiteY538" fmla="*/ 863853 h 1715383"/>
                <a:gd name="connsiteX539" fmla="*/ 8201956 w 8734227"/>
                <a:gd name="connsiteY539" fmla="*/ 863853 h 1715383"/>
                <a:gd name="connsiteX540" fmla="*/ 8201956 w 8734227"/>
                <a:gd name="connsiteY540" fmla="*/ 862929 h 1715383"/>
                <a:gd name="connsiteX541" fmla="*/ 8201956 w 8734227"/>
                <a:gd name="connsiteY541" fmla="*/ 861083 h 1715383"/>
                <a:gd name="connsiteX542" fmla="*/ 8202265 w 8734227"/>
                <a:gd name="connsiteY542" fmla="*/ 857698 h 1715383"/>
                <a:gd name="connsiteX543" fmla="*/ 8203190 w 8734227"/>
                <a:gd name="connsiteY543" fmla="*/ 853390 h 1715383"/>
                <a:gd name="connsiteX544" fmla="*/ 8204115 w 8734227"/>
                <a:gd name="connsiteY544" fmla="*/ 848158 h 1715383"/>
                <a:gd name="connsiteX545" fmla="*/ 8204732 w 8734227"/>
                <a:gd name="connsiteY545" fmla="*/ 842004 h 1715383"/>
                <a:gd name="connsiteX546" fmla="*/ 8206582 w 8734227"/>
                <a:gd name="connsiteY546" fmla="*/ 835233 h 1715383"/>
                <a:gd name="connsiteX547" fmla="*/ 8209050 w 8734227"/>
                <a:gd name="connsiteY547" fmla="*/ 827848 h 1715383"/>
                <a:gd name="connsiteX548" fmla="*/ 8211517 w 8734227"/>
                <a:gd name="connsiteY548" fmla="*/ 819847 h 1715383"/>
                <a:gd name="connsiteX549" fmla="*/ 8214910 w 8734227"/>
                <a:gd name="connsiteY549" fmla="*/ 811538 h 1715383"/>
                <a:gd name="connsiteX550" fmla="*/ 8218919 w 8734227"/>
                <a:gd name="connsiteY550" fmla="*/ 802922 h 1715383"/>
                <a:gd name="connsiteX551" fmla="*/ 8223546 w 8734227"/>
                <a:gd name="connsiteY551" fmla="*/ 793997 h 1715383"/>
                <a:gd name="connsiteX552" fmla="*/ 8229405 w 8734227"/>
                <a:gd name="connsiteY552" fmla="*/ 785688 h 1715383"/>
                <a:gd name="connsiteX553" fmla="*/ 8236190 w 8734227"/>
                <a:gd name="connsiteY553" fmla="*/ 777072 h 1715383"/>
                <a:gd name="connsiteX554" fmla="*/ 8243592 w 8734227"/>
                <a:gd name="connsiteY554" fmla="*/ 768763 h 1715383"/>
                <a:gd name="connsiteX555" fmla="*/ 8251920 w 8734227"/>
                <a:gd name="connsiteY555" fmla="*/ 760762 h 1715383"/>
                <a:gd name="connsiteX556" fmla="*/ 8261481 w 8734227"/>
                <a:gd name="connsiteY556" fmla="*/ 753376 h 1715383"/>
                <a:gd name="connsiteX557" fmla="*/ 8272275 w 8734227"/>
                <a:gd name="connsiteY557" fmla="*/ 746606 h 1715383"/>
                <a:gd name="connsiteX558" fmla="*/ 8284612 w 8734227"/>
                <a:gd name="connsiteY558" fmla="*/ 740452 h 1715383"/>
                <a:gd name="connsiteX559" fmla="*/ 8285699 w 8734227"/>
                <a:gd name="connsiteY559" fmla="*/ 740023 h 1715383"/>
                <a:gd name="connsiteX560" fmla="*/ 8258088 w 8734227"/>
                <a:gd name="connsiteY560" fmla="*/ 700143 h 1715383"/>
                <a:gd name="connsiteX561" fmla="*/ 8258088 w 8734227"/>
                <a:gd name="connsiteY561" fmla="*/ 699518 h 1715383"/>
                <a:gd name="connsiteX562" fmla="*/ 8258088 w 8734227"/>
                <a:gd name="connsiteY562" fmla="*/ 698268 h 1715383"/>
                <a:gd name="connsiteX563" fmla="*/ 8259006 w 8734227"/>
                <a:gd name="connsiteY563" fmla="*/ 697332 h 1715383"/>
                <a:gd name="connsiteX564" fmla="*/ 8260229 w 8734227"/>
                <a:gd name="connsiteY564" fmla="*/ 696707 h 1715383"/>
                <a:gd name="connsiteX565" fmla="*/ 8260841 w 8734227"/>
                <a:gd name="connsiteY565" fmla="*/ 695770 h 1715383"/>
                <a:gd name="connsiteX566" fmla="*/ 8261758 w 8734227"/>
                <a:gd name="connsiteY566" fmla="*/ 695770 h 1715383"/>
                <a:gd name="connsiteX567" fmla="*/ 1495584 w 8734227"/>
                <a:gd name="connsiteY567" fmla="*/ 657469 h 1715383"/>
                <a:gd name="connsiteX568" fmla="*/ 1496132 w 8734227"/>
                <a:gd name="connsiteY568" fmla="*/ 982883 h 1715383"/>
                <a:gd name="connsiteX569" fmla="*/ 1127626 w 8734227"/>
                <a:gd name="connsiteY569" fmla="*/ 982883 h 1715383"/>
                <a:gd name="connsiteX570" fmla="*/ 1127626 w 8734227"/>
                <a:gd name="connsiteY570" fmla="*/ 708970 h 1715383"/>
                <a:gd name="connsiteX571" fmla="*/ 4171486 w 8734227"/>
                <a:gd name="connsiteY571" fmla="*/ 652571 h 1715383"/>
                <a:gd name="connsiteX572" fmla="*/ 4323878 w 8734227"/>
                <a:gd name="connsiteY572" fmla="*/ 731098 h 1715383"/>
                <a:gd name="connsiteX573" fmla="*/ 4239535 w 8734227"/>
                <a:gd name="connsiteY573" fmla="*/ 880396 h 1715383"/>
                <a:gd name="connsiteX574" fmla="*/ 4344963 w 8734227"/>
                <a:gd name="connsiteY574" fmla="*/ 1040357 h 1715383"/>
                <a:gd name="connsiteX575" fmla="*/ 4172445 w 8734227"/>
                <a:gd name="connsiteY575" fmla="*/ 1248792 h 1715383"/>
                <a:gd name="connsiteX576" fmla="*/ 4044015 w 8734227"/>
                <a:gd name="connsiteY576" fmla="*/ 1217769 h 1715383"/>
                <a:gd name="connsiteX577" fmla="*/ 3914626 w 8734227"/>
                <a:gd name="connsiteY577" fmla="*/ 1250731 h 1715383"/>
                <a:gd name="connsiteX578" fmla="*/ 3710479 w 8734227"/>
                <a:gd name="connsiteY578" fmla="*/ 893968 h 1715383"/>
                <a:gd name="connsiteX579" fmla="*/ 3897374 w 8734227"/>
                <a:gd name="connsiteY579" fmla="*/ 654510 h 1715383"/>
                <a:gd name="connsiteX580" fmla="*/ 4033472 w 8734227"/>
                <a:gd name="connsiteY580" fmla="*/ 689411 h 1715383"/>
                <a:gd name="connsiteX581" fmla="*/ 4171486 w 8734227"/>
                <a:gd name="connsiteY581" fmla="*/ 652571 h 1715383"/>
                <a:gd name="connsiteX582" fmla="*/ 6842525 w 8734227"/>
                <a:gd name="connsiteY582" fmla="*/ 641312 h 1715383"/>
                <a:gd name="connsiteX583" fmla="*/ 6834796 w 8734227"/>
                <a:gd name="connsiteY583" fmla="*/ 643229 h 1715383"/>
                <a:gd name="connsiteX584" fmla="*/ 6827841 w 8734227"/>
                <a:gd name="connsiteY584" fmla="*/ 646680 h 1715383"/>
                <a:gd name="connsiteX585" fmla="*/ 6822818 w 8734227"/>
                <a:gd name="connsiteY585" fmla="*/ 651664 h 1715383"/>
                <a:gd name="connsiteX586" fmla="*/ 6818953 w 8734227"/>
                <a:gd name="connsiteY586" fmla="*/ 658566 h 1715383"/>
                <a:gd name="connsiteX587" fmla="*/ 6817794 w 8734227"/>
                <a:gd name="connsiteY587" fmla="*/ 666234 h 1715383"/>
                <a:gd name="connsiteX588" fmla="*/ 6818953 w 8734227"/>
                <a:gd name="connsiteY588" fmla="*/ 674286 h 1715383"/>
                <a:gd name="connsiteX589" fmla="*/ 6822818 w 8734227"/>
                <a:gd name="connsiteY589" fmla="*/ 680804 h 1715383"/>
                <a:gd name="connsiteX590" fmla="*/ 6827841 w 8734227"/>
                <a:gd name="connsiteY590" fmla="*/ 686172 h 1715383"/>
                <a:gd name="connsiteX591" fmla="*/ 6834796 w 8734227"/>
                <a:gd name="connsiteY591" fmla="*/ 689622 h 1715383"/>
                <a:gd name="connsiteX592" fmla="*/ 6842525 w 8734227"/>
                <a:gd name="connsiteY592" fmla="*/ 690772 h 1715383"/>
                <a:gd name="connsiteX593" fmla="*/ 6850253 w 8734227"/>
                <a:gd name="connsiteY593" fmla="*/ 689622 h 1715383"/>
                <a:gd name="connsiteX594" fmla="*/ 6857208 w 8734227"/>
                <a:gd name="connsiteY594" fmla="*/ 686172 h 1715383"/>
                <a:gd name="connsiteX595" fmla="*/ 6862231 w 8734227"/>
                <a:gd name="connsiteY595" fmla="*/ 680804 h 1715383"/>
                <a:gd name="connsiteX596" fmla="*/ 6866096 w 8734227"/>
                <a:gd name="connsiteY596" fmla="*/ 674286 h 1715383"/>
                <a:gd name="connsiteX597" fmla="*/ 6867255 w 8734227"/>
                <a:gd name="connsiteY597" fmla="*/ 666234 h 1715383"/>
                <a:gd name="connsiteX598" fmla="*/ 6866096 w 8734227"/>
                <a:gd name="connsiteY598" fmla="*/ 658566 h 1715383"/>
                <a:gd name="connsiteX599" fmla="*/ 6862231 w 8734227"/>
                <a:gd name="connsiteY599" fmla="*/ 651664 h 1715383"/>
                <a:gd name="connsiteX600" fmla="*/ 6857208 w 8734227"/>
                <a:gd name="connsiteY600" fmla="*/ 646680 h 1715383"/>
                <a:gd name="connsiteX601" fmla="*/ 6850253 w 8734227"/>
                <a:gd name="connsiteY601" fmla="*/ 643229 h 1715383"/>
                <a:gd name="connsiteX602" fmla="*/ 6662071 w 8734227"/>
                <a:gd name="connsiteY602" fmla="*/ 641312 h 1715383"/>
                <a:gd name="connsiteX603" fmla="*/ 6654343 w 8734227"/>
                <a:gd name="connsiteY603" fmla="*/ 643229 h 1715383"/>
                <a:gd name="connsiteX604" fmla="*/ 6647388 w 8734227"/>
                <a:gd name="connsiteY604" fmla="*/ 646680 h 1715383"/>
                <a:gd name="connsiteX605" fmla="*/ 6642364 w 8734227"/>
                <a:gd name="connsiteY605" fmla="*/ 651664 h 1715383"/>
                <a:gd name="connsiteX606" fmla="*/ 6639273 w 8734227"/>
                <a:gd name="connsiteY606" fmla="*/ 658566 h 1715383"/>
                <a:gd name="connsiteX607" fmla="*/ 6637727 w 8734227"/>
                <a:gd name="connsiteY607" fmla="*/ 666234 h 1715383"/>
                <a:gd name="connsiteX608" fmla="*/ 6639273 w 8734227"/>
                <a:gd name="connsiteY608" fmla="*/ 674286 h 1715383"/>
                <a:gd name="connsiteX609" fmla="*/ 6642364 w 8734227"/>
                <a:gd name="connsiteY609" fmla="*/ 680804 h 1715383"/>
                <a:gd name="connsiteX610" fmla="*/ 6647388 w 8734227"/>
                <a:gd name="connsiteY610" fmla="*/ 686172 h 1715383"/>
                <a:gd name="connsiteX611" fmla="*/ 6654343 w 8734227"/>
                <a:gd name="connsiteY611" fmla="*/ 689622 h 1715383"/>
                <a:gd name="connsiteX612" fmla="*/ 6662071 w 8734227"/>
                <a:gd name="connsiteY612" fmla="*/ 690772 h 1715383"/>
                <a:gd name="connsiteX613" fmla="*/ 6670186 w 8734227"/>
                <a:gd name="connsiteY613" fmla="*/ 689622 h 1715383"/>
                <a:gd name="connsiteX614" fmla="*/ 6676755 w 8734227"/>
                <a:gd name="connsiteY614" fmla="*/ 686172 h 1715383"/>
                <a:gd name="connsiteX615" fmla="*/ 6682551 w 8734227"/>
                <a:gd name="connsiteY615" fmla="*/ 680804 h 1715383"/>
                <a:gd name="connsiteX616" fmla="*/ 6685642 w 8734227"/>
                <a:gd name="connsiteY616" fmla="*/ 674286 h 1715383"/>
                <a:gd name="connsiteX617" fmla="*/ 6687188 w 8734227"/>
                <a:gd name="connsiteY617" fmla="*/ 666234 h 1715383"/>
                <a:gd name="connsiteX618" fmla="*/ 6685642 w 8734227"/>
                <a:gd name="connsiteY618" fmla="*/ 658566 h 1715383"/>
                <a:gd name="connsiteX619" fmla="*/ 6682551 w 8734227"/>
                <a:gd name="connsiteY619" fmla="*/ 651664 h 1715383"/>
                <a:gd name="connsiteX620" fmla="*/ 6676755 w 8734227"/>
                <a:gd name="connsiteY620" fmla="*/ 646680 h 1715383"/>
                <a:gd name="connsiteX621" fmla="*/ 6670186 w 8734227"/>
                <a:gd name="connsiteY621" fmla="*/ 643229 h 1715383"/>
                <a:gd name="connsiteX622" fmla="*/ 4828217 w 8734227"/>
                <a:gd name="connsiteY622" fmla="*/ 546687 h 1715383"/>
                <a:gd name="connsiteX623" fmla="*/ 4828217 w 8734227"/>
                <a:gd name="connsiteY623" fmla="*/ 1471905 h 1715383"/>
                <a:gd name="connsiteX624" fmla="*/ 5444866 w 8734227"/>
                <a:gd name="connsiteY624" fmla="*/ 1471905 h 1715383"/>
                <a:gd name="connsiteX625" fmla="*/ 5444866 w 8734227"/>
                <a:gd name="connsiteY625" fmla="*/ 546687 h 1715383"/>
                <a:gd name="connsiteX626" fmla="*/ 6623381 w 8734227"/>
                <a:gd name="connsiteY626" fmla="*/ 544709 h 1715383"/>
                <a:gd name="connsiteX627" fmla="*/ 6624531 w 8734227"/>
                <a:gd name="connsiteY627" fmla="*/ 545101 h 1715383"/>
                <a:gd name="connsiteX628" fmla="*/ 6624914 w 8734227"/>
                <a:gd name="connsiteY628" fmla="*/ 545101 h 1715383"/>
                <a:gd name="connsiteX629" fmla="*/ 6660924 w 8734227"/>
                <a:gd name="connsiteY629" fmla="*/ 597114 h 1715383"/>
                <a:gd name="connsiteX630" fmla="*/ 6667480 w 8734227"/>
                <a:gd name="connsiteY630" fmla="*/ 594528 h 1715383"/>
                <a:gd name="connsiteX631" fmla="*/ 6686415 w 8734227"/>
                <a:gd name="connsiteY631" fmla="*/ 589130 h 1715383"/>
                <a:gd name="connsiteX632" fmla="*/ 6706121 w 8734227"/>
                <a:gd name="connsiteY632" fmla="*/ 584889 h 1715383"/>
                <a:gd name="connsiteX633" fmla="*/ 6728533 w 8734227"/>
                <a:gd name="connsiteY633" fmla="*/ 582576 h 1715383"/>
                <a:gd name="connsiteX634" fmla="*/ 6752491 w 8734227"/>
                <a:gd name="connsiteY634" fmla="*/ 581804 h 1715383"/>
                <a:gd name="connsiteX635" fmla="*/ 6777221 w 8734227"/>
                <a:gd name="connsiteY635" fmla="*/ 582961 h 1715383"/>
                <a:gd name="connsiteX636" fmla="*/ 6800019 w 8734227"/>
                <a:gd name="connsiteY636" fmla="*/ 585660 h 1715383"/>
                <a:gd name="connsiteX637" fmla="*/ 6821272 w 8734227"/>
                <a:gd name="connsiteY637" fmla="*/ 590287 h 1715383"/>
                <a:gd name="connsiteX638" fmla="*/ 6839819 w 8734227"/>
                <a:gd name="connsiteY638" fmla="*/ 596070 h 1715383"/>
                <a:gd name="connsiteX639" fmla="*/ 6843354 w 8734227"/>
                <a:gd name="connsiteY639" fmla="*/ 597593 h 1715383"/>
                <a:gd name="connsiteX640" fmla="*/ 6879938 w 8734227"/>
                <a:gd name="connsiteY640" fmla="*/ 545101 h 1715383"/>
                <a:gd name="connsiteX641" fmla="*/ 6880717 w 8734227"/>
                <a:gd name="connsiteY641" fmla="*/ 545101 h 1715383"/>
                <a:gd name="connsiteX642" fmla="*/ 6881497 w 8734227"/>
                <a:gd name="connsiteY642" fmla="*/ 544709 h 1715383"/>
                <a:gd name="connsiteX643" fmla="*/ 6882665 w 8734227"/>
                <a:gd name="connsiteY643" fmla="*/ 545101 h 1715383"/>
                <a:gd name="connsiteX644" fmla="*/ 6884224 w 8734227"/>
                <a:gd name="connsiteY644" fmla="*/ 545101 h 1715383"/>
                <a:gd name="connsiteX645" fmla="*/ 6885393 w 8734227"/>
                <a:gd name="connsiteY645" fmla="*/ 546275 h 1715383"/>
                <a:gd name="connsiteX646" fmla="*/ 6886562 w 8734227"/>
                <a:gd name="connsiteY646" fmla="*/ 547058 h 1715383"/>
                <a:gd name="connsiteX647" fmla="*/ 6887341 w 8734227"/>
                <a:gd name="connsiteY647" fmla="*/ 548231 h 1715383"/>
                <a:gd name="connsiteX648" fmla="*/ 6888121 w 8734227"/>
                <a:gd name="connsiteY648" fmla="*/ 549797 h 1715383"/>
                <a:gd name="connsiteX649" fmla="*/ 6887341 w 8734227"/>
                <a:gd name="connsiteY649" fmla="*/ 550580 h 1715383"/>
                <a:gd name="connsiteX650" fmla="*/ 6851984 w 8734227"/>
                <a:gd name="connsiteY650" fmla="*/ 601312 h 1715383"/>
                <a:gd name="connsiteX651" fmla="*/ 6856821 w 8734227"/>
                <a:gd name="connsiteY651" fmla="*/ 603396 h 1715383"/>
                <a:gd name="connsiteX652" fmla="*/ 6872278 w 8734227"/>
                <a:gd name="connsiteY652" fmla="*/ 611492 h 1715383"/>
                <a:gd name="connsiteX653" fmla="*/ 6885802 w 8734227"/>
                <a:gd name="connsiteY653" fmla="*/ 620360 h 1715383"/>
                <a:gd name="connsiteX654" fmla="*/ 6897781 w 8734227"/>
                <a:gd name="connsiteY654" fmla="*/ 630384 h 1715383"/>
                <a:gd name="connsiteX655" fmla="*/ 6908214 w 8734227"/>
                <a:gd name="connsiteY655" fmla="*/ 641180 h 1715383"/>
                <a:gd name="connsiteX656" fmla="*/ 6917874 w 8734227"/>
                <a:gd name="connsiteY656" fmla="*/ 651975 h 1715383"/>
                <a:gd name="connsiteX657" fmla="*/ 6925989 w 8734227"/>
                <a:gd name="connsiteY657" fmla="*/ 663156 h 1715383"/>
                <a:gd name="connsiteX658" fmla="*/ 6932944 w 8734227"/>
                <a:gd name="connsiteY658" fmla="*/ 674723 h 1715383"/>
                <a:gd name="connsiteX659" fmla="*/ 6938740 w 8734227"/>
                <a:gd name="connsiteY659" fmla="*/ 685904 h 1715383"/>
                <a:gd name="connsiteX660" fmla="*/ 6943377 w 8734227"/>
                <a:gd name="connsiteY660" fmla="*/ 697084 h 1715383"/>
                <a:gd name="connsiteX661" fmla="*/ 6947628 w 8734227"/>
                <a:gd name="connsiteY661" fmla="*/ 707495 h 1715383"/>
                <a:gd name="connsiteX662" fmla="*/ 6950719 w 8734227"/>
                <a:gd name="connsiteY662" fmla="*/ 717133 h 1715383"/>
                <a:gd name="connsiteX663" fmla="*/ 6953424 w 8734227"/>
                <a:gd name="connsiteY663" fmla="*/ 726772 h 1715383"/>
                <a:gd name="connsiteX664" fmla="*/ 6954970 w 8734227"/>
                <a:gd name="connsiteY664" fmla="*/ 734484 h 1715383"/>
                <a:gd name="connsiteX665" fmla="*/ 6956129 w 8734227"/>
                <a:gd name="connsiteY665" fmla="*/ 741809 h 1715383"/>
                <a:gd name="connsiteX666" fmla="*/ 6956902 w 8734227"/>
                <a:gd name="connsiteY666" fmla="*/ 747592 h 1715383"/>
                <a:gd name="connsiteX667" fmla="*/ 6957674 w 8734227"/>
                <a:gd name="connsiteY667" fmla="*/ 752219 h 1715383"/>
                <a:gd name="connsiteX668" fmla="*/ 6957674 w 8734227"/>
                <a:gd name="connsiteY668" fmla="*/ 754532 h 1715383"/>
                <a:gd name="connsiteX669" fmla="*/ 6957674 w 8734227"/>
                <a:gd name="connsiteY669" fmla="*/ 755689 h 1715383"/>
                <a:gd name="connsiteX670" fmla="*/ 6547307 w 8734227"/>
                <a:gd name="connsiteY670" fmla="*/ 755689 h 1715383"/>
                <a:gd name="connsiteX671" fmla="*/ 6547307 w 8734227"/>
                <a:gd name="connsiteY671" fmla="*/ 754532 h 1715383"/>
                <a:gd name="connsiteX672" fmla="*/ 6547307 w 8734227"/>
                <a:gd name="connsiteY672" fmla="*/ 752219 h 1715383"/>
                <a:gd name="connsiteX673" fmla="*/ 6547694 w 8734227"/>
                <a:gd name="connsiteY673" fmla="*/ 747978 h 1715383"/>
                <a:gd name="connsiteX674" fmla="*/ 6548853 w 8734227"/>
                <a:gd name="connsiteY674" fmla="*/ 742580 h 1715383"/>
                <a:gd name="connsiteX675" fmla="*/ 6550012 w 8734227"/>
                <a:gd name="connsiteY675" fmla="*/ 736026 h 1715383"/>
                <a:gd name="connsiteX676" fmla="*/ 6550785 w 8734227"/>
                <a:gd name="connsiteY676" fmla="*/ 728315 h 1715383"/>
                <a:gd name="connsiteX677" fmla="*/ 6553103 w 8734227"/>
                <a:gd name="connsiteY677" fmla="*/ 719832 h 1715383"/>
                <a:gd name="connsiteX678" fmla="*/ 6556194 w 8734227"/>
                <a:gd name="connsiteY678" fmla="*/ 710579 h 1715383"/>
                <a:gd name="connsiteX679" fmla="*/ 6559286 w 8734227"/>
                <a:gd name="connsiteY679" fmla="*/ 700555 h 1715383"/>
                <a:gd name="connsiteX680" fmla="*/ 6563537 w 8734227"/>
                <a:gd name="connsiteY680" fmla="*/ 690145 h 1715383"/>
                <a:gd name="connsiteX681" fmla="*/ 6568559 w 8734227"/>
                <a:gd name="connsiteY681" fmla="*/ 679349 h 1715383"/>
                <a:gd name="connsiteX682" fmla="*/ 6574356 w 8734227"/>
                <a:gd name="connsiteY682" fmla="*/ 668168 h 1715383"/>
                <a:gd name="connsiteX683" fmla="*/ 6581698 w 8734227"/>
                <a:gd name="connsiteY683" fmla="*/ 657758 h 1715383"/>
                <a:gd name="connsiteX684" fmla="*/ 6590198 w 8734227"/>
                <a:gd name="connsiteY684" fmla="*/ 646963 h 1715383"/>
                <a:gd name="connsiteX685" fmla="*/ 6599472 w 8734227"/>
                <a:gd name="connsiteY685" fmla="*/ 636553 h 1715383"/>
                <a:gd name="connsiteX686" fmla="*/ 6609906 w 8734227"/>
                <a:gd name="connsiteY686" fmla="*/ 626529 h 1715383"/>
                <a:gd name="connsiteX687" fmla="*/ 6621884 w 8734227"/>
                <a:gd name="connsiteY687" fmla="*/ 617275 h 1715383"/>
                <a:gd name="connsiteX688" fmla="*/ 6635408 w 8734227"/>
                <a:gd name="connsiteY688" fmla="*/ 608793 h 1715383"/>
                <a:gd name="connsiteX689" fmla="*/ 6650865 w 8734227"/>
                <a:gd name="connsiteY689" fmla="*/ 601082 h 1715383"/>
                <a:gd name="connsiteX690" fmla="*/ 6652226 w 8734227"/>
                <a:gd name="connsiteY690" fmla="*/ 600545 h 1715383"/>
                <a:gd name="connsiteX691" fmla="*/ 6617634 w 8734227"/>
                <a:gd name="connsiteY691" fmla="*/ 550580 h 1715383"/>
                <a:gd name="connsiteX692" fmla="*/ 6617634 w 8734227"/>
                <a:gd name="connsiteY692" fmla="*/ 549797 h 1715383"/>
                <a:gd name="connsiteX693" fmla="*/ 6617634 w 8734227"/>
                <a:gd name="connsiteY693" fmla="*/ 548231 h 1715383"/>
                <a:gd name="connsiteX694" fmla="*/ 6618783 w 8734227"/>
                <a:gd name="connsiteY694" fmla="*/ 547058 h 1715383"/>
                <a:gd name="connsiteX695" fmla="*/ 6620316 w 8734227"/>
                <a:gd name="connsiteY695" fmla="*/ 546275 h 1715383"/>
                <a:gd name="connsiteX696" fmla="*/ 6621082 w 8734227"/>
                <a:gd name="connsiteY696" fmla="*/ 545101 h 1715383"/>
                <a:gd name="connsiteX697" fmla="*/ 6622232 w 8734227"/>
                <a:gd name="connsiteY697" fmla="*/ 545101 h 1715383"/>
                <a:gd name="connsiteX698" fmla="*/ 4183017 w 8734227"/>
                <a:gd name="connsiteY698" fmla="*/ 463640 h 1715383"/>
                <a:gd name="connsiteX699" fmla="*/ 4142768 w 8734227"/>
                <a:gd name="connsiteY699" fmla="*/ 589602 h 1715383"/>
                <a:gd name="connsiteX700" fmla="*/ 4026815 w 8734227"/>
                <a:gd name="connsiteY700" fmla="*/ 644831 h 1715383"/>
                <a:gd name="connsiteX701" fmla="*/ 4060355 w 8734227"/>
                <a:gd name="connsiteY701" fmla="*/ 532435 h 1715383"/>
                <a:gd name="connsiteX702" fmla="*/ 4183017 w 8734227"/>
                <a:gd name="connsiteY702" fmla="*/ 463640 h 1715383"/>
                <a:gd name="connsiteX703" fmla="*/ 142606 w 8734227"/>
                <a:gd name="connsiteY703" fmla="*/ 435886 h 1715383"/>
                <a:gd name="connsiteX704" fmla="*/ 142606 w 8734227"/>
                <a:gd name="connsiteY704" fmla="*/ 1564635 h 1715383"/>
                <a:gd name="connsiteX705" fmla="*/ 2167619 w 8734227"/>
                <a:gd name="connsiteY705" fmla="*/ 1564635 h 1715383"/>
                <a:gd name="connsiteX706" fmla="*/ 2167619 w 8734227"/>
                <a:gd name="connsiteY706" fmla="*/ 435886 h 1715383"/>
                <a:gd name="connsiteX707" fmla="*/ 5049402 w 8734227"/>
                <a:gd name="connsiteY707" fmla="*/ 408930 h 1715383"/>
                <a:gd name="connsiteX708" fmla="*/ 5033704 w 8734227"/>
                <a:gd name="connsiteY708" fmla="*/ 424628 h 1715383"/>
                <a:gd name="connsiteX709" fmla="*/ 5049402 w 8734227"/>
                <a:gd name="connsiteY709" fmla="*/ 440326 h 1715383"/>
                <a:gd name="connsiteX710" fmla="*/ 5223681 w 8734227"/>
                <a:gd name="connsiteY710" fmla="*/ 440326 h 1715383"/>
                <a:gd name="connsiteX711" fmla="*/ 5239379 w 8734227"/>
                <a:gd name="connsiteY711" fmla="*/ 424628 h 1715383"/>
                <a:gd name="connsiteX712" fmla="*/ 5223681 w 8734227"/>
                <a:gd name="connsiteY712" fmla="*/ 408930 h 1715383"/>
                <a:gd name="connsiteX713" fmla="*/ 2518597 w 8734227"/>
                <a:gd name="connsiteY713" fmla="*/ 402274 h 1715383"/>
                <a:gd name="connsiteX714" fmla="*/ 2481061 w 8734227"/>
                <a:gd name="connsiteY714" fmla="*/ 439810 h 1715383"/>
                <a:gd name="connsiteX715" fmla="*/ 2481061 w 8734227"/>
                <a:gd name="connsiteY715" fmla="*/ 1467497 h 1715383"/>
                <a:gd name="connsiteX716" fmla="*/ 2518597 w 8734227"/>
                <a:gd name="connsiteY716" fmla="*/ 1505033 h 1715383"/>
                <a:gd name="connsiteX717" fmla="*/ 3130747 w 8734227"/>
                <a:gd name="connsiteY717" fmla="*/ 1505033 h 1715383"/>
                <a:gd name="connsiteX718" fmla="*/ 3168284 w 8734227"/>
                <a:gd name="connsiteY718" fmla="*/ 1467497 h 1715383"/>
                <a:gd name="connsiteX719" fmla="*/ 3168284 w 8734227"/>
                <a:gd name="connsiteY719" fmla="*/ 439810 h 1715383"/>
                <a:gd name="connsiteX720" fmla="*/ 3130747 w 8734227"/>
                <a:gd name="connsiteY720" fmla="*/ 402274 h 1715383"/>
                <a:gd name="connsiteX721" fmla="*/ 2776017 w 8734227"/>
                <a:gd name="connsiteY721" fmla="*/ 362170 h 1715383"/>
                <a:gd name="connsiteX722" fmla="*/ 2771932 w 8734227"/>
                <a:gd name="connsiteY722" fmla="*/ 363863 h 1715383"/>
                <a:gd name="connsiteX723" fmla="*/ 2770239 w 8734227"/>
                <a:gd name="connsiteY723" fmla="*/ 367948 h 1715383"/>
                <a:gd name="connsiteX724" fmla="*/ 2771932 w 8734227"/>
                <a:gd name="connsiteY724" fmla="*/ 372033 h 1715383"/>
                <a:gd name="connsiteX725" fmla="*/ 2776017 w 8734227"/>
                <a:gd name="connsiteY725" fmla="*/ 373725 h 1715383"/>
                <a:gd name="connsiteX726" fmla="*/ 2872301 w 8734227"/>
                <a:gd name="connsiteY726" fmla="*/ 373725 h 1715383"/>
                <a:gd name="connsiteX727" fmla="*/ 2878078 w 8734227"/>
                <a:gd name="connsiteY727" fmla="*/ 367948 h 1715383"/>
                <a:gd name="connsiteX728" fmla="*/ 2872301 w 8734227"/>
                <a:gd name="connsiteY728" fmla="*/ 362170 h 1715383"/>
                <a:gd name="connsiteX729" fmla="*/ 8074277 w 8734227"/>
                <a:gd name="connsiteY729" fmla="*/ 335996 h 1715383"/>
                <a:gd name="connsiteX730" fmla="*/ 8029436 w 8734227"/>
                <a:gd name="connsiteY730" fmla="*/ 380837 h 1715383"/>
                <a:gd name="connsiteX731" fmla="*/ 8029436 w 8734227"/>
                <a:gd name="connsiteY731" fmla="*/ 1435314 h 1715383"/>
                <a:gd name="connsiteX732" fmla="*/ 8074277 w 8734227"/>
                <a:gd name="connsiteY732" fmla="*/ 1480155 h 1715383"/>
                <a:gd name="connsiteX733" fmla="*/ 8657174 w 8734227"/>
                <a:gd name="connsiteY733" fmla="*/ 1480155 h 1715383"/>
                <a:gd name="connsiteX734" fmla="*/ 8702015 w 8734227"/>
                <a:gd name="connsiteY734" fmla="*/ 1435314 h 1715383"/>
                <a:gd name="connsiteX735" fmla="*/ 8702015 w 8734227"/>
                <a:gd name="connsiteY735" fmla="*/ 380837 h 1715383"/>
                <a:gd name="connsiteX736" fmla="*/ 8657174 w 8734227"/>
                <a:gd name="connsiteY736" fmla="*/ 335996 h 1715383"/>
                <a:gd name="connsiteX737" fmla="*/ 5759891 w 8734227"/>
                <a:gd name="connsiteY737" fmla="*/ 305930 h 1715383"/>
                <a:gd name="connsiteX738" fmla="*/ 5759891 w 8734227"/>
                <a:gd name="connsiteY738" fmla="*/ 1478569 h 1715383"/>
                <a:gd name="connsiteX739" fmla="*/ 7741904 w 8734227"/>
                <a:gd name="connsiteY739" fmla="*/ 1478569 h 1715383"/>
                <a:gd name="connsiteX740" fmla="*/ 7741904 w 8734227"/>
                <a:gd name="connsiteY740" fmla="*/ 305930 h 1715383"/>
                <a:gd name="connsiteX741" fmla="*/ 4878987 w 8734227"/>
                <a:gd name="connsiteY741" fmla="*/ 300646 h 1715383"/>
                <a:gd name="connsiteX742" fmla="*/ 5394095 w 8734227"/>
                <a:gd name="connsiteY742" fmla="*/ 300646 h 1715383"/>
                <a:gd name="connsiteX743" fmla="*/ 5492672 w 8734227"/>
                <a:gd name="connsiteY743" fmla="*/ 399224 h 1715383"/>
                <a:gd name="connsiteX744" fmla="*/ 5492672 w 8734227"/>
                <a:gd name="connsiteY744" fmla="*/ 1616806 h 1715383"/>
                <a:gd name="connsiteX745" fmla="*/ 5394095 w 8734227"/>
                <a:gd name="connsiteY745" fmla="*/ 1715383 h 1715383"/>
                <a:gd name="connsiteX746" fmla="*/ 4878987 w 8734227"/>
                <a:gd name="connsiteY746" fmla="*/ 1715383 h 1715383"/>
                <a:gd name="connsiteX747" fmla="*/ 4780410 w 8734227"/>
                <a:gd name="connsiteY747" fmla="*/ 1616806 h 1715383"/>
                <a:gd name="connsiteX748" fmla="*/ 4780410 w 8734227"/>
                <a:gd name="connsiteY748" fmla="*/ 399224 h 1715383"/>
                <a:gd name="connsiteX749" fmla="*/ 4878987 w 8734227"/>
                <a:gd name="connsiteY749" fmla="*/ 300646 h 1715383"/>
                <a:gd name="connsiteX750" fmla="*/ 2442872 w 8734227"/>
                <a:gd name="connsiteY750" fmla="*/ 299635 h 1715383"/>
                <a:gd name="connsiteX751" fmla="*/ 3205445 w 8734227"/>
                <a:gd name="connsiteY751" fmla="*/ 299635 h 1715383"/>
                <a:gd name="connsiteX752" fmla="*/ 3205445 w 8734227"/>
                <a:gd name="connsiteY752" fmla="*/ 1714372 h 1715383"/>
                <a:gd name="connsiteX753" fmla="*/ 2442872 w 8734227"/>
                <a:gd name="connsiteY753" fmla="*/ 1714372 h 1715383"/>
                <a:gd name="connsiteX754" fmla="*/ 8046360 w 8734227"/>
                <a:gd name="connsiteY754" fmla="*/ 292188 h 1715383"/>
                <a:gd name="connsiteX755" fmla="*/ 8685091 w 8734227"/>
                <a:gd name="connsiteY755" fmla="*/ 292188 h 1715383"/>
                <a:gd name="connsiteX756" fmla="*/ 8734227 w 8734227"/>
                <a:gd name="connsiteY756" fmla="*/ 341324 h 1715383"/>
                <a:gd name="connsiteX757" fmla="*/ 8734227 w 8734227"/>
                <a:gd name="connsiteY757" fmla="*/ 1657789 h 1715383"/>
                <a:gd name="connsiteX758" fmla="*/ 8685091 w 8734227"/>
                <a:gd name="connsiteY758" fmla="*/ 1706925 h 1715383"/>
                <a:gd name="connsiteX759" fmla="*/ 8046360 w 8734227"/>
                <a:gd name="connsiteY759" fmla="*/ 1706925 h 1715383"/>
                <a:gd name="connsiteX760" fmla="*/ 7997224 w 8734227"/>
                <a:gd name="connsiteY760" fmla="*/ 1657789 h 1715383"/>
                <a:gd name="connsiteX761" fmla="*/ 7997224 w 8734227"/>
                <a:gd name="connsiteY761" fmla="*/ 341324 h 1715383"/>
                <a:gd name="connsiteX762" fmla="*/ 8046360 w 8734227"/>
                <a:gd name="connsiteY762" fmla="*/ 292188 h 1715383"/>
                <a:gd name="connsiteX763" fmla="*/ 31495 w 8734227"/>
                <a:gd name="connsiteY763" fmla="*/ 284741 h 1715383"/>
                <a:gd name="connsiteX764" fmla="*/ 2278731 w 8734227"/>
                <a:gd name="connsiteY764" fmla="*/ 284741 h 1715383"/>
                <a:gd name="connsiteX765" fmla="*/ 2310225 w 8734227"/>
                <a:gd name="connsiteY765" fmla="*/ 316235 h 1715383"/>
                <a:gd name="connsiteX766" fmla="*/ 2310225 w 8734227"/>
                <a:gd name="connsiteY766" fmla="*/ 1682878 h 1715383"/>
                <a:gd name="connsiteX767" fmla="*/ 2278731 w 8734227"/>
                <a:gd name="connsiteY767" fmla="*/ 1714372 h 1715383"/>
                <a:gd name="connsiteX768" fmla="*/ 31495 w 8734227"/>
                <a:gd name="connsiteY768" fmla="*/ 1714372 h 1715383"/>
                <a:gd name="connsiteX769" fmla="*/ 0 w 8734227"/>
                <a:gd name="connsiteY769" fmla="*/ 1682878 h 1715383"/>
                <a:gd name="connsiteX770" fmla="*/ 0 w 8734227"/>
                <a:gd name="connsiteY770" fmla="*/ 316235 h 1715383"/>
                <a:gd name="connsiteX771" fmla="*/ 31495 w 8734227"/>
                <a:gd name="connsiteY771" fmla="*/ 284741 h 1715383"/>
                <a:gd name="connsiteX772" fmla="*/ 3506920 w 8734227"/>
                <a:gd name="connsiteY772" fmla="*/ 153677 h 1715383"/>
                <a:gd name="connsiteX773" fmla="*/ 3506920 w 8734227"/>
                <a:gd name="connsiteY773" fmla="*/ 1550448 h 1715383"/>
                <a:gd name="connsiteX774" fmla="*/ 4548522 w 8734227"/>
                <a:gd name="connsiteY774" fmla="*/ 1550448 h 1715383"/>
                <a:gd name="connsiteX775" fmla="*/ 4548522 w 8734227"/>
                <a:gd name="connsiteY775" fmla="*/ 153677 h 1715383"/>
                <a:gd name="connsiteX776" fmla="*/ 5691386 w 8734227"/>
                <a:gd name="connsiteY776" fmla="*/ 137045 h 1715383"/>
                <a:gd name="connsiteX777" fmla="*/ 7813595 w 8734227"/>
                <a:gd name="connsiteY777" fmla="*/ 137045 h 1715383"/>
                <a:gd name="connsiteX778" fmla="*/ 7907603 w 8734227"/>
                <a:gd name="connsiteY778" fmla="*/ 231053 h 1715383"/>
                <a:gd name="connsiteX779" fmla="*/ 7907603 w 8734227"/>
                <a:gd name="connsiteY779" fmla="*/ 1620364 h 1715383"/>
                <a:gd name="connsiteX780" fmla="*/ 7813595 w 8734227"/>
                <a:gd name="connsiteY780" fmla="*/ 1714372 h 1715383"/>
                <a:gd name="connsiteX781" fmla="*/ 5691386 w 8734227"/>
                <a:gd name="connsiteY781" fmla="*/ 1714372 h 1715383"/>
                <a:gd name="connsiteX782" fmla="*/ 5597378 w 8734227"/>
                <a:gd name="connsiteY782" fmla="*/ 1620364 h 1715383"/>
                <a:gd name="connsiteX783" fmla="*/ 5597378 w 8734227"/>
                <a:gd name="connsiteY783" fmla="*/ 231053 h 1715383"/>
                <a:gd name="connsiteX784" fmla="*/ 5691386 w 8734227"/>
                <a:gd name="connsiteY784" fmla="*/ 137045 h 1715383"/>
                <a:gd name="connsiteX785" fmla="*/ 3445917 w 8734227"/>
                <a:gd name="connsiteY785" fmla="*/ 0 h 1715383"/>
                <a:gd name="connsiteX786" fmla="*/ 4609525 w 8734227"/>
                <a:gd name="connsiteY786" fmla="*/ 0 h 1715383"/>
                <a:gd name="connsiteX787" fmla="*/ 4697076 w 8734227"/>
                <a:gd name="connsiteY787" fmla="*/ 87551 h 1715383"/>
                <a:gd name="connsiteX788" fmla="*/ 4697076 w 8734227"/>
                <a:gd name="connsiteY788" fmla="*/ 1626821 h 1715383"/>
                <a:gd name="connsiteX789" fmla="*/ 4609525 w 8734227"/>
                <a:gd name="connsiteY789" fmla="*/ 1714372 h 1715383"/>
                <a:gd name="connsiteX790" fmla="*/ 3445917 w 8734227"/>
                <a:gd name="connsiteY790" fmla="*/ 1714372 h 1715383"/>
                <a:gd name="connsiteX791" fmla="*/ 3358365 w 8734227"/>
                <a:gd name="connsiteY791" fmla="*/ 1626821 h 1715383"/>
                <a:gd name="connsiteX792" fmla="*/ 3358365 w 8734227"/>
                <a:gd name="connsiteY792" fmla="*/ 87551 h 1715383"/>
                <a:gd name="connsiteX793" fmla="*/ 3445917 w 8734227"/>
                <a:gd name="connsiteY793" fmla="*/ 0 h 1715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Lst>
              <a:rect l="l" t="t" r="r" b="b"/>
              <a:pathLst>
                <a:path w="8734227" h="1715383">
                  <a:moveTo>
                    <a:pt x="1152413" y="1636663"/>
                  </a:moveTo>
                  <a:lnTo>
                    <a:pt x="1152413" y="1663491"/>
                  </a:lnTo>
                  <a:lnTo>
                    <a:pt x="1188645" y="1668494"/>
                  </a:lnTo>
                  <a:cubicBezTo>
                    <a:pt x="1188629" y="1657883"/>
                    <a:pt x="1188610" y="1647273"/>
                    <a:pt x="1188591" y="1636663"/>
                  </a:cubicBezTo>
                  <a:close/>
                  <a:moveTo>
                    <a:pt x="1121597" y="1636663"/>
                  </a:moveTo>
                  <a:cubicBezTo>
                    <a:pt x="1121579" y="1646324"/>
                    <a:pt x="1121565" y="1655665"/>
                    <a:pt x="1121599" y="1659239"/>
                  </a:cubicBezTo>
                  <a:lnTo>
                    <a:pt x="1149027" y="1663024"/>
                  </a:lnTo>
                  <a:lnTo>
                    <a:pt x="1149027" y="1636663"/>
                  </a:lnTo>
                  <a:close/>
                  <a:moveTo>
                    <a:pt x="5975882" y="1616729"/>
                  </a:moveTo>
                  <a:lnTo>
                    <a:pt x="5975882" y="1629353"/>
                  </a:lnTo>
                  <a:lnTo>
                    <a:pt x="6053370" y="1629353"/>
                  </a:lnTo>
                  <a:lnTo>
                    <a:pt x="6053370" y="1616729"/>
                  </a:lnTo>
                  <a:close/>
                  <a:moveTo>
                    <a:pt x="8268937" y="1608864"/>
                  </a:moveTo>
                  <a:lnTo>
                    <a:pt x="8268937" y="1614441"/>
                  </a:lnTo>
                  <a:lnTo>
                    <a:pt x="8303165" y="1614441"/>
                  </a:lnTo>
                  <a:lnTo>
                    <a:pt x="8303165" y="1608864"/>
                  </a:lnTo>
                  <a:close/>
                  <a:moveTo>
                    <a:pt x="1149027" y="1606864"/>
                  </a:moveTo>
                  <a:lnTo>
                    <a:pt x="1121599" y="1610703"/>
                  </a:lnTo>
                  <a:cubicBezTo>
                    <a:pt x="1121635" y="1614275"/>
                    <a:pt x="1121621" y="1623618"/>
                    <a:pt x="1121602" y="1633277"/>
                  </a:cubicBezTo>
                  <a:lnTo>
                    <a:pt x="1149027" y="1633277"/>
                  </a:lnTo>
                  <a:close/>
                  <a:moveTo>
                    <a:pt x="4027721" y="1601447"/>
                  </a:moveTo>
                  <a:cubicBezTo>
                    <a:pt x="4005255" y="1601447"/>
                    <a:pt x="3987043" y="1619659"/>
                    <a:pt x="3987043" y="1642124"/>
                  </a:cubicBezTo>
                  <a:cubicBezTo>
                    <a:pt x="3987043" y="1664589"/>
                    <a:pt x="4005255" y="1682801"/>
                    <a:pt x="4027721" y="1682801"/>
                  </a:cubicBezTo>
                  <a:cubicBezTo>
                    <a:pt x="4050186" y="1682801"/>
                    <a:pt x="4068398" y="1664589"/>
                    <a:pt x="4068398" y="1642124"/>
                  </a:cubicBezTo>
                  <a:cubicBezTo>
                    <a:pt x="4068398" y="1619659"/>
                    <a:pt x="4050186" y="1601447"/>
                    <a:pt x="4027721" y="1601447"/>
                  </a:cubicBezTo>
                  <a:close/>
                  <a:moveTo>
                    <a:pt x="1188532" y="1601335"/>
                  </a:moveTo>
                  <a:lnTo>
                    <a:pt x="1152413" y="1606390"/>
                  </a:lnTo>
                  <a:lnTo>
                    <a:pt x="1152413" y="1633277"/>
                  </a:lnTo>
                  <a:lnTo>
                    <a:pt x="1188586" y="1633277"/>
                  </a:lnTo>
                  <a:close/>
                  <a:moveTo>
                    <a:pt x="8268937" y="1596942"/>
                  </a:moveTo>
                  <a:lnTo>
                    <a:pt x="8268937" y="1602519"/>
                  </a:lnTo>
                  <a:lnTo>
                    <a:pt x="8303165" y="1602519"/>
                  </a:lnTo>
                  <a:lnTo>
                    <a:pt x="8303165" y="1596942"/>
                  </a:lnTo>
                  <a:close/>
                  <a:moveTo>
                    <a:pt x="2818847" y="1594679"/>
                  </a:moveTo>
                  <a:lnTo>
                    <a:pt x="2818847" y="1625793"/>
                  </a:lnTo>
                  <a:lnTo>
                    <a:pt x="2860864" y="1631591"/>
                  </a:lnTo>
                  <a:cubicBezTo>
                    <a:pt x="2860844" y="1619288"/>
                    <a:pt x="2860823" y="1606986"/>
                    <a:pt x="2860802" y="1594679"/>
                  </a:cubicBezTo>
                  <a:close/>
                  <a:moveTo>
                    <a:pt x="2783108" y="1594679"/>
                  </a:moveTo>
                  <a:lnTo>
                    <a:pt x="2783110" y="1620860"/>
                  </a:lnTo>
                  <a:lnTo>
                    <a:pt x="2814919" y="1625251"/>
                  </a:lnTo>
                  <a:lnTo>
                    <a:pt x="2814919" y="1594679"/>
                  </a:lnTo>
                  <a:close/>
                  <a:moveTo>
                    <a:pt x="8460169" y="1594535"/>
                  </a:moveTo>
                  <a:lnTo>
                    <a:pt x="8460169" y="1609826"/>
                  </a:lnTo>
                  <a:lnTo>
                    <a:pt x="8439786" y="1609826"/>
                  </a:lnTo>
                  <a:lnTo>
                    <a:pt x="8439786" y="1595380"/>
                  </a:lnTo>
                  <a:lnTo>
                    <a:pt x="8435075" y="1600091"/>
                  </a:lnTo>
                  <a:lnTo>
                    <a:pt x="8435075" y="1614633"/>
                  </a:lnTo>
                  <a:lnTo>
                    <a:pt x="8464880" y="1614633"/>
                  </a:lnTo>
                  <a:lnTo>
                    <a:pt x="8464880" y="1599246"/>
                  </a:lnTo>
                  <a:close/>
                  <a:moveTo>
                    <a:pt x="6240640" y="1591376"/>
                  </a:moveTo>
                  <a:lnTo>
                    <a:pt x="6240640" y="1624080"/>
                  </a:lnTo>
                  <a:lnTo>
                    <a:pt x="6197045" y="1624080"/>
                  </a:lnTo>
                  <a:lnTo>
                    <a:pt x="6197045" y="1593184"/>
                  </a:lnTo>
                  <a:lnTo>
                    <a:pt x="6186968" y="1603261"/>
                  </a:lnTo>
                  <a:lnTo>
                    <a:pt x="6186968" y="1634363"/>
                  </a:lnTo>
                  <a:lnTo>
                    <a:pt x="6250715" y="1634363"/>
                  </a:lnTo>
                  <a:lnTo>
                    <a:pt x="6250715" y="1601453"/>
                  </a:lnTo>
                  <a:close/>
                  <a:moveTo>
                    <a:pt x="5975882" y="1589739"/>
                  </a:moveTo>
                  <a:lnTo>
                    <a:pt x="5975882" y="1602364"/>
                  </a:lnTo>
                  <a:lnTo>
                    <a:pt x="6053370" y="1602364"/>
                  </a:lnTo>
                  <a:lnTo>
                    <a:pt x="6053370" y="1589739"/>
                  </a:lnTo>
                  <a:close/>
                  <a:moveTo>
                    <a:pt x="8268937" y="1585020"/>
                  </a:moveTo>
                  <a:lnTo>
                    <a:pt x="8268937" y="1590597"/>
                  </a:lnTo>
                  <a:lnTo>
                    <a:pt x="8303165" y="1590597"/>
                  </a:lnTo>
                  <a:lnTo>
                    <a:pt x="8303165" y="1585020"/>
                  </a:lnTo>
                  <a:close/>
                  <a:moveTo>
                    <a:pt x="8612398" y="1579252"/>
                  </a:moveTo>
                  <a:cubicBezTo>
                    <a:pt x="8617655" y="1579252"/>
                    <a:pt x="8621916" y="1583513"/>
                    <a:pt x="8621916" y="1588770"/>
                  </a:cubicBezTo>
                  <a:cubicBezTo>
                    <a:pt x="8621916" y="1594027"/>
                    <a:pt x="8617655" y="1598288"/>
                    <a:pt x="8612398" y="1598288"/>
                  </a:cubicBezTo>
                  <a:cubicBezTo>
                    <a:pt x="8607141" y="1598288"/>
                    <a:pt x="8602879" y="1594027"/>
                    <a:pt x="8602880" y="1588770"/>
                  </a:cubicBezTo>
                  <a:cubicBezTo>
                    <a:pt x="8602879" y="1583513"/>
                    <a:pt x="8607141" y="1579252"/>
                    <a:pt x="8612398" y="1579252"/>
                  </a:cubicBezTo>
                  <a:close/>
                  <a:moveTo>
                    <a:pt x="8612398" y="1573932"/>
                  </a:moveTo>
                  <a:cubicBezTo>
                    <a:pt x="8604203" y="1573932"/>
                    <a:pt x="8597559" y="1580575"/>
                    <a:pt x="8597559" y="1588770"/>
                  </a:cubicBezTo>
                  <a:cubicBezTo>
                    <a:pt x="8597559" y="1596965"/>
                    <a:pt x="8604203" y="1603608"/>
                    <a:pt x="8612398" y="1603608"/>
                  </a:cubicBezTo>
                  <a:cubicBezTo>
                    <a:pt x="8615668" y="1603608"/>
                    <a:pt x="8618691" y="1602551"/>
                    <a:pt x="8620988" y="1600545"/>
                  </a:cubicBezTo>
                  <a:lnTo>
                    <a:pt x="8633111" y="1612668"/>
                  </a:lnTo>
                  <a:lnTo>
                    <a:pt x="8636873" y="1608907"/>
                  </a:lnTo>
                  <a:lnTo>
                    <a:pt x="8624637" y="1596671"/>
                  </a:lnTo>
                  <a:cubicBezTo>
                    <a:pt x="8626365" y="1594500"/>
                    <a:pt x="8627236" y="1591737"/>
                    <a:pt x="8627236" y="1588770"/>
                  </a:cubicBezTo>
                  <a:cubicBezTo>
                    <a:pt x="8627236" y="1580575"/>
                    <a:pt x="8620593" y="1573932"/>
                    <a:pt x="8612398" y="1573932"/>
                  </a:cubicBezTo>
                  <a:close/>
                  <a:moveTo>
                    <a:pt x="8104689" y="1573371"/>
                  </a:moveTo>
                  <a:lnTo>
                    <a:pt x="8094578" y="1583482"/>
                  </a:lnTo>
                  <a:lnTo>
                    <a:pt x="8104865" y="1593770"/>
                  </a:lnTo>
                  <a:lnTo>
                    <a:pt x="8112479" y="1593770"/>
                  </a:lnTo>
                  <a:lnTo>
                    <a:pt x="8104788" y="1586078"/>
                  </a:lnTo>
                  <a:lnTo>
                    <a:pt x="8117510" y="1586078"/>
                  </a:lnTo>
                  <a:cubicBezTo>
                    <a:pt x="8123935" y="1586078"/>
                    <a:pt x="8129144" y="1591287"/>
                    <a:pt x="8129144" y="1597712"/>
                  </a:cubicBezTo>
                  <a:cubicBezTo>
                    <a:pt x="8129144" y="1604137"/>
                    <a:pt x="8123935" y="1609345"/>
                    <a:pt x="8117510" y="1609345"/>
                  </a:cubicBezTo>
                  <a:lnTo>
                    <a:pt x="8101646" y="1609345"/>
                  </a:lnTo>
                  <a:lnTo>
                    <a:pt x="8101646" y="1614633"/>
                  </a:lnTo>
                  <a:lnTo>
                    <a:pt x="8118183" y="1614633"/>
                  </a:lnTo>
                  <a:cubicBezTo>
                    <a:pt x="8127528" y="1614633"/>
                    <a:pt x="8135104" y="1607057"/>
                    <a:pt x="8135104" y="1597711"/>
                  </a:cubicBezTo>
                  <a:cubicBezTo>
                    <a:pt x="8135104" y="1588366"/>
                    <a:pt x="8127528" y="1580790"/>
                    <a:pt x="8118183" y="1580790"/>
                  </a:cubicBezTo>
                  <a:lnTo>
                    <a:pt x="8104884" y="1580790"/>
                  </a:lnTo>
                  <a:lnTo>
                    <a:pt x="8112303" y="1573371"/>
                  </a:lnTo>
                  <a:close/>
                  <a:moveTo>
                    <a:pt x="8255477" y="1573098"/>
                  </a:moveTo>
                  <a:lnTo>
                    <a:pt x="8255477" y="1578675"/>
                  </a:lnTo>
                  <a:lnTo>
                    <a:pt x="8303165" y="1578675"/>
                  </a:lnTo>
                  <a:lnTo>
                    <a:pt x="8303165" y="1573098"/>
                  </a:lnTo>
                  <a:close/>
                  <a:moveTo>
                    <a:pt x="8450362" y="1572906"/>
                  </a:moveTo>
                  <a:lnTo>
                    <a:pt x="8439786" y="1583482"/>
                  </a:lnTo>
                  <a:lnTo>
                    <a:pt x="8439786" y="1583447"/>
                  </a:lnTo>
                  <a:lnTo>
                    <a:pt x="8435075" y="1588158"/>
                  </a:lnTo>
                  <a:lnTo>
                    <a:pt x="8435075" y="1588193"/>
                  </a:lnTo>
                  <a:lnTo>
                    <a:pt x="8425148" y="1598120"/>
                  </a:lnTo>
                  <a:lnTo>
                    <a:pt x="8429121" y="1602092"/>
                  </a:lnTo>
                  <a:lnTo>
                    <a:pt x="8450362" y="1580852"/>
                  </a:lnTo>
                  <a:lnTo>
                    <a:pt x="8450418" y="1580908"/>
                  </a:lnTo>
                  <a:lnTo>
                    <a:pt x="8450438" y="1580888"/>
                  </a:lnTo>
                  <a:lnTo>
                    <a:pt x="8471671" y="1602122"/>
                  </a:lnTo>
                  <a:lnTo>
                    <a:pt x="8475624" y="1598168"/>
                  </a:lnTo>
                  <a:lnTo>
                    <a:pt x="8464880" y="1587424"/>
                  </a:lnTo>
                  <a:lnTo>
                    <a:pt x="8464880" y="1574444"/>
                  </a:lnTo>
                  <a:lnTo>
                    <a:pt x="8460169" y="1574444"/>
                  </a:lnTo>
                  <a:lnTo>
                    <a:pt x="8460169" y="1582713"/>
                  </a:lnTo>
                  <a:close/>
                  <a:moveTo>
                    <a:pt x="3085285" y="1568490"/>
                  </a:moveTo>
                  <a:cubicBezTo>
                    <a:pt x="3094821" y="1568490"/>
                    <a:pt x="3102553" y="1576222"/>
                    <a:pt x="3102553" y="1585759"/>
                  </a:cubicBezTo>
                  <a:cubicBezTo>
                    <a:pt x="3102553" y="1595295"/>
                    <a:pt x="3094821" y="1603029"/>
                    <a:pt x="3085285" y="1603029"/>
                  </a:cubicBezTo>
                  <a:cubicBezTo>
                    <a:pt x="3075745" y="1603029"/>
                    <a:pt x="3068014" y="1595295"/>
                    <a:pt x="3068014" y="1585759"/>
                  </a:cubicBezTo>
                  <a:cubicBezTo>
                    <a:pt x="3068014" y="1576222"/>
                    <a:pt x="3075745" y="1568490"/>
                    <a:pt x="3085285" y="1568490"/>
                  </a:cubicBezTo>
                  <a:close/>
                  <a:moveTo>
                    <a:pt x="5975882" y="1562748"/>
                  </a:moveTo>
                  <a:lnTo>
                    <a:pt x="5975882" y="1575374"/>
                  </a:lnTo>
                  <a:lnTo>
                    <a:pt x="6053370" y="1575374"/>
                  </a:lnTo>
                  <a:lnTo>
                    <a:pt x="6053370" y="1562748"/>
                  </a:lnTo>
                  <a:close/>
                  <a:moveTo>
                    <a:pt x="2566537" y="1561821"/>
                  </a:moveTo>
                  <a:lnTo>
                    <a:pt x="2541313" y="1590869"/>
                  </a:lnTo>
                  <a:lnTo>
                    <a:pt x="2566537" y="1621153"/>
                  </a:lnTo>
                  <a:lnTo>
                    <a:pt x="2582362" y="1621153"/>
                  </a:lnTo>
                  <a:lnTo>
                    <a:pt x="2563569" y="1598903"/>
                  </a:lnTo>
                  <a:lnTo>
                    <a:pt x="2606103" y="1598903"/>
                  </a:lnTo>
                  <a:lnTo>
                    <a:pt x="2606103" y="1583453"/>
                  </a:lnTo>
                  <a:lnTo>
                    <a:pt x="2563569" y="1583453"/>
                  </a:lnTo>
                  <a:lnTo>
                    <a:pt x="2582362" y="1561821"/>
                  </a:lnTo>
                  <a:close/>
                  <a:moveTo>
                    <a:pt x="2814919" y="1560122"/>
                  </a:moveTo>
                  <a:lnTo>
                    <a:pt x="2783110" y="1564573"/>
                  </a:lnTo>
                  <a:cubicBezTo>
                    <a:pt x="2783153" y="1568719"/>
                    <a:pt x="2783136" y="1579552"/>
                    <a:pt x="2783116" y="1590755"/>
                  </a:cubicBezTo>
                  <a:lnTo>
                    <a:pt x="2814919" y="1590755"/>
                  </a:lnTo>
                  <a:close/>
                  <a:moveTo>
                    <a:pt x="3085194" y="1559855"/>
                  </a:moveTo>
                  <a:cubicBezTo>
                    <a:pt x="3070889" y="1559855"/>
                    <a:pt x="3059291" y="1571452"/>
                    <a:pt x="3059291" y="1585759"/>
                  </a:cubicBezTo>
                  <a:cubicBezTo>
                    <a:pt x="3059291" y="1590148"/>
                    <a:pt x="3060382" y="1594283"/>
                    <a:pt x="3062416" y="1597850"/>
                  </a:cubicBezTo>
                  <a:lnTo>
                    <a:pt x="3038712" y="1621553"/>
                  </a:lnTo>
                  <a:cubicBezTo>
                    <a:pt x="3037588" y="1622676"/>
                    <a:pt x="3037588" y="1624498"/>
                    <a:pt x="3038712" y="1625623"/>
                  </a:cubicBezTo>
                  <a:lnTo>
                    <a:pt x="3046852" y="1633764"/>
                  </a:lnTo>
                  <a:cubicBezTo>
                    <a:pt x="3047978" y="1634888"/>
                    <a:pt x="3049799" y="1634888"/>
                    <a:pt x="3050925" y="1633764"/>
                  </a:cubicBezTo>
                  <a:lnTo>
                    <a:pt x="3075079" y="1609610"/>
                  </a:lnTo>
                  <a:cubicBezTo>
                    <a:pt x="3078186" y="1610931"/>
                    <a:pt x="3081604" y="1611663"/>
                    <a:pt x="3085194" y="1611663"/>
                  </a:cubicBezTo>
                  <a:cubicBezTo>
                    <a:pt x="3099501" y="1611663"/>
                    <a:pt x="3111099" y="1600065"/>
                    <a:pt x="3111099" y="1585759"/>
                  </a:cubicBezTo>
                  <a:cubicBezTo>
                    <a:pt x="3111099" y="1571452"/>
                    <a:pt x="3099501" y="1559855"/>
                    <a:pt x="3085194" y="1559855"/>
                  </a:cubicBezTo>
                  <a:close/>
                  <a:moveTo>
                    <a:pt x="2860734" y="1553710"/>
                  </a:moveTo>
                  <a:lnTo>
                    <a:pt x="2818847" y="1559572"/>
                  </a:lnTo>
                  <a:lnTo>
                    <a:pt x="2818847" y="1590755"/>
                  </a:lnTo>
                  <a:lnTo>
                    <a:pt x="2860797" y="1590755"/>
                  </a:lnTo>
                  <a:close/>
                  <a:moveTo>
                    <a:pt x="6408449" y="1550368"/>
                  </a:moveTo>
                  <a:cubicBezTo>
                    <a:pt x="6422885" y="1550368"/>
                    <a:pt x="6434588" y="1562071"/>
                    <a:pt x="6434588" y="1576506"/>
                  </a:cubicBezTo>
                  <a:cubicBezTo>
                    <a:pt x="6434588" y="1590942"/>
                    <a:pt x="6422885" y="1602645"/>
                    <a:pt x="6408449" y="1602645"/>
                  </a:cubicBezTo>
                  <a:cubicBezTo>
                    <a:pt x="6394014" y="1602645"/>
                    <a:pt x="6382311" y="1590942"/>
                    <a:pt x="6382311" y="1576506"/>
                  </a:cubicBezTo>
                  <a:cubicBezTo>
                    <a:pt x="6382311" y="1562071"/>
                    <a:pt x="6394014" y="1550368"/>
                    <a:pt x="6408449" y="1550368"/>
                  </a:cubicBezTo>
                  <a:close/>
                  <a:moveTo>
                    <a:pt x="6219663" y="1545115"/>
                  </a:moveTo>
                  <a:lnTo>
                    <a:pt x="6197045" y="1567734"/>
                  </a:lnTo>
                  <a:lnTo>
                    <a:pt x="6197045" y="1567661"/>
                  </a:lnTo>
                  <a:lnTo>
                    <a:pt x="6186968" y="1577738"/>
                  </a:lnTo>
                  <a:lnTo>
                    <a:pt x="6186968" y="1577811"/>
                  </a:lnTo>
                  <a:lnTo>
                    <a:pt x="6165737" y="1599043"/>
                  </a:lnTo>
                  <a:lnTo>
                    <a:pt x="6174233" y="1607540"/>
                  </a:lnTo>
                  <a:lnTo>
                    <a:pt x="6219663" y="1562110"/>
                  </a:lnTo>
                  <a:lnTo>
                    <a:pt x="6219784" y="1562231"/>
                  </a:lnTo>
                  <a:lnTo>
                    <a:pt x="6219828" y="1562188"/>
                  </a:lnTo>
                  <a:lnTo>
                    <a:pt x="6265241" y="1607603"/>
                  </a:lnTo>
                  <a:lnTo>
                    <a:pt x="6273696" y="1599147"/>
                  </a:lnTo>
                  <a:lnTo>
                    <a:pt x="6250715" y="1576167"/>
                  </a:lnTo>
                  <a:lnTo>
                    <a:pt x="6250715" y="1548405"/>
                  </a:lnTo>
                  <a:lnTo>
                    <a:pt x="6240640" y="1548405"/>
                  </a:lnTo>
                  <a:lnTo>
                    <a:pt x="6240640" y="1566092"/>
                  </a:lnTo>
                  <a:close/>
                  <a:moveTo>
                    <a:pt x="6408449" y="1535759"/>
                  </a:moveTo>
                  <a:cubicBezTo>
                    <a:pt x="6385946" y="1535759"/>
                    <a:pt x="6367702" y="1554003"/>
                    <a:pt x="6367702" y="1576506"/>
                  </a:cubicBezTo>
                  <a:cubicBezTo>
                    <a:pt x="6367702" y="1599011"/>
                    <a:pt x="6385946" y="1617255"/>
                    <a:pt x="6408449" y="1617255"/>
                  </a:cubicBezTo>
                  <a:cubicBezTo>
                    <a:pt x="6417430" y="1617255"/>
                    <a:pt x="6425732" y="1614350"/>
                    <a:pt x="6432040" y="1608842"/>
                  </a:cubicBezTo>
                  <a:lnTo>
                    <a:pt x="6465332" y="1642134"/>
                  </a:lnTo>
                  <a:lnTo>
                    <a:pt x="6475661" y="1631804"/>
                  </a:lnTo>
                  <a:lnTo>
                    <a:pt x="6442062" y="1598203"/>
                  </a:lnTo>
                  <a:cubicBezTo>
                    <a:pt x="6446807" y="1592243"/>
                    <a:pt x="6449198" y="1584655"/>
                    <a:pt x="6449198" y="1576506"/>
                  </a:cubicBezTo>
                  <a:cubicBezTo>
                    <a:pt x="6449198" y="1554003"/>
                    <a:pt x="6430954" y="1535759"/>
                    <a:pt x="6408449" y="1535759"/>
                  </a:cubicBezTo>
                  <a:close/>
                  <a:moveTo>
                    <a:pt x="5945410" y="1535759"/>
                  </a:moveTo>
                  <a:lnTo>
                    <a:pt x="5945410" y="1548383"/>
                  </a:lnTo>
                  <a:lnTo>
                    <a:pt x="6053370" y="1548383"/>
                  </a:lnTo>
                  <a:lnTo>
                    <a:pt x="6053370" y="1535759"/>
                  </a:lnTo>
                  <a:close/>
                  <a:moveTo>
                    <a:pt x="5791471" y="1535759"/>
                  </a:moveTo>
                  <a:lnTo>
                    <a:pt x="5765016" y="1562214"/>
                  </a:lnTo>
                  <a:lnTo>
                    <a:pt x="5791932" y="1589132"/>
                  </a:lnTo>
                  <a:lnTo>
                    <a:pt x="5811855" y="1589132"/>
                  </a:lnTo>
                  <a:lnTo>
                    <a:pt x="5791731" y="1569006"/>
                  </a:lnTo>
                  <a:lnTo>
                    <a:pt x="5825016" y="1569006"/>
                  </a:lnTo>
                  <a:cubicBezTo>
                    <a:pt x="5841827" y="1569006"/>
                    <a:pt x="5855455" y="1582634"/>
                    <a:pt x="5855455" y="1599445"/>
                  </a:cubicBezTo>
                  <a:cubicBezTo>
                    <a:pt x="5855455" y="1616255"/>
                    <a:pt x="5841827" y="1629884"/>
                    <a:pt x="5825016" y="1629884"/>
                  </a:cubicBezTo>
                  <a:lnTo>
                    <a:pt x="5783509" y="1629884"/>
                  </a:lnTo>
                  <a:lnTo>
                    <a:pt x="5783509" y="1643718"/>
                  </a:lnTo>
                  <a:lnTo>
                    <a:pt x="5826777" y="1643718"/>
                  </a:lnTo>
                  <a:cubicBezTo>
                    <a:pt x="5851228" y="1643718"/>
                    <a:pt x="5871050" y="1623897"/>
                    <a:pt x="5871050" y="1599445"/>
                  </a:cubicBezTo>
                  <a:cubicBezTo>
                    <a:pt x="5871050" y="1574993"/>
                    <a:pt x="5851228" y="1555170"/>
                    <a:pt x="5826777" y="1555170"/>
                  </a:cubicBezTo>
                  <a:lnTo>
                    <a:pt x="5791982" y="1555170"/>
                  </a:lnTo>
                  <a:lnTo>
                    <a:pt x="5811394" y="1535759"/>
                  </a:lnTo>
                  <a:close/>
                  <a:moveTo>
                    <a:pt x="5136541" y="1520601"/>
                  </a:moveTo>
                  <a:cubicBezTo>
                    <a:pt x="5097616" y="1520601"/>
                    <a:pt x="5066061" y="1552156"/>
                    <a:pt x="5066061" y="1591081"/>
                  </a:cubicBezTo>
                  <a:cubicBezTo>
                    <a:pt x="5066061" y="1630006"/>
                    <a:pt x="5097616" y="1661562"/>
                    <a:pt x="5136541" y="1661562"/>
                  </a:cubicBezTo>
                  <a:cubicBezTo>
                    <a:pt x="5175466" y="1661562"/>
                    <a:pt x="5207022" y="1630006"/>
                    <a:pt x="5207022" y="1591081"/>
                  </a:cubicBezTo>
                  <a:cubicBezTo>
                    <a:pt x="5207022" y="1552156"/>
                    <a:pt x="5175466" y="1520601"/>
                    <a:pt x="5136541" y="1520601"/>
                  </a:cubicBezTo>
                  <a:close/>
                  <a:moveTo>
                    <a:pt x="2804155" y="1019973"/>
                  </a:moveTo>
                  <a:lnTo>
                    <a:pt x="3072374" y="1019973"/>
                  </a:lnTo>
                  <a:cubicBezTo>
                    <a:pt x="3072507" y="1098634"/>
                    <a:pt x="3072639" y="1177294"/>
                    <a:pt x="3072771" y="1255954"/>
                  </a:cubicBezTo>
                  <a:lnTo>
                    <a:pt x="2804155" y="1218873"/>
                  </a:lnTo>
                  <a:close/>
                  <a:moveTo>
                    <a:pt x="2575684" y="1019973"/>
                  </a:moveTo>
                  <a:lnTo>
                    <a:pt x="2779051" y="1019973"/>
                  </a:lnTo>
                  <a:lnTo>
                    <a:pt x="2779051" y="1215407"/>
                  </a:lnTo>
                  <a:lnTo>
                    <a:pt x="2575706" y="1187336"/>
                  </a:lnTo>
                  <a:cubicBezTo>
                    <a:pt x="2575443" y="1160848"/>
                    <a:pt x="2575553" y="1091590"/>
                    <a:pt x="2575684" y="1019973"/>
                  </a:cubicBezTo>
                  <a:close/>
                  <a:moveTo>
                    <a:pt x="1127626" y="1017379"/>
                  </a:moveTo>
                  <a:lnTo>
                    <a:pt x="1496190" y="1017379"/>
                  </a:lnTo>
                  <a:cubicBezTo>
                    <a:pt x="1496372" y="1125468"/>
                    <a:pt x="1496554" y="1233556"/>
                    <a:pt x="1496735" y="1341644"/>
                  </a:cubicBezTo>
                  <a:lnTo>
                    <a:pt x="1127626" y="1290690"/>
                  </a:lnTo>
                  <a:close/>
                  <a:moveTo>
                    <a:pt x="813680" y="1017379"/>
                  </a:moveTo>
                  <a:lnTo>
                    <a:pt x="1093130" y="1017379"/>
                  </a:lnTo>
                  <a:lnTo>
                    <a:pt x="1093130" y="1285928"/>
                  </a:lnTo>
                  <a:lnTo>
                    <a:pt x="813711" y="1247355"/>
                  </a:lnTo>
                  <a:cubicBezTo>
                    <a:pt x="813348" y="1210958"/>
                    <a:pt x="813500" y="1115789"/>
                    <a:pt x="813680" y="1017379"/>
                  </a:cubicBezTo>
                  <a:close/>
                  <a:moveTo>
                    <a:pt x="8200722" y="882974"/>
                  </a:moveTo>
                  <a:lnTo>
                    <a:pt x="8221059" y="882974"/>
                  </a:lnTo>
                  <a:lnTo>
                    <a:pt x="8511008" y="882974"/>
                  </a:lnTo>
                  <a:lnTo>
                    <a:pt x="8531346" y="882974"/>
                  </a:lnTo>
                  <a:lnTo>
                    <a:pt x="8531346" y="1018677"/>
                  </a:lnTo>
                  <a:lnTo>
                    <a:pt x="8530729" y="1018677"/>
                  </a:lnTo>
                  <a:lnTo>
                    <a:pt x="8530729" y="1161453"/>
                  </a:lnTo>
                  <a:lnTo>
                    <a:pt x="8529496" y="1167628"/>
                  </a:lnTo>
                  <a:lnTo>
                    <a:pt x="8527031" y="1173185"/>
                  </a:lnTo>
                  <a:lnTo>
                    <a:pt x="8522717" y="1177508"/>
                  </a:lnTo>
                  <a:lnTo>
                    <a:pt x="8517171" y="1180286"/>
                  </a:lnTo>
                  <a:lnTo>
                    <a:pt x="8511008" y="1181521"/>
                  </a:lnTo>
                  <a:lnTo>
                    <a:pt x="8468428" y="1181521"/>
                  </a:lnTo>
                  <a:lnTo>
                    <a:pt x="8468428" y="1268851"/>
                  </a:lnTo>
                  <a:lnTo>
                    <a:pt x="8467189" y="1277782"/>
                  </a:lnTo>
                  <a:lnTo>
                    <a:pt x="8463782" y="1286098"/>
                  </a:lnTo>
                  <a:lnTo>
                    <a:pt x="8458516" y="1293182"/>
                  </a:lnTo>
                  <a:lnTo>
                    <a:pt x="8451391" y="1299034"/>
                  </a:lnTo>
                  <a:lnTo>
                    <a:pt x="8443027" y="1302422"/>
                  </a:lnTo>
                  <a:lnTo>
                    <a:pt x="8433424" y="1303654"/>
                  </a:lnTo>
                  <a:lnTo>
                    <a:pt x="8424131" y="1302422"/>
                  </a:lnTo>
                  <a:lnTo>
                    <a:pt x="8415767" y="1299034"/>
                  </a:lnTo>
                  <a:lnTo>
                    <a:pt x="8408642" y="1293182"/>
                  </a:lnTo>
                  <a:lnTo>
                    <a:pt x="8403066" y="1286098"/>
                  </a:lnTo>
                  <a:lnTo>
                    <a:pt x="8399349" y="1277782"/>
                  </a:lnTo>
                  <a:lnTo>
                    <a:pt x="8398109" y="1268851"/>
                  </a:lnTo>
                  <a:lnTo>
                    <a:pt x="8398109" y="1181521"/>
                  </a:lnTo>
                  <a:lnTo>
                    <a:pt x="8332725" y="1181521"/>
                  </a:lnTo>
                  <a:lnTo>
                    <a:pt x="8332725" y="1268851"/>
                  </a:lnTo>
                  <a:lnTo>
                    <a:pt x="8331196" y="1277782"/>
                  </a:lnTo>
                  <a:lnTo>
                    <a:pt x="8328139" y="1286098"/>
                  </a:lnTo>
                  <a:lnTo>
                    <a:pt x="8322636" y="1293182"/>
                  </a:lnTo>
                  <a:lnTo>
                    <a:pt x="8315605" y="1299034"/>
                  </a:lnTo>
                  <a:lnTo>
                    <a:pt x="8307351" y="1302422"/>
                  </a:lnTo>
                  <a:lnTo>
                    <a:pt x="8297874" y="1303654"/>
                  </a:lnTo>
                  <a:lnTo>
                    <a:pt x="8288702" y="1302422"/>
                  </a:lnTo>
                  <a:lnTo>
                    <a:pt x="8280448" y="1299034"/>
                  </a:lnTo>
                  <a:lnTo>
                    <a:pt x="8273417" y="1293182"/>
                  </a:lnTo>
                  <a:lnTo>
                    <a:pt x="8267914" y="1286098"/>
                  </a:lnTo>
                  <a:lnTo>
                    <a:pt x="8264245" y="1277782"/>
                  </a:lnTo>
                  <a:lnTo>
                    <a:pt x="8263023" y="1268851"/>
                  </a:lnTo>
                  <a:lnTo>
                    <a:pt x="8263023" y="1181521"/>
                  </a:lnTo>
                  <a:lnTo>
                    <a:pt x="8221059" y="1181521"/>
                  </a:lnTo>
                  <a:lnTo>
                    <a:pt x="8214589" y="1180286"/>
                  </a:lnTo>
                  <a:lnTo>
                    <a:pt x="8209350" y="1177508"/>
                  </a:lnTo>
                  <a:lnTo>
                    <a:pt x="8205037" y="1173185"/>
                  </a:lnTo>
                  <a:lnTo>
                    <a:pt x="8202263" y="1167628"/>
                  </a:lnTo>
                  <a:lnTo>
                    <a:pt x="8201339" y="1161453"/>
                  </a:lnTo>
                  <a:lnTo>
                    <a:pt x="8201339" y="1018677"/>
                  </a:lnTo>
                  <a:lnTo>
                    <a:pt x="8200722" y="1018677"/>
                  </a:lnTo>
                  <a:close/>
                  <a:moveTo>
                    <a:pt x="5227484" y="878578"/>
                  </a:moveTo>
                  <a:cubicBezTo>
                    <a:pt x="5296602" y="878578"/>
                    <a:pt x="5323885" y="928253"/>
                    <a:pt x="5323885" y="928253"/>
                  </a:cubicBezTo>
                  <a:cubicBezTo>
                    <a:pt x="5323885" y="928253"/>
                    <a:pt x="5270531" y="955850"/>
                    <a:pt x="5270531" y="1022696"/>
                  </a:cubicBezTo>
                  <a:cubicBezTo>
                    <a:pt x="5270531" y="1098128"/>
                    <a:pt x="5337223" y="1123886"/>
                    <a:pt x="5337223" y="1123886"/>
                  </a:cubicBezTo>
                  <a:cubicBezTo>
                    <a:pt x="5337223" y="1123886"/>
                    <a:pt x="5290539" y="1255739"/>
                    <a:pt x="5228091" y="1255739"/>
                  </a:cubicBezTo>
                  <a:cubicBezTo>
                    <a:pt x="5199595" y="1255739"/>
                    <a:pt x="5177162" y="1236114"/>
                    <a:pt x="5146848" y="1236114"/>
                  </a:cubicBezTo>
                  <a:cubicBezTo>
                    <a:pt x="5115927" y="1236114"/>
                    <a:pt x="5085006" y="1256965"/>
                    <a:pt x="5064998" y="1256965"/>
                  </a:cubicBezTo>
                  <a:cubicBezTo>
                    <a:pt x="5008007" y="1256965"/>
                    <a:pt x="4935858" y="1131858"/>
                    <a:pt x="4935858" y="1031282"/>
                  </a:cubicBezTo>
                  <a:cubicBezTo>
                    <a:pt x="4935858" y="931932"/>
                    <a:pt x="4997094" y="879805"/>
                    <a:pt x="5054085" y="879805"/>
                  </a:cubicBezTo>
                  <a:cubicBezTo>
                    <a:pt x="5091675" y="879805"/>
                    <a:pt x="5120777" y="901882"/>
                    <a:pt x="5140179" y="901882"/>
                  </a:cubicBezTo>
                  <a:cubicBezTo>
                    <a:pt x="5156548" y="901882"/>
                    <a:pt x="5187469" y="878578"/>
                    <a:pt x="5227484" y="878578"/>
                  </a:cubicBezTo>
                  <a:close/>
                  <a:moveTo>
                    <a:pt x="8583622" y="871871"/>
                  </a:moveTo>
                  <a:lnTo>
                    <a:pt x="8592915" y="873105"/>
                  </a:lnTo>
                  <a:lnTo>
                    <a:pt x="8601898" y="876806"/>
                  </a:lnTo>
                  <a:lnTo>
                    <a:pt x="8609023" y="882357"/>
                  </a:lnTo>
                  <a:lnTo>
                    <a:pt x="8614289" y="889451"/>
                  </a:lnTo>
                  <a:lnTo>
                    <a:pt x="8617697" y="897778"/>
                  </a:lnTo>
                  <a:lnTo>
                    <a:pt x="8618936" y="907339"/>
                  </a:lnTo>
                  <a:lnTo>
                    <a:pt x="8618936" y="1064631"/>
                  </a:lnTo>
                  <a:lnTo>
                    <a:pt x="8617697" y="1073884"/>
                  </a:lnTo>
                  <a:lnTo>
                    <a:pt x="8614289" y="1082520"/>
                  </a:lnTo>
                  <a:lnTo>
                    <a:pt x="8609023" y="1089613"/>
                  </a:lnTo>
                  <a:lnTo>
                    <a:pt x="8601898" y="1095165"/>
                  </a:lnTo>
                  <a:lnTo>
                    <a:pt x="8592915" y="1098249"/>
                  </a:lnTo>
                  <a:lnTo>
                    <a:pt x="8583622" y="1099482"/>
                  </a:lnTo>
                  <a:lnTo>
                    <a:pt x="8574638" y="1098249"/>
                  </a:lnTo>
                  <a:lnTo>
                    <a:pt x="8566274" y="1095165"/>
                  </a:lnTo>
                  <a:lnTo>
                    <a:pt x="8559149" y="1089613"/>
                  </a:lnTo>
                  <a:lnTo>
                    <a:pt x="8553264" y="1082520"/>
                  </a:lnTo>
                  <a:lnTo>
                    <a:pt x="8549856" y="1073884"/>
                  </a:lnTo>
                  <a:lnTo>
                    <a:pt x="8548617" y="1064631"/>
                  </a:lnTo>
                  <a:lnTo>
                    <a:pt x="8548617" y="907339"/>
                  </a:lnTo>
                  <a:lnTo>
                    <a:pt x="8549856" y="897778"/>
                  </a:lnTo>
                  <a:lnTo>
                    <a:pt x="8553264" y="889451"/>
                  </a:lnTo>
                  <a:lnTo>
                    <a:pt x="8559149" y="882357"/>
                  </a:lnTo>
                  <a:lnTo>
                    <a:pt x="8566274" y="876806"/>
                  </a:lnTo>
                  <a:lnTo>
                    <a:pt x="8574638" y="873105"/>
                  </a:lnTo>
                  <a:close/>
                  <a:moveTo>
                    <a:pt x="8147521" y="871871"/>
                  </a:moveTo>
                  <a:lnTo>
                    <a:pt x="8157040" y="873105"/>
                  </a:lnTo>
                  <a:lnTo>
                    <a:pt x="8165331" y="876806"/>
                  </a:lnTo>
                  <a:lnTo>
                    <a:pt x="8172394" y="882357"/>
                  </a:lnTo>
                  <a:lnTo>
                    <a:pt x="8177921" y="889451"/>
                  </a:lnTo>
                  <a:lnTo>
                    <a:pt x="8181606" y="897778"/>
                  </a:lnTo>
                  <a:lnTo>
                    <a:pt x="8182834" y="907339"/>
                  </a:lnTo>
                  <a:lnTo>
                    <a:pt x="8182834" y="1064631"/>
                  </a:lnTo>
                  <a:lnTo>
                    <a:pt x="8181606" y="1073884"/>
                  </a:lnTo>
                  <a:lnTo>
                    <a:pt x="8177921" y="1082520"/>
                  </a:lnTo>
                  <a:lnTo>
                    <a:pt x="8172394" y="1089613"/>
                  </a:lnTo>
                  <a:lnTo>
                    <a:pt x="8165331" y="1095165"/>
                  </a:lnTo>
                  <a:lnTo>
                    <a:pt x="8157040" y="1098249"/>
                  </a:lnTo>
                  <a:lnTo>
                    <a:pt x="8147521" y="1099482"/>
                  </a:lnTo>
                  <a:lnTo>
                    <a:pt x="8138309" y="1098249"/>
                  </a:lnTo>
                  <a:lnTo>
                    <a:pt x="8130018" y="1095165"/>
                  </a:lnTo>
                  <a:lnTo>
                    <a:pt x="8122956" y="1089613"/>
                  </a:lnTo>
                  <a:lnTo>
                    <a:pt x="8117428" y="1082520"/>
                  </a:lnTo>
                  <a:lnTo>
                    <a:pt x="8113743" y="1073884"/>
                  </a:lnTo>
                  <a:lnTo>
                    <a:pt x="8112515" y="1064631"/>
                  </a:lnTo>
                  <a:lnTo>
                    <a:pt x="8112515" y="907339"/>
                  </a:lnTo>
                  <a:lnTo>
                    <a:pt x="8113743" y="897778"/>
                  </a:lnTo>
                  <a:lnTo>
                    <a:pt x="8117428" y="889451"/>
                  </a:lnTo>
                  <a:lnTo>
                    <a:pt x="8122956" y="882357"/>
                  </a:lnTo>
                  <a:lnTo>
                    <a:pt x="8130018" y="876806"/>
                  </a:lnTo>
                  <a:lnTo>
                    <a:pt x="8138309" y="873105"/>
                  </a:lnTo>
                  <a:close/>
                  <a:moveTo>
                    <a:pt x="2779051" y="799046"/>
                  </a:moveTo>
                  <a:lnTo>
                    <a:pt x="2779051" y="994869"/>
                  </a:lnTo>
                  <a:lnTo>
                    <a:pt x="2575728" y="994869"/>
                  </a:lnTo>
                  <a:cubicBezTo>
                    <a:pt x="2575859" y="923253"/>
                    <a:pt x="2575969" y="853994"/>
                    <a:pt x="2575706" y="827507"/>
                  </a:cubicBezTo>
                  <a:close/>
                  <a:moveTo>
                    <a:pt x="6545761" y="779646"/>
                  </a:moveTo>
                  <a:lnTo>
                    <a:pt x="6571241" y="779646"/>
                  </a:lnTo>
                  <a:lnTo>
                    <a:pt x="6934512" y="779646"/>
                  </a:lnTo>
                  <a:lnTo>
                    <a:pt x="6959993" y="779646"/>
                  </a:lnTo>
                  <a:lnTo>
                    <a:pt x="6959993" y="949666"/>
                  </a:lnTo>
                  <a:lnTo>
                    <a:pt x="6959220" y="949666"/>
                  </a:lnTo>
                  <a:lnTo>
                    <a:pt x="6959220" y="1128547"/>
                  </a:lnTo>
                  <a:lnTo>
                    <a:pt x="6957675" y="1136283"/>
                  </a:lnTo>
                  <a:lnTo>
                    <a:pt x="6954587" y="1143246"/>
                  </a:lnTo>
                  <a:lnTo>
                    <a:pt x="6949182" y="1148661"/>
                  </a:lnTo>
                  <a:lnTo>
                    <a:pt x="6942234" y="1152143"/>
                  </a:lnTo>
                  <a:lnTo>
                    <a:pt x="6934512" y="1153690"/>
                  </a:lnTo>
                  <a:lnTo>
                    <a:pt x="6881165" y="1153690"/>
                  </a:lnTo>
                  <a:lnTo>
                    <a:pt x="6881165" y="1263103"/>
                  </a:lnTo>
                  <a:lnTo>
                    <a:pt x="6879613" y="1274294"/>
                  </a:lnTo>
                  <a:lnTo>
                    <a:pt x="6875343" y="1284713"/>
                  </a:lnTo>
                  <a:lnTo>
                    <a:pt x="6868745" y="1293588"/>
                  </a:lnTo>
                  <a:lnTo>
                    <a:pt x="6859819" y="1300920"/>
                  </a:lnTo>
                  <a:lnTo>
                    <a:pt x="6849340" y="1305165"/>
                  </a:lnTo>
                  <a:lnTo>
                    <a:pt x="6837308" y="1306708"/>
                  </a:lnTo>
                  <a:lnTo>
                    <a:pt x="6825665" y="1305165"/>
                  </a:lnTo>
                  <a:lnTo>
                    <a:pt x="6815186" y="1300920"/>
                  </a:lnTo>
                  <a:lnTo>
                    <a:pt x="6806259" y="1293588"/>
                  </a:lnTo>
                  <a:lnTo>
                    <a:pt x="6799273" y="1284713"/>
                  </a:lnTo>
                  <a:lnTo>
                    <a:pt x="6794616" y="1274294"/>
                  </a:lnTo>
                  <a:lnTo>
                    <a:pt x="6793064" y="1263103"/>
                  </a:lnTo>
                  <a:lnTo>
                    <a:pt x="6793064" y="1153690"/>
                  </a:lnTo>
                  <a:lnTo>
                    <a:pt x="6711145" y="1153690"/>
                  </a:lnTo>
                  <a:lnTo>
                    <a:pt x="6711145" y="1263103"/>
                  </a:lnTo>
                  <a:lnTo>
                    <a:pt x="6709230" y="1274294"/>
                  </a:lnTo>
                  <a:lnTo>
                    <a:pt x="6705399" y="1284713"/>
                  </a:lnTo>
                  <a:lnTo>
                    <a:pt x="6698505" y="1293588"/>
                  </a:lnTo>
                  <a:lnTo>
                    <a:pt x="6689696" y="1300920"/>
                  </a:lnTo>
                  <a:lnTo>
                    <a:pt x="6679354" y="1305165"/>
                  </a:lnTo>
                  <a:lnTo>
                    <a:pt x="6667480" y="1306708"/>
                  </a:lnTo>
                  <a:lnTo>
                    <a:pt x="6655990" y="1305165"/>
                  </a:lnTo>
                  <a:lnTo>
                    <a:pt x="6645648" y="1300920"/>
                  </a:lnTo>
                  <a:lnTo>
                    <a:pt x="6636839" y="1293588"/>
                  </a:lnTo>
                  <a:lnTo>
                    <a:pt x="6629944" y="1284713"/>
                  </a:lnTo>
                  <a:lnTo>
                    <a:pt x="6625348" y="1274294"/>
                  </a:lnTo>
                  <a:lnTo>
                    <a:pt x="6623816" y="1263103"/>
                  </a:lnTo>
                  <a:lnTo>
                    <a:pt x="6623816" y="1153690"/>
                  </a:lnTo>
                  <a:lnTo>
                    <a:pt x="6571241" y="1153690"/>
                  </a:lnTo>
                  <a:lnTo>
                    <a:pt x="6563134" y="1152143"/>
                  </a:lnTo>
                  <a:lnTo>
                    <a:pt x="6556571" y="1148661"/>
                  </a:lnTo>
                  <a:lnTo>
                    <a:pt x="6551167" y="1143246"/>
                  </a:lnTo>
                  <a:lnTo>
                    <a:pt x="6547692" y="1136283"/>
                  </a:lnTo>
                  <a:lnTo>
                    <a:pt x="6546534" y="1128547"/>
                  </a:lnTo>
                  <a:lnTo>
                    <a:pt x="6546534" y="949666"/>
                  </a:lnTo>
                  <a:lnTo>
                    <a:pt x="6545761" y="949666"/>
                  </a:lnTo>
                  <a:close/>
                  <a:moveTo>
                    <a:pt x="8437587" y="772562"/>
                  </a:moveTo>
                  <a:lnTo>
                    <a:pt x="8431419" y="774092"/>
                  </a:lnTo>
                  <a:lnTo>
                    <a:pt x="8425867" y="776846"/>
                  </a:lnTo>
                  <a:lnTo>
                    <a:pt x="8421858" y="780824"/>
                  </a:lnTo>
                  <a:lnTo>
                    <a:pt x="8418774" y="786333"/>
                  </a:lnTo>
                  <a:lnTo>
                    <a:pt x="8417848" y="792453"/>
                  </a:lnTo>
                  <a:lnTo>
                    <a:pt x="8418774" y="798880"/>
                  </a:lnTo>
                  <a:lnTo>
                    <a:pt x="8421858" y="804083"/>
                  </a:lnTo>
                  <a:lnTo>
                    <a:pt x="8425867" y="808367"/>
                  </a:lnTo>
                  <a:lnTo>
                    <a:pt x="8431419" y="811121"/>
                  </a:lnTo>
                  <a:lnTo>
                    <a:pt x="8437587" y="812039"/>
                  </a:lnTo>
                  <a:lnTo>
                    <a:pt x="8443755" y="811121"/>
                  </a:lnTo>
                  <a:lnTo>
                    <a:pt x="8449307" y="808367"/>
                  </a:lnTo>
                  <a:lnTo>
                    <a:pt x="8453316" y="804083"/>
                  </a:lnTo>
                  <a:lnTo>
                    <a:pt x="8456401" y="798880"/>
                  </a:lnTo>
                  <a:lnTo>
                    <a:pt x="8457326" y="792453"/>
                  </a:lnTo>
                  <a:lnTo>
                    <a:pt x="8456401" y="786333"/>
                  </a:lnTo>
                  <a:lnTo>
                    <a:pt x="8453316" y="780824"/>
                  </a:lnTo>
                  <a:lnTo>
                    <a:pt x="8449307" y="776846"/>
                  </a:lnTo>
                  <a:lnTo>
                    <a:pt x="8443755" y="774092"/>
                  </a:lnTo>
                  <a:close/>
                  <a:moveTo>
                    <a:pt x="8293556" y="772562"/>
                  </a:moveTo>
                  <a:lnTo>
                    <a:pt x="8287388" y="774092"/>
                  </a:lnTo>
                  <a:lnTo>
                    <a:pt x="8281836" y="776846"/>
                  </a:lnTo>
                  <a:lnTo>
                    <a:pt x="8277827" y="780824"/>
                  </a:lnTo>
                  <a:lnTo>
                    <a:pt x="8275360" y="786333"/>
                  </a:lnTo>
                  <a:lnTo>
                    <a:pt x="8274126" y="792453"/>
                  </a:lnTo>
                  <a:lnTo>
                    <a:pt x="8275360" y="798880"/>
                  </a:lnTo>
                  <a:lnTo>
                    <a:pt x="8277827" y="804083"/>
                  </a:lnTo>
                  <a:lnTo>
                    <a:pt x="8281836" y="808367"/>
                  </a:lnTo>
                  <a:lnTo>
                    <a:pt x="8287388" y="811121"/>
                  </a:lnTo>
                  <a:lnTo>
                    <a:pt x="8293556" y="812039"/>
                  </a:lnTo>
                  <a:lnTo>
                    <a:pt x="8300033" y="811121"/>
                  </a:lnTo>
                  <a:lnTo>
                    <a:pt x="8305276" y="808367"/>
                  </a:lnTo>
                  <a:lnTo>
                    <a:pt x="8309902" y="804083"/>
                  </a:lnTo>
                  <a:lnTo>
                    <a:pt x="8312370" y="798880"/>
                  </a:lnTo>
                  <a:lnTo>
                    <a:pt x="8313603" y="792453"/>
                  </a:lnTo>
                  <a:lnTo>
                    <a:pt x="8312370" y="786333"/>
                  </a:lnTo>
                  <a:lnTo>
                    <a:pt x="8309902" y="780824"/>
                  </a:lnTo>
                  <a:lnTo>
                    <a:pt x="8305276" y="776846"/>
                  </a:lnTo>
                  <a:lnTo>
                    <a:pt x="8300033" y="774092"/>
                  </a:lnTo>
                  <a:close/>
                  <a:moveTo>
                    <a:pt x="7025488" y="765735"/>
                  </a:moveTo>
                  <a:lnTo>
                    <a:pt x="7037131" y="767281"/>
                  </a:lnTo>
                  <a:lnTo>
                    <a:pt x="7048387" y="771918"/>
                  </a:lnTo>
                  <a:lnTo>
                    <a:pt x="7057313" y="778873"/>
                  </a:lnTo>
                  <a:lnTo>
                    <a:pt x="7063911" y="787761"/>
                  </a:lnTo>
                  <a:lnTo>
                    <a:pt x="7068181" y="798193"/>
                  </a:lnTo>
                  <a:lnTo>
                    <a:pt x="7069733" y="810172"/>
                  </a:lnTo>
                  <a:lnTo>
                    <a:pt x="7069733" y="1007241"/>
                  </a:lnTo>
                  <a:lnTo>
                    <a:pt x="7068181" y="1018833"/>
                  </a:lnTo>
                  <a:lnTo>
                    <a:pt x="7063911" y="1029653"/>
                  </a:lnTo>
                  <a:lnTo>
                    <a:pt x="7057313" y="1038540"/>
                  </a:lnTo>
                  <a:lnTo>
                    <a:pt x="7048387" y="1045496"/>
                  </a:lnTo>
                  <a:lnTo>
                    <a:pt x="7037131" y="1049360"/>
                  </a:lnTo>
                  <a:lnTo>
                    <a:pt x="7025488" y="1050905"/>
                  </a:lnTo>
                  <a:lnTo>
                    <a:pt x="7014233" y="1049360"/>
                  </a:lnTo>
                  <a:lnTo>
                    <a:pt x="7003754" y="1045496"/>
                  </a:lnTo>
                  <a:lnTo>
                    <a:pt x="6994827" y="1038540"/>
                  </a:lnTo>
                  <a:lnTo>
                    <a:pt x="6987453" y="1029653"/>
                  </a:lnTo>
                  <a:lnTo>
                    <a:pt x="6983184" y="1018833"/>
                  </a:lnTo>
                  <a:lnTo>
                    <a:pt x="6981632" y="1007241"/>
                  </a:lnTo>
                  <a:lnTo>
                    <a:pt x="6981632" y="810172"/>
                  </a:lnTo>
                  <a:lnTo>
                    <a:pt x="6983184" y="798193"/>
                  </a:lnTo>
                  <a:lnTo>
                    <a:pt x="6987453" y="787761"/>
                  </a:lnTo>
                  <a:lnTo>
                    <a:pt x="6994827" y="778873"/>
                  </a:lnTo>
                  <a:lnTo>
                    <a:pt x="7003754" y="771918"/>
                  </a:lnTo>
                  <a:lnTo>
                    <a:pt x="7014233" y="767281"/>
                  </a:lnTo>
                  <a:close/>
                  <a:moveTo>
                    <a:pt x="6479106" y="765735"/>
                  </a:moveTo>
                  <a:lnTo>
                    <a:pt x="6491033" y="767281"/>
                  </a:lnTo>
                  <a:lnTo>
                    <a:pt x="6501421" y="771918"/>
                  </a:lnTo>
                  <a:lnTo>
                    <a:pt x="6510269" y="778873"/>
                  </a:lnTo>
                  <a:lnTo>
                    <a:pt x="6517194" y="787761"/>
                  </a:lnTo>
                  <a:lnTo>
                    <a:pt x="6521811" y="798193"/>
                  </a:lnTo>
                  <a:lnTo>
                    <a:pt x="6523349" y="810172"/>
                  </a:lnTo>
                  <a:lnTo>
                    <a:pt x="6523349" y="1007241"/>
                  </a:lnTo>
                  <a:lnTo>
                    <a:pt x="6521811" y="1018833"/>
                  </a:lnTo>
                  <a:lnTo>
                    <a:pt x="6517194" y="1029653"/>
                  </a:lnTo>
                  <a:lnTo>
                    <a:pt x="6510269" y="1038540"/>
                  </a:lnTo>
                  <a:lnTo>
                    <a:pt x="6501421" y="1045496"/>
                  </a:lnTo>
                  <a:lnTo>
                    <a:pt x="6491033" y="1049360"/>
                  </a:lnTo>
                  <a:lnTo>
                    <a:pt x="6479106" y="1050905"/>
                  </a:lnTo>
                  <a:lnTo>
                    <a:pt x="6467565" y="1049360"/>
                  </a:lnTo>
                  <a:lnTo>
                    <a:pt x="6457177" y="1045496"/>
                  </a:lnTo>
                  <a:lnTo>
                    <a:pt x="6448329" y="1038540"/>
                  </a:lnTo>
                  <a:lnTo>
                    <a:pt x="6441404" y="1029653"/>
                  </a:lnTo>
                  <a:lnTo>
                    <a:pt x="6436787" y="1018833"/>
                  </a:lnTo>
                  <a:lnTo>
                    <a:pt x="6435248" y="1007241"/>
                  </a:lnTo>
                  <a:lnTo>
                    <a:pt x="6435248" y="810172"/>
                  </a:lnTo>
                  <a:lnTo>
                    <a:pt x="6436787" y="798193"/>
                  </a:lnTo>
                  <a:lnTo>
                    <a:pt x="6441404" y="787761"/>
                  </a:lnTo>
                  <a:lnTo>
                    <a:pt x="6448329" y="778873"/>
                  </a:lnTo>
                  <a:lnTo>
                    <a:pt x="6457177" y="771918"/>
                  </a:lnTo>
                  <a:lnTo>
                    <a:pt x="6467565" y="767281"/>
                  </a:lnTo>
                  <a:close/>
                  <a:moveTo>
                    <a:pt x="5234778" y="759063"/>
                  </a:moveTo>
                  <a:cubicBezTo>
                    <a:pt x="5234778" y="759063"/>
                    <a:pt x="5241447" y="799517"/>
                    <a:pt x="5209318" y="838744"/>
                  </a:cubicBezTo>
                  <a:cubicBezTo>
                    <a:pt x="5174764" y="880424"/>
                    <a:pt x="5135967" y="873682"/>
                    <a:pt x="5135967" y="873682"/>
                  </a:cubicBezTo>
                  <a:cubicBezTo>
                    <a:pt x="5135967" y="873682"/>
                    <a:pt x="5128693" y="840583"/>
                    <a:pt x="5157184" y="802581"/>
                  </a:cubicBezTo>
                  <a:cubicBezTo>
                    <a:pt x="5189313" y="759063"/>
                    <a:pt x="5234778" y="759063"/>
                    <a:pt x="5234778" y="759063"/>
                  </a:cubicBezTo>
                  <a:close/>
                  <a:moveTo>
                    <a:pt x="3071934" y="758052"/>
                  </a:moveTo>
                  <a:lnTo>
                    <a:pt x="3072332" y="994869"/>
                  </a:lnTo>
                  <a:lnTo>
                    <a:pt x="2804155" y="994869"/>
                  </a:lnTo>
                  <a:lnTo>
                    <a:pt x="2804155" y="795532"/>
                  </a:lnTo>
                  <a:close/>
                  <a:moveTo>
                    <a:pt x="1093130" y="713799"/>
                  </a:moveTo>
                  <a:lnTo>
                    <a:pt x="1093130" y="982883"/>
                  </a:lnTo>
                  <a:lnTo>
                    <a:pt x="813740" y="982883"/>
                  </a:lnTo>
                  <a:cubicBezTo>
                    <a:pt x="813921" y="884474"/>
                    <a:pt x="814072" y="789305"/>
                    <a:pt x="813710" y="752908"/>
                  </a:cubicBezTo>
                  <a:close/>
                  <a:moveTo>
                    <a:pt x="8262676" y="695457"/>
                  </a:moveTo>
                  <a:lnTo>
                    <a:pt x="8263593" y="695770"/>
                  </a:lnTo>
                  <a:lnTo>
                    <a:pt x="8263899" y="695770"/>
                  </a:lnTo>
                  <a:lnTo>
                    <a:pt x="8292641" y="737285"/>
                  </a:lnTo>
                  <a:lnTo>
                    <a:pt x="8297874" y="735220"/>
                  </a:lnTo>
                  <a:lnTo>
                    <a:pt x="8312986" y="730912"/>
                  </a:lnTo>
                  <a:lnTo>
                    <a:pt x="8328715" y="727527"/>
                  </a:lnTo>
                  <a:lnTo>
                    <a:pt x="8346604" y="725681"/>
                  </a:lnTo>
                  <a:lnTo>
                    <a:pt x="8365726" y="725065"/>
                  </a:lnTo>
                  <a:lnTo>
                    <a:pt x="8385465" y="725988"/>
                  </a:lnTo>
                  <a:lnTo>
                    <a:pt x="8403661" y="728142"/>
                  </a:lnTo>
                  <a:lnTo>
                    <a:pt x="8420624" y="731835"/>
                  </a:lnTo>
                  <a:lnTo>
                    <a:pt x="8435428" y="736451"/>
                  </a:lnTo>
                  <a:lnTo>
                    <a:pt x="8438249" y="737667"/>
                  </a:lnTo>
                  <a:lnTo>
                    <a:pt x="8467449" y="695770"/>
                  </a:lnTo>
                  <a:lnTo>
                    <a:pt x="8468071" y="695770"/>
                  </a:lnTo>
                  <a:lnTo>
                    <a:pt x="8468693" y="695457"/>
                  </a:lnTo>
                  <a:lnTo>
                    <a:pt x="8469626" y="695770"/>
                  </a:lnTo>
                  <a:lnTo>
                    <a:pt x="8470870" y="695770"/>
                  </a:lnTo>
                  <a:lnTo>
                    <a:pt x="8471803" y="696707"/>
                  </a:lnTo>
                  <a:lnTo>
                    <a:pt x="8472736" y="697332"/>
                  </a:lnTo>
                  <a:lnTo>
                    <a:pt x="8473358" y="698268"/>
                  </a:lnTo>
                  <a:lnTo>
                    <a:pt x="8473980" y="699518"/>
                  </a:lnTo>
                  <a:lnTo>
                    <a:pt x="8473358" y="700143"/>
                  </a:lnTo>
                  <a:lnTo>
                    <a:pt x="8445137" y="740635"/>
                  </a:lnTo>
                  <a:lnTo>
                    <a:pt x="8448998" y="742298"/>
                  </a:lnTo>
                  <a:lnTo>
                    <a:pt x="8461335" y="748760"/>
                  </a:lnTo>
                  <a:lnTo>
                    <a:pt x="8472129" y="755838"/>
                  </a:lnTo>
                  <a:lnTo>
                    <a:pt x="8481691" y="763839"/>
                  </a:lnTo>
                  <a:lnTo>
                    <a:pt x="8490018" y="772456"/>
                  </a:lnTo>
                  <a:lnTo>
                    <a:pt x="8497728" y="781072"/>
                  </a:lnTo>
                  <a:lnTo>
                    <a:pt x="8504205" y="789997"/>
                  </a:lnTo>
                  <a:lnTo>
                    <a:pt x="8509757" y="799229"/>
                  </a:lnTo>
                  <a:lnTo>
                    <a:pt x="8514383" y="808153"/>
                  </a:lnTo>
                  <a:lnTo>
                    <a:pt x="8518084" y="817077"/>
                  </a:lnTo>
                  <a:lnTo>
                    <a:pt x="8521477" y="825386"/>
                  </a:lnTo>
                  <a:lnTo>
                    <a:pt x="8523944" y="833079"/>
                  </a:lnTo>
                  <a:lnTo>
                    <a:pt x="8526103" y="840773"/>
                  </a:lnTo>
                  <a:lnTo>
                    <a:pt x="8527336" y="846927"/>
                  </a:lnTo>
                  <a:lnTo>
                    <a:pt x="8528262" y="852774"/>
                  </a:lnTo>
                  <a:lnTo>
                    <a:pt x="8528879" y="857390"/>
                  </a:lnTo>
                  <a:lnTo>
                    <a:pt x="8529495" y="861083"/>
                  </a:lnTo>
                  <a:lnTo>
                    <a:pt x="8529495" y="862929"/>
                  </a:lnTo>
                  <a:lnTo>
                    <a:pt x="8529495" y="863853"/>
                  </a:lnTo>
                  <a:lnTo>
                    <a:pt x="8201956" y="863853"/>
                  </a:lnTo>
                  <a:lnTo>
                    <a:pt x="8201956" y="862929"/>
                  </a:lnTo>
                  <a:lnTo>
                    <a:pt x="8201956" y="861083"/>
                  </a:lnTo>
                  <a:lnTo>
                    <a:pt x="8202265" y="857698"/>
                  </a:lnTo>
                  <a:lnTo>
                    <a:pt x="8203190" y="853390"/>
                  </a:lnTo>
                  <a:lnTo>
                    <a:pt x="8204115" y="848158"/>
                  </a:lnTo>
                  <a:lnTo>
                    <a:pt x="8204732" y="842004"/>
                  </a:lnTo>
                  <a:lnTo>
                    <a:pt x="8206582" y="835233"/>
                  </a:lnTo>
                  <a:lnTo>
                    <a:pt x="8209050" y="827848"/>
                  </a:lnTo>
                  <a:lnTo>
                    <a:pt x="8211517" y="819847"/>
                  </a:lnTo>
                  <a:lnTo>
                    <a:pt x="8214910" y="811538"/>
                  </a:lnTo>
                  <a:lnTo>
                    <a:pt x="8218919" y="802922"/>
                  </a:lnTo>
                  <a:lnTo>
                    <a:pt x="8223546" y="793997"/>
                  </a:lnTo>
                  <a:lnTo>
                    <a:pt x="8229405" y="785688"/>
                  </a:lnTo>
                  <a:lnTo>
                    <a:pt x="8236190" y="777072"/>
                  </a:lnTo>
                  <a:lnTo>
                    <a:pt x="8243592" y="768763"/>
                  </a:lnTo>
                  <a:lnTo>
                    <a:pt x="8251920" y="760762"/>
                  </a:lnTo>
                  <a:lnTo>
                    <a:pt x="8261481" y="753376"/>
                  </a:lnTo>
                  <a:lnTo>
                    <a:pt x="8272275" y="746606"/>
                  </a:lnTo>
                  <a:lnTo>
                    <a:pt x="8284612" y="740452"/>
                  </a:lnTo>
                  <a:lnTo>
                    <a:pt x="8285699" y="740023"/>
                  </a:lnTo>
                  <a:lnTo>
                    <a:pt x="8258088" y="700143"/>
                  </a:lnTo>
                  <a:lnTo>
                    <a:pt x="8258088" y="699518"/>
                  </a:lnTo>
                  <a:lnTo>
                    <a:pt x="8258088" y="698268"/>
                  </a:lnTo>
                  <a:lnTo>
                    <a:pt x="8259006" y="697332"/>
                  </a:lnTo>
                  <a:lnTo>
                    <a:pt x="8260229" y="696707"/>
                  </a:lnTo>
                  <a:lnTo>
                    <a:pt x="8260841" y="695770"/>
                  </a:lnTo>
                  <a:lnTo>
                    <a:pt x="8261758" y="695770"/>
                  </a:lnTo>
                  <a:close/>
                  <a:moveTo>
                    <a:pt x="1495584" y="657469"/>
                  </a:moveTo>
                  <a:lnTo>
                    <a:pt x="1496132" y="982883"/>
                  </a:lnTo>
                  <a:lnTo>
                    <a:pt x="1127626" y="982883"/>
                  </a:lnTo>
                  <a:lnTo>
                    <a:pt x="1127626" y="708970"/>
                  </a:lnTo>
                  <a:close/>
                  <a:moveTo>
                    <a:pt x="4171486" y="652571"/>
                  </a:moveTo>
                  <a:cubicBezTo>
                    <a:pt x="4280748" y="652571"/>
                    <a:pt x="4323878" y="731098"/>
                    <a:pt x="4323878" y="731098"/>
                  </a:cubicBezTo>
                  <a:cubicBezTo>
                    <a:pt x="4323878" y="731098"/>
                    <a:pt x="4239535" y="774724"/>
                    <a:pt x="4239535" y="880396"/>
                  </a:cubicBezTo>
                  <a:cubicBezTo>
                    <a:pt x="4239535" y="999640"/>
                    <a:pt x="4344963" y="1040357"/>
                    <a:pt x="4344963" y="1040357"/>
                  </a:cubicBezTo>
                  <a:cubicBezTo>
                    <a:pt x="4344963" y="1040357"/>
                    <a:pt x="4271164" y="1248792"/>
                    <a:pt x="4172445" y="1248792"/>
                  </a:cubicBezTo>
                  <a:cubicBezTo>
                    <a:pt x="4127398" y="1248792"/>
                    <a:pt x="4091936" y="1217769"/>
                    <a:pt x="4044015" y="1217769"/>
                  </a:cubicBezTo>
                  <a:cubicBezTo>
                    <a:pt x="3995134" y="1217769"/>
                    <a:pt x="3946254" y="1250731"/>
                    <a:pt x="3914626" y="1250731"/>
                  </a:cubicBezTo>
                  <a:cubicBezTo>
                    <a:pt x="3824533" y="1250731"/>
                    <a:pt x="3710479" y="1052960"/>
                    <a:pt x="3710479" y="893968"/>
                  </a:cubicBezTo>
                  <a:cubicBezTo>
                    <a:pt x="3710479" y="736915"/>
                    <a:pt x="3807281" y="654510"/>
                    <a:pt x="3897374" y="654510"/>
                  </a:cubicBezTo>
                  <a:cubicBezTo>
                    <a:pt x="3956797" y="654510"/>
                    <a:pt x="4002802" y="689411"/>
                    <a:pt x="4033472" y="689411"/>
                  </a:cubicBezTo>
                  <a:cubicBezTo>
                    <a:pt x="4059350" y="689411"/>
                    <a:pt x="4108230" y="652571"/>
                    <a:pt x="4171486" y="652571"/>
                  </a:cubicBezTo>
                  <a:close/>
                  <a:moveTo>
                    <a:pt x="6842525" y="641312"/>
                  </a:moveTo>
                  <a:lnTo>
                    <a:pt x="6834796" y="643229"/>
                  </a:lnTo>
                  <a:lnTo>
                    <a:pt x="6827841" y="646680"/>
                  </a:lnTo>
                  <a:lnTo>
                    <a:pt x="6822818" y="651664"/>
                  </a:lnTo>
                  <a:lnTo>
                    <a:pt x="6818953" y="658566"/>
                  </a:lnTo>
                  <a:lnTo>
                    <a:pt x="6817794" y="666234"/>
                  </a:lnTo>
                  <a:lnTo>
                    <a:pt x="6818953" y="674286"/>
                  </a:lnTo>
                  <a:lnTo>
                    <a:pt x="6822818" y="680804"/>
                  </a:lnTo>
                  <a:lnTo>
                    <a:pt x="6827841" y="686172"/>
                  </a:lnTo>
                  <a:lnTo>
                    <a:pt x="6834796" y="689622"/>
                  </a:lnTo>
                  <a:lnTo>
                    <a:pt x="6842525" y="690772"/>
                  </a:lnTo>
                  <a:lnTo>
                    <a:pt x="6850253" y="689622"/>
                  </a:lnTo>
                  <a:lnTo>
                    <a:pt x="6857208" y="686172"/>
                  </a:lnTo>
                  <a:lnTo>
                    <a:pt x="6862231" y="680804"/>
                  </a:lnTo>
                  <a:lnTo>
                    <a:pt x="6866096" y="674286"/>
                  </a:lnTo>
                  <a:lnTo>
                    <a:pt x="6867255" y="666234"/>
                  </a:lnTo>
                  <a:lnTo>
                    <a:pt x="6866096" y="658566"/>
                  </a:lnTo>
                  <a:lnTo>
                    <a:pt x="6862231" y="651664"/>
                  </a:lnTo>
                  <a:lnTo>
                    <a:pt x="6857208" y="646680"/>
                  </a:lnTo>
                  <a:lnTo>
                    <a:pt x="6850253" y="643229"/>
                  </a:lnTo>
                  <a:close/>
                  <a:moveTo>
                    <a:pt x="6662071" y="641312"/>
                  </a:moveTo>
                  <a:lnTo>
                    <a:pt x="6654343" y="643229"/>
                  </a:lnTo>
                  <a:lnTo>
                    <a:pt x="6647388" y="646680"/>
                  </a:lnTo>
                  <a:lnTo>
                    <a:pt x="6642364" y="651664"/>
                  </a:lnTo>
                  <a:lnTo>
                    <a:pt x="6639273" y="658566"/>
                  </a:lnTo>
                  <a:lnTo>
                    <a:pt x="6637727" y="666234"/>
                  </a:lnTo>
                  <a:lnTo>
                    <a:pt x="6639273" y="674286"/>
                  </a:lnTo>
                  <a:lnTo>
                    <a:pt x="6642364" y="680804"/>
                  </a:lnTo>
                  <a:lnTo>
                    <a:pt x="6647388" y="686172"/>
                  </a:lnTo>
                  <a:lnTo>
                    <a:pt x="6654343" y="689622"/>
                  </a:lnTo>
                  <a:lnTo>
                    <a:pt x="6662071" y="690772"/>
                  </a:lnTo>
                  <a:lnTo>
                    <a:pt x="6670186" y="689622"/>
                  </a:lnTo>
                  <a:lnTo>
                    <a:pt x="6676755" y="686172"/>
                  </a:lnTo>
                  <a:lnTo>
                    <a:pt x="6682551" y="680804"/>
                  </a:lnTo>
                  <a:lnTo>
                    <a:pt x="6685642" y="674286"/>
                  </a:lnTo>
                  <a:lnTo>
                    <a:pt x="6687188" y="666234"/>
                  </a:lnTo>
                  <a:lnTo>
                    <a:pt x="6685642" y="658566"/>
                  </a:lnTo>
                  <a:lnTo>
                    <a:pt x="6682551" y="651664"/>
                  </a:lnTo>
                  <a:lnTo>
                    <a:pt x="6676755" y="646680"/>
                  </a:lnTo>
                  <a:lnTo>
                    <a:pt x="6670186" y="643229"/>
                  </a:lnTo>
                  <a:close/>
                  <a:moveTo>
                    <a:pt x="4828217" y="546687"/>
                  </a:moveTo>
                  <a:lnTo>
                    <a:pt x="4828217" y="1471905"/>
                  </a:lnTo>
                  <a:lnTo>
                    <a:pt x="5444866" y="1471905"/>
                  </a:lnTo>
                  <a:lnTo>
                    <a:pt x="5444866" y="546687"/>
                  </a:lnTo>
                  <a:close/>
                  <a:moveTo>
                    <a:pt x="6623381" y="544709"/>
                  </a:moveTo>
                  <a:lnTo>
                    <a:pt x="6624531" y="545101"/>
                  </a:lnTo>
                  <a:lnTo>
                    <a:pt x="6624914" y="545101"/>
                  </a:lnTo>
                  <a:lnTo>
                    <a:pt x="6660924" y="597114"/>
                  </a:lnTo>
                  <a:lnTo>
                    <a:pt x="6667480" y="594528"/>
                  </a:lnTo>
                  <a:lnTo>
                    <a:pt x="6686415" y="589130"/>
                  </a:lnTo>
                  <a:lnTo>
                    <a:pt x="6706121" y="584889"/>
                  </a:lnTo>
                  <a:lnTo>
                    <a:pt x="6728533" y="582576"/>
                  </a:lnTo>
                  <a:lnTo>
                    <a:pt x="6752491" y="581804"/>
                  </a:lnTo>
                  <a:lnTo>
                    <a:pt x="6777221" y="582961"/>
                  </a:lnTo>
                  <a:lnTo>
                    <a:pt x="6800019" y="585660"/>
                  </a:lnTo>
                  <a:lnTo>
                    <a:pt x="6821272" y="590287"/>
                  </a:lnTo>
                  <a:lnTo>
                    <a:pt x="6839819" y="596070"/>
                  </a:lnTo>
                  <a:lnTo>
                    <a:pt x="6843354" y="597593"/>
                  </a:lnTo>
                  <a:lnTo>
                    <a:pt x="6879938" y="545101"/>
                  </a:lnTo>
                  <a:lnTo>
                    <a:pt x="6880717" y="545101"/>
                  </a:lnTo>
                  <a:lnTo>
                    <a:pt x="6881497" y="544709"/>
                  </a:lnTo>
                  <a:lnTo>
                    <a:pt x="6882665" y="545101"/>
                  </a:lnTo>
                  <a:lnTo>
                    <a:pt x="6884224" y="545101"/>
                  </a:lnTo>
                  <a:lnTo>
                    <a:pt x="6885393" y="546275"/>
                  </a:lnTo>
                  <a:lnTo>
                    <a:pt x="6886562" y="547058"/>
                  </a:lnTo>
                  <a:lnTo>
                    <a:pt x="6887341" y="548231"/>
                  </a:lnTo>
                  <a:lnTo>
                    <a:pt x="6888121" y="549797"/>
                  </a:lnTo>
                  <a:lnTo>
                    <a:pt x="6887341" y="550580"/>
                  </a:lnTo>
                  <a:lnTo>
                    <a:pt x="6851984" y="601312"/>
                  </a:lnTo>
                  <a:lnTo>
                    <a:pt x="6856821" y="603396"/>
                  </a:lnTo>
                  <a:lnTo>
                    <a:pt x="6872278" y="611492"/>
                  </a:lnTo>
                  <a:lnTo>
                    <a:pt x="6885802" y="620360"/>
                  </a:lnTo>
                  <a:lnTo>
                    <a:pt x="6897781" y="630384"/>
                  </a:lnTo>
                  <a:lnTo>
                    <a:pt x="6908214" y="641180"/>
                  </a:lnTo>
                  <a:lnTo>
                    <a:pt x="6917874" y="651975"/>
                  </a:lnTo>
                  <a:lnTo>
                    <a:pt x="6925989" y="663156"/>
                  </a:lnTo>
                  <a:lnTo>
                    <a:pt x="6932944" y="674723"/>
                  </a:lnTo>
                  <a:lnTo>
                    <a:pt x="6938740" y="685904"/>
                  </a:lnTo>
                  <a:lnTo>
                    <a:pt x="6943377" y="697084"/>
                  </a:lnTo>
                  <a:lnTo>
                    <a:pt x="6947628" y="707495"/>
                  </a:lnTo>
                  <a:lnTo>
                    <a:pt x="6950719" y="717133"/>
                  </a:lnTo>
                  <a:lnTo>
                    <a:pt x="6953424" y="726772"/>
                  </a:lnTo>
                  <a:lnTo>
                    <a:pt x="6954970" y="734484"/>
                  </a:lnTo>
                  <a:lnTo>
                    <a:pt x="6956129" y="741809"/>
                  </a:lnTo>
                  <a:lnTo>
                    <a:pt x="6956902" y="747592"/>
                  </a:lnTo>
                  <a:lnTo>
                    <a:pt x="6957674" y="752219"/>
                  </a:lnTo>
                  <a:lnTo>
                    <a:pt x="6957674" y="754532"/>
                  </a:lnTo>
                  <a:lnTo>
                    <a:pt x="6957674" y="755689"/>
                  </a:lnTo>
                  <a:lnTo>
                    <a:pt x="6547307" y="755689"/>
                  </a:lnTo>
                  <a:lnTo>
                    <a:pt x="6547307" y="754532"/>
                  </a:lnTo>
                  <a:lnTo>
                    <a:pt x="6547307" y="752219"/>
                  </a:lnTo>
                  <a:lnTo>
                    <a:pt x="6547694" y="747978"/>
                  </a:lnTo>
                  <a:lnTo>
                    <a:pt x="6548853" y="742580"/>
                  </a:lnTo>
                  <a:lnTo>
                    <a:pt x="6550012" y="736026"/>
                  </a:lnTo>
                  <a:lnTo>
                    <a:pt x="6550785" y="728315"/>
                  </a:lnTo>
                  <a:lnTo>
                    <a:pt x="6553103" y="719832"/>
                  </a:lnTo>
                  <a:lnTo>
                    <a:pt x="6556194" y="710579"/>
                  </a:lnTo>
                  <a:lnTo>
                    <a:pt x="6559286" y="700555"/>
                  </a:lnTo>
                  <a:lnTo>
                    <a:pt x="6563537" y="690145"/>
                  </a:lnTo>
                  <a:lnTo>
                    <a:pt x="6568559" y="679349"/>
                  </a:lnTo>
                  <a:lnTo>
                    <a:pt x="6574356" y="668168"/>
                  </a:lnTo>
                  <a:lnTo>
                    <a:pt x="6581698" y="657758"/>
                  </a:lnTo>
                  <a:lnTo>
                    <a:pt x="6590198" y="646963"/>
                  </a:lnTo>
                  <a:lnTo>
                    <a:pt x="6599472" y="636553"/>
                  </a:lnTo>
                  <a:lnTo>
                    <a:pt x="6609906" y="626529"/>
                  </a:lnTo>
                  <a:lnTo>
                    <a:pt x="6621884" y="617275"/>
                  </a:lnTo>
                  <a:lnTo>
                    <a:pt x="6635408" y="608793"/>
                  </a:lnTo>
                  <a:lnTo>
                    <a:pt x="6650865" y="601082"/>
                  </a:lnTo>
                  <a:lnTo>
                    <a:pt x="6652226" y="600545"/>
                  </a:lnTo>
                  <a:lnTo>
                    <a:pt x="6617634" y="550580"/>
                  </a:lnTo>
                  <a:lnTo>
                    <a:pt x="6617634" y="549797"/>
                  </a:lnTo>
                  <a:lnTo>
                    <a:pt x="6617634" y="548231"/>
                  </a:lnTo>
                  <a:lnTo>
                    <a:pt x="6618783" y="547058"/>
                  </a:lnTo>
                  <a:lnTo>
                    <a:pt x="6620316" y="546275"/>
                  </a:lnTo>
                  <a:lnTo>
                    <a:pt x="6621082" y="545101"/>
                  </a:lnTo>
                  <a:lnTo>
                    <a:pt x="6622232" y="545101"/>
                  </a:lnTo>
                  <a:close/>
                  <a:moveTo>
                    <a:pt x="4183017" y="463640"/>
                  </a:moveTo>
                  <a:cubicBezTo>
                    <a:pt x="4183017" y="463640"/>
                    <a:pt x="4193558" y="527590"/>
                    <a:pt x="4142768" y="589602"/>
                  </a:cubicBezTo>
                  <a:cubicBezTo>
                    <a:pt x="4088146" y="655489"/>
                    <a:pt x="4026815" y="644831"/>
                    <a:pt x="4026815" y="644831"/>
                  </a:cubicBezTo>
                  <a:cubicBezTo>
                    <a:pt x="4026815" y="644831"/>
                    <a:pt x="4015315" y="592508"/>
                    <a:pt x="4060355" y="532435"/>
                  </a:cubicBezTo>
                  <a:cubicBezTo>
                    <a:pt x="4111145" y="463640"/>
                    <a:pt x="4183017" y="463640"/>
                    <a:pt x="4183017" y="463640"/>
                  </a:cubicBezTo>
                  <a:close/>
                  <a:moveTo>
                    <a:pt x="142606" y="435886"/>
                  </a:moveTo>
                  <a:lnTo>
                    <a:pt x="142606" y="1564635"/>
                  </a:lnTo>
                  <a:lnTo>
                    <a:pt x="2167619" y="1564635"/>
                  </a:lnTo>
                  <a:lnTo>
                    <a:pt x="2167619" y="435886"/>
                  </a:lnTo>
                  <a:close/>
                  <a:moveTo>
                    <a:pt x="5049402" y="408930"/>
                  </a:moveTo>
                  <a:cubicBezTo>
                    <a:pt x="5040732" y="408930"/>
                    <a:pt x="5033704" y="415958"/>
                    <a:pt x="5033704" y="424628"/>
                  </a:cubicBezTo>
                  <a:cubicBezTo>
                    <a:pt x="5033704" y="433298"/>
                    <a:pt x="5040732" y="440326"/>
                    <a:pt x="5049402" y="440326"/>
                  </a:cubicBezTo>
                  <a:lnTo>
                    <a:pt x="5223681" y="440326"/>
                  </a:lnTo>
                  <a:cubicBezTo>
                    <a:pt x="5232350" y="440326"/>
                    <a:pt x="5239379" y="433298"/>
                    <a:pt x="5239379" y="424628"/>
                  </a:cubicBezTo>
                  <a:cubicBezTo>
                    <a:pt x="5239379" y="415958"/>
                    <a:pt x="5232350" y="408930"/>
                    <a:pt x="5223681" y="408930"/>
                  </a:cubicBezTo>
                  <a:close/>
                  <a:moveTo>
                    <a:pt x="2518597" y="402274"/>
                  </a:moveTo>
                  <a:cubicBezTo>
                    <a:pt x="2497867" y="402274"/>
                    <a:pt x="2481061" y="419079"/>
                    <a:pt x="2481061" y="439810"/>
                  </a:cubicBezTo>
                  <a:lnTo>
                    <a:pt x="2481061" y="1467497"/>
                  </a:lnTo>
                  <a:cubicBezTo>
                    <a:pt x="2481061" y="1488228"/>
                    <a:pt x="2497867" y="1505033"/>
                    <a:pt x="2518597" y="1505033"/>
                  </a:cubicBezTo>
                  <a:lnTo>
                    <a:pt x="3130747" y="1505033"/>
                  </a:lnTo>
                  <a:cubicBezTo>
                    <a:pt x="3151478" y="1505033"/>
                    <a:pt x="3168284" y="1488228"/>
                    <a:pt x="3168284" y="1467497"/>
                  </a:cubicBezTo>
                  <a:lnTo>
                    <a:pt x="3168284" y="439810"/>
                  </a:lnTo>
                  <a:cubicBezTo>
                    <a:pt x="3168284" y="419079"/>
                    <a:pt x="3151478" y="402274"/>
                    <a:pt x="3130747" y="402274"/>
                  </a:cubicBezTo>
                  <a:close/>
                  <a:moveTo>
                    <a:pt x="2776017" y="362170"/>
                  </a:moveTo>
                  <a:cubicBezTo>
                    <a:pt x="2774421" y="362170"/>
                    <a:pt x="2772977" y="362818"/>
                    <a:pt x="2771932" y="363863"/>
                  </a:cubicBezTo>
                  <a:lnTo>
                    <a:pt x="2770239" y="367948"/>
                  </a:lnTo>
                  <a:lnTo>
                    <a:pt x="2771932" y="372033"/>
                  </a:lnTo>
                  <a:cubicBezTo>
                    <a:pt x="2772977" y="373077"/>
                    <a:pt x="2774421" y="373725"/>
                    <a:pt x="2776017" y="373725"/>
                  </a:cubicBezTo>
                  <a:lnTo>
                    <a:pt x="2872301" y="373725"/>
                  </a:lnTo>
                  <a:cubicBezTo>
                    <a:pt x="2875492" y="373725"/>
                    <a:pt x="2878078" y="371138"/>
                    <a:pt x="2878078" y="367948"/>
                  </a:cubicBezTo>
                  <a:cubicBezTo>
                    <a:pt x="2878078" y="364757"/>
                    <a:pt x="2875492" y="362170"/>
                    <a:pt x="2872301" y="362170"/>
                  </a:cubicBezTo>
                  <a:close/>
                  <a:moveTo>
                    <a:pt x="8074277" y="335996"/>
                  </a:moveTo>
                  <a:cubicBezTo>
                    <a:pt x="8049512" y="335996"/>
                    <a:pt x="8029436" y="356072"/>
                    <a:pt x="8029436" y="380837"/>
                  </a:cubicBezTo>
                  <a:lnTo>
                    <a:pt x="8029436" y="1435314"/>
                  </a:lnTo>
                  <a:cubicBezTo>
                    <a:pt x="8029436" y="1460079"/>
                    <a:pt x="8049512" y="1480155"/>
                    <a:pt x="8074277" y="1480155"/>
                  </a:cubicBezTo>
                  <a:lnTo>
                    <a:pt x="8657174" y="1480155"/>
                  </a:lnTo>
                  <a:cubicBezTo>
                    <a:pt x="8681939" y="1480155"/>
                    <a:pt x="8702015" y="1460079"/>
                    <a:pt x="8702015" y="1435314"/>
                  </a:cubicBezTo>
                  <a:lnTo>
                    <a:pt x="8702015" y="380837"/>
                  </a:lnTo>
                  <a:cubicBezTo>
                    <a:pt x="8702015" y="356072"/>
                    <a:pt x="8681939" y="335996"/>
                    <a:pt x="8657174" y="335996"/>
                  </a:cubicBezTo>
                  <a:close/>
                  <a:moveTo>
                    <a:pt x="5759891" y="305930"/>
                  </a:moveTo>
                  <a:lnTo>
                    <a:pt x="5759891" y="1478569"/>
                  </a:lnTo>
                  <a:lnTo>
                    <a:pt x="7741904" y="1478569"/>
                  </a:lnTo>
                  <a:lnTo>
                    <a:pt x="7741904" y="305930"/>
                  </a:lnTo>
                  <a:close/>
                  <a:moveTo>
                    <a:pt x="4878987" y="300646"/>
                  </a:moveTo>
                  <a:lnTo>
                    <a:pt x="5394095" y="300646"/>
                  </a:lnTo>
                  <a:cubicBezTo>
                    <a:pt x="5448538" y="300646"/>
                    <a:pt x="5492672" y="344781"/>
                    <a:pt x="5492672" y="399224"/>
                  </a:cubicBezTo>
                  <a:lnTo>
                    <a:pt x="5492672" y="1616806"/>
                  </a:lnTo>
                  <a:cubicBezTo>
                    <a:pt x="5492672" y="1671249"/>
                    <a:pt x="5448538" y="1715383"/>
                    <a:pt x="5394095" y="1715383"/>
                  </a:cubicBezTo>
                  <a:lnTo>
                    <a:pt x="4878987" y="1715383"/>
                  </a:lnTo>
                  <a:cubicBezTo>
                    <a:pt x="4824545" y="1715383"/>
                    <a:pt x="4780410" y="1671249"/>
                    <a:pt x="4780410" y="1616806"/>
                  </a:cubicBezTo>
                  <a:lnTo>
                    <a:pt x="4780410" y="399224"/>
                  </a:lnTo>
                  <a:cubicBezTo>
                    <a:pt x="4780410" y="344781"/>
                    <a:pt x="4824545" y="300646"/>
                    <a:pt x="4878987" y="300646"/>
                  </a:cubicBezTo>
                  <a:close/>
                  <a:moveTo>
                    <a:pt x="2442872" y="299635"/>
                  </a:moveTo>
                  <a:lnTo>
                    <a:pt x="3205445" y="299635"/>
                  </a:lnTo>
                  <a:lnTo>
                    <a:pt x="3205445" y="1714372"/>
                  </a:lnTo>
                  <a:lnTo>
                    <a:pt x="2442872" y="1714372"/>
                  </a:lnTo>
                  <a:close/>
                  <a:moveTo>
                    <a:pt x="8046360" y="292188"/>
                  </a:moveTo>
                  <a:lnTo>
                    <a:pt x="8685091" y="292188"/>
                  </a:lnTo>
                  <a:cubicBezTo>
                    <a:pt x="8712228" y="292188"/>
                    <a:pt x="8734227" y="314187"/>
                    <a:pt x="8734227" y="341324"/>
                  </a:cubicBezTo>
                  <a:lnTo>
                    <a:pt x="8734227" y="1657789"/>
                  </a:lnTo>
                  <a:cubicBezTo>
                    <a:pt x="8734227" y="1684926"/>
                    <a:pt x="8712228" y="1706925"/>
                    <a:pt x="8685091" y="1706925"/>
                  </a:cubicBezTo>
                  <a:lnTo>
                    <a:pt x="8046360" y="1706925"/>
                  </a:lnTo>
                  <a:cubicBezTo>
                    <a:pt x="8019223" y="1706925"/>
                    <a:pt x="7997224" y="1684926"/>
                    <a:pt x="7997224" y="1657789"/>
                  </a:cubicBezTo>
                  <a:lnTo>
                    <a:pt x="7997224" y="341324"/>
                  </a:lnTo>
                  <a:cubicBezTo>
                    <a:pt x="7997224" y="314187"/>
                    <a:pt x="8019223" y="292188"/>
                    <a:pt x="8046360" y="292188"/>
                  </a:cubicBezTo>
                  <a:close/>
                  <a:moveTo>
                    <a:pt x="31495" y="284741"/>
                  </a:moveTo>
                  <a:lnTo>
                    <a:pt x="2278731" y="284741"/>
                  </a:lnTo>
                  <a:cubicBezTo>
                    <a:pt x="2296124" y="284741"/>
                    <a:pt x="2310225" y="298841"/>
                    <a:pt x="2310225" y="316235"/>
                  </a:cubicBezTo>
                  <a:lnTo>
                    <a:pt x="2310225" y="1682878"/>
                  </a:lnTo>
                  <a:cubicBezTo>
                    <a:pt x="2310225" y="1700272"/>
                    <a:pt x="2296124" y="1714372"/>
                    <a:pt x="2278731" y="1714372"/>
                  </a:cubicBezTo>
                  <a:lnTo>
                    <a:pt x="31495" y="1714372"/>
                  </a:lnTo>
                  <a:cubicBezTo>
                    <a:pt x="14101" y="1714372"/>
                    <a:pt x="0" y="1700272"/>
                    <a:pt x="0" y="1682878"/>
                  </a:cubicBezTo>
                  <a:lnTo>
                    <a:pt x="0" y="316235"/>
                  </a:lnTo>
                  <a:cubicBezTo>
                    <a:pt x="0" y="298841"/>
                    <a:pt x="14101" y="284741"/>
                    <a:pt x="31495" y="284741"/>
                  </a:cubicBezTo>
                  <a:close/>
                  <a:moveTo>
                    <a:pt x="3506920" y="153677"/>
                  </a:moveTo>
                  <a:lnTo>
                    <a:pt x="3506920" y="1550448"/>
                  </a:lnTo>
                  <a:lnTo>
                    <a:pt x="4548522" y="1550448"/>
                  </a:lnTo>
                  <a:lnTo>
                    <a:pt x="4548522" y="153677"/>
                  </a:lnTo>
                  <a:close/>
                  <a:moveTo>
                    <a:pt x="5691386" y="137045"/>
                  </a:moveTo>
                  <a:lnTo>
                    <a:pt x="7813595" y="137045"/>
                  </a:lnTo>
                  <a:cubicBezTo>
                    <a:pt x="7865514" y="137045"/>
                    <a:pt x="7907603" y="179134"/>
                    <a:pt x="7907603" y="231053"/>
                  </a:cubicBezTo>
                  <a:lnTo>
                    <a:pt x="7907603" y="1620364"/>
                  </a:lnTo>
                  <a:cubicBezTo>
                    <a:pt x="7907603" y="1672283"/>
                    <a:pt x="7865514" y="1714372"/>
                    <a:pt x="7813595" y="1714372"/>
                  </a:cubicBezTo>
                  <a:lnTo>
                    <a:pt x="5691386" y="1714372"/>
                  </a:lnTo>
                  <a:cubicBezTo>
                    <a:pt x="5639467" y="1714372"/>
                    <a:pt x="5597378" y="1672283"/>
                    <a:pt x="5597378" y="1620364"/>
                  </a:cubicBezTo>
                  <a:lnTo>
                    <a:pt x="5597378" y="231053"/>
                  </a:lnTo>
                  <a:cubicBezTo>
                    <a:pt x="5597378" y="179134"/>
                    <a:pt x="5639467" y="137045"/>
                    <a:pt x="5691386" y="137045"/>
                  </a:cubicBezTo>
                  <a:close/>
                  <a:moveTo>
                    <a:pt x="3445917" y="0"/>
                  </a:moveTo>
                  <a:lnTo>
                    <a:pt x="4609525" y="0"/>
                  </a:lnTo>
                  <a:cubicBezTo>
                    <a:pt x="4657878" y="0"/>
                    <a:pt x="4697076" y="39198"/>
                    <a:pt x="4697076" y="87551"/>
                  </a:cubicBezTo>
                  <a:lnTo>
                    <a:pt x="4697076" y="1626821"/>
                  </a:lnTo>
                  <a:cubicBezTo>
                    <a:pt x="4697076" y="1675174"/>
                    <a:pt x="4657878" y="1714372"/>
                    <a:pt x="4609525" y="1714372"/>
                  </a:cubicBezTo>
                  <a:lnTo>
                    <a:pt x="3445917" y="1714372"/>
                  </a:lnTo>
                  <a:cubicBezTo>
                    <a:pt x="3397564" y="1714372"/>
                    <a:pt x="3358365" y="1675174"/>
                    <a:pt x="3358365" y="1626821"/>
                  </a:cubicBezTo>
                  <a:lnTo>
                    <a:pt x="3358365" y="87551"/>
                  </a:lnTo>
                  <a:cubicBezTo>
                    <a:pt x="3358365" y="39198"/>
                    <a:pt x="3397564" y="0"/>
                    <a:pt x="3445917" y="0"/>
                  </a:cubicBezTo>
                  <a:close/>
                </a:path>
              </a:pathLst>
            </a:custGeom>
            <a:solidFill>
              <a:srgbClr val="303030"/>
            </a:solidFill>
            <a:ln w="10795"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2F2F2"/>
                </a:solidFill>
                <a:effectLst/>
                <a:uLnTx/>
                <a:uFillTx/>
                <a:latin typeface="Segoe Semibold"/>
              </a:endParaRPr>
            </a:p>
          </p:txBody>
        </p:sp>
        <p:grpSp>
          <p:nvGrpSpPr>
            <p:cNvPr id="50" name="Clients"/>
            <p:cNvGrpSpPr/>
            <p:nvPr/>
          </p:nvGrpSpPr>
          <p:grpSpPr>
            <a:xfrm>
              <a:off x="2389632" y="67056"/>
              <a:ext cx="6038088" cy="2700525"/>
              <a:chOff x="2389632" y="67056"/>
              <a:chExt cx="6038088" cy="2700525"/>
            </a:xfrm>
          </p:grpSpPr>
          <p:sp>
            <p:nvSpPr>
              <p:cNvPr id="51" name="Rectangle 50"/>
              <p:cNvSpPr/>
              <p:nvPr/>
            </p:nvSpPr>
            <p:spPr bwMode="auto">
              <a:xfrm>
                <a:off x="2389632" y="67056"/>
                <a:ext cx="6038088" cy="1217942"/>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800" dirty="0" smtClean="0">
                    <a:solidFill>
                      <a:schemeClr val="accent6"/>
                    </a:solidFill>
                    <a:ea typeface="Segoe UI" pitchFamily="34" charset="0"/>
                    <a:cs typeface="Segoe UI" pitchFamily="34" charset="0"/>
                  </a:rPr>
                  <a:t>Customers</a:t>
                </a:r>
              </a:p>
              <a:p>
                <a:pPr defTabSz="932472" fontAlgn="base">
                  <a:lnSpc>
                    <a:spcPct val="90000"/>
                  </a:lnSpc>
                  <a:spcBef>
                    <a:spcPct val="0"/>
                  </a:spcBef>
                  <a:spcAft>
                    <a:spcPct val="0"/>
                  </a:spcAft>
                </a:pPr>
                <a:r>
                  <a:rPr lang="en-US" sz="1800" dirty="0" smtClean="0">
                    <a:solidFill>
                      <a:schemeClr val="accent6"/>
                    </a:solidFill>
                    <a:ea typeface="Segoe UI" pitchFamily="34" charset="0"/>
                    <a:cs typeface="Segoe UI" pitchFamily="34" charset="0"/>
                  </a:rPr>
                  <a:t>in field</a:t>
                </a:r>
              </a:p>
            </p:txBody>
          </p:sp>
          <p:grpSp>
            <p:nvGrpSpPr>
              <p:cNvPr id="52" name="Group 51"/>
              <p:cNvGrpSpPr/>
              <p:nvPr/>
            </p:nvGrpSpPr>
            <p:grpSpPr>
              <a:xfrm>
                <a:off x="4888991" y="1409189"/>
                <a:ext cx="2080629" cy="1358392"/>
                <a:chOff x="4888991" y="1237488"/>
                <a:chExt cx="2080629" cy="1889760"/>
              </a:xfrm>
              <a:solidFill>
                <a:schemeClr val="accent3"/>
              </a:solidFill>
            </p:grpSpPr>
            <p:sp>
              <p:nvSpPr>
                <p:cNvPr id="53" name="Down Arrow 52"/>
                <p:cNvSpPr/>
                <p:nvPr/>
              </p:nvSpPr>
              <p:spPr bwMode="auto">
                <a:xfrm>
                  <a:off x="5737281" y="1237488"/>
                  <a:ext cx="384048" cy="1889760"/>
                </a:xfrm>
                <a:prstGeom prst="down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4" name="Down Arrow 53"/>
                <p:cNvSpPr/>
                <p:nvPr/>
              </p:nvSpPr>
              <p:spPr bwMode="auto">
                <a:xfrm>
                  <a:off x="5313136" y="1237488"/>
                  <a:ext cx="384048" cy="1889760"/>
                </a:xfrm>
                <a:prstGeom prst="down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5" name="Down Arrow 54"/>
                <p:cNvSpPr/>
                <p:nvPr/>
              </p:nvSpPr>
              <p:spPr bwMode="auto">
                <a:xfrm>
                  <a:off x="4888991" y="1237488"/>
                  <a:ext cx="384048" cy="1889760"/>
                </a:xfrm>
                <a:prstGeom prst="down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6" name="Down Arrow 55"/>
                <p:cNvSpPr/>
                <p:nvPr/>
              </p:nvSpPr>
              <p:spPr bwMode="auto">
                <a:xfrm>
                  <a:off x="6585572" y="1237488"/>
                  <a:ext cx="384048" cy="1889760"/>
                </a:xfrm>
                <a:prstGeom prst="down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7" name="Down Arrow 56"/>
                <p:cNvSpPr/>
                <p:nvPr/>
              </p:nvSpPr>
              <p:spPr bwMode="auto">
                <a:xfrm>
                  <a:off x="6161426" y="1237488"/>
                  <a:ext cx="384048" cy="1889760"/>
                </a:xfrm>
                <a:prstGeom prst="down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grpSp>
    </p:spTree>
    <p:extLst>
      <p:ext uri="{BB962C8B-B14F-4D97-AF65-F5344CB8AC3E}">
        <p14:creationId xmlns:p14="http://schemas.microsoft.com/office/powerpoint/2010/main" val="4015372909"/>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ich way would you go?</a:t>
            </a:r>
            <a:endParaRPr lang="en-US" dirty="0"/>
          </a:p>
        </p:txBody>
      </p:sp>
      <p:graphicFrame>
        <p:nvGraphicFramePr>
          <p:cNvPr id="4" name="Diagram 3"/>
          <p:cNvGraphicFramePr/>
          <p:nvPr>
            <p:extLst>
              <p:ext uri="{D42A27DB-BD31-4B8C-83A1-F6EECF244321}">
                <p14:modId xmlns:p14="http://schemas.microsoft.com/office/powerpoint/2010/main" val="624789032"/>
              </p:ext>
            </p:extLst>
          </p:nvPr>
        </p:nvGraphicFramePr>
        <p:xfrm>
          <a:off x="269169" y="1189177"/>
          <a:ext cx="11650488" cy="32773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Up Arrow 4"/>
          <p:cNvSpPr/>
          <p:nvPr/>
        </p:nvSpPr>
        <p:spPr bwMode="auto">
          <a:xfrm>
            <a:off x="6916615" y="3974122"/>
            <a:ext cx="1066800" cy="1535724"/>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593891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p:cNvSpPr>
            <a:spLocks noGrp="1"/>
          </p:cNvSpPr>
          <p:nvPr>
            <p:ph type="title"/>
          </p:nvPr>
        </p:nvSpPr>
        <p:spPr>
          <a:xfrm>
            <a:off x="269170" y="258705"/>
            <a:ext cx="9856549" cy="801469"/>
          </a:xfrm>
          <a:solidFill>
            <a:schemeClr val="tx2"/>
          </a:solidFill>
        </p:spPr>
        <p:txBody>
          <a:bodyPr/>
          <a:lstStyle/>
          <a:p>
            <a:r>
              <a:rPr lang="en-US" dirty="0" smtClean="0">
                <a:solidFill>
                  <a:schemeClr val="bg1"/>
                </a:solidFill>
              </a:rPr>
              <a:t>HANDS-ON LAB</a:t>
            </a:r>
            <a:r>
              <a:rPr lang="en-US" dirty="0">
                <a:solidFill>
                  <a:schemeClr val="bg1"/>
                </a:solidFill>
              </a:rPr>
              <a:t/>
            </a:r>
            <a:br>
              <a:rPr lang="en-US" dirty="0">
                <a:solidFill>
                  <a:schemeClr val="bg1"/>
                </a:solidFill>
              </a:rPr>
            </a:br>
            <a:endParaRPr lang="en-US" dirty="0">
              <a:solidFill>
                <a:schemeClr val="bg1"/>
              </a:solidFill>
            </a:endParaRPr>
          </a:p>
        </p:txBody>
      </p:sp>
      <p:sp>
        <p:nvSpPr>
          <p:cNvPr id="2" name="Rectangle 1"/>
          <p:cNvSpPr/>
          <p:nvPr/>
        </p:nvSpPr>
        <p:spPr bwMode="auto">
          <a:xfrm>
            <a:off x="3420648" y="1325221"/>
            <a:ext cx="5347528" cy="10071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01-SetupVS2013SQLVM</a:t>
            </a:r>
            <a:br>
              <a:rPr lang="en-US" sz="1800" dirty="0" smtClean="0">
                <a:gradFill>
                  <a:gsLst>
                    <a:gs pos="0">
                      <a:srgbClr val="FFFFFF"/>
                    </a:gs>
                    <a:gs pos="100000">
                      <a:srgbClr val="FFFFFF"/>
                    </a:gs>
                  </a:gsLst>
                  <a:lin ang="5400000" scaled="0"/>
                </a:gradFill>
                <a:ea typeface="Segoe UI" pitchFamily="34" charset="0"/>
                <a:cs typeface="Segoe UI" pitchFamily="34" charset="0"/>
              </a:rPr>
            </a:br>
            <a:r>
              <a:rPr lang="en-US" sz="1800" dirty="0" smtClean="0">
                <a:gradFill>
                  <a:gsLst>
                    <a:gs pos="0">
                      <a:srgbClr val="FFFFFF"/>
                    </a:gs>
                    <a:gs pos="100000">
                      <a:srgbClr val="FFFFFF"/>
                    </a:gs>
                  </a:gsLst>
                  <a:lin ang="5400000" scaled="0"/>
                </a:gradFill>
                <a:ea typeface="Segoe UI" pitchFamily="34" charset="0"/>
                <a:cs typeface="Segoe UI" pitchFamily="34" charset="0"/>
              </a:rPr>
              <a:t/>
            </a:r>
            <a:br>
              <a:rPr lang="en-US" sz="1800" dirty="0" smtClean="0">
                <a:gradFill>
                  <a:gsLst>
                    <a:gs pos="0">
                      <a:srgbClr val="FFFFFF"/>
                    </a:gs>
                    <a:gs pos="100000">
                      <a:srgbClr val="FFFFFF"/>
                    </a:gs>
                  </a:gsLst>
                  <a:lin ang="5400000" scaled="0"/>
                </a:gradFill>
                <a:ea typeface="Segoe UI" pitchFamily="34" charset="0"/>
                <a:cs typeface="Segoe UI" pitchFamily="34" charset="0"/>
              </a:rPr>
            </a:br>
            <a:r>
              <a:rPr lang="en-US" sz="1600" dirty="0" smtClean="0">
                <a:gradFill>
                  <a:gsLst>
                    <a:gs pos="0">
                      <a:srgbClr val="FFFFFF"/>
                    </a:gs>
                    <a:gs pos="100000">
                      <a:srgbClr val="FFFFFF"/>
                    </a:gs>
                  </a:gsLst>
                  <a:lin ang="5400000" scaled="0"/>
                </a:gradFill>
                <a:ea typeface="Segoe UI" pitchFamily="34" charset="0"/>
                <a:cs typeface="Segoe UI" pitchFamily="34" charset="0"/>
              </a:rPr>
              <a:t>Create a development </a:t>
            </a:r>
            <a:br>
              <a:rPr lang="en-US" sz="1600" dirty="0" smtClean="0">
                <a:gradFill>
                  <a:gsLst>
                    <a:gs pos="0">
                      <a:srgbClr val="FFFFFF"/>
                    </a:gs>
                    <a:gs pos="100000">
                      <a:srgbClr val="FFFFFF"/>
                    </a:gs>
                  </a:gsLst>
                  <a:lin ang="5400000" scaled="0"/>
                </a:gradFill>
                <a:ea typeface="Segoe UI" pitchFamily="34" charset="0"/>
                <a:cs typeface="Segoe UI" pitchFamily="34" charset="0"/>
              </a:rPr>
            </a:br>
            <a:r>
              <a:rPr lang="en-US" sz="1600" dirty="0" smtClean="0">
                <a:gradFill>
                  <a:gsLst>
                    <a:gs pos="0">
                      <a:srgbClr val="FFFFFF"/>
                    </a:gs>
                    <a:gs pos="100000">
                      <a:srgbClr val="FFFFFF"/>
                    </a:gs>
                  </a:gsLst>
                  <a:lin ang="5400000" scaled="0"/>
                </a:gradFill>
                <a:ea typeface="Segoe UI" pitchFamily="34" charset="0"/>
                <a:cs typeface="Segoe UI" pitchFamily="34" charset="0"/>
              </a:rPr>
              <a:t>Virtual Machine</a:t>
            </a:r>
          </a:p>
        </p:txBody>
      </p:sp>
      <p:sp>
        <p:nvSpPr>
          <p:cNvPr id="5" name="Rectangle 4"/>
          <p:cNvSpPr/>
          <p:nvPr/>
        </p:nvSpPr>
        <p:spPr bwMode="auto">
          <a:xfrm>
            <a:off x="3420648" y="2729952"/>
            <a:ext cx="5347528" cy="10071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02-AzureStorageLab</a:t>
            </a:r>
          </a:p>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
            </a:r>
            <a:br>
              <a:rPr lang="en-US" sz="1800" dirty="0" smtClean="0">
                <a:gradFill>
                  <a:gsLst>
                    <a:gs pos="0">
                      <a:srgbClr val="FFFFFF"/>
                    </a:gs>
                    <a:gs pos="100000">
                      <a:srgbClr val="FFFFFF"/>
                    </a:gs>
                  </a:gsLst>
                  <a:lin ang="5400000" scaled="0"/>
                </a:gradFill>
                <a:ea typeface="Segoe UI" pitchFamily="34" charset="0"/>
                <a:cs typeface="Segoe UI" pitchFamily="34" charset="0"/>
              </a:rPr>
            </a:br>
            <a:r>
              <a:rPr lang="en-US" sz="1600" dirty="0" smtClean="0">
                <a:gradFill>
                  <a:gsLst>
                    <a:gs pos="0">
                      <a:srgbClr val="FFFFFF"/>
                    </a:gs>
                    <a:gs pos="100000">
                      <a:srgbClr val="FFFFFF"/>
                    </a:gs>
                  </a:gsLst>
                  <a:lin ang="5400000" scaled="0"/>
                </a:gradFill>
                <a:ea typeface="Segoe UI" pitchFamily="34" charset="0"/>
                <a:cs typeface="Segoe UI" pitchFamily="34" charset="0"/>
              </a:rPr>
              <a:t>Move an On-Premises Web Site’s Assets </a:t>
            </a:r>
            <a:br>
              <a:rPr lang="en-US" sz="1600" dirty="0" smtClean="0">
                <a:gradFill>
                  <a:gsLst>
                    <a:gs pos="0">
                      <a:srgbClr val="FFFFFF"/>
                    </a:gs>
                    <a:gs pos="100000">
                      <a:srgbClr val="FFFFFF"/>
                    </a:gs>
                  </a:gsLst>
                  <a:lin ang="5400000" scaled="0"/>
                </a:gradFill>
                <a:ea typeface="Segoe UI" pitchFamily="34" charset="0"/>
                <a:cs typeface="Segoe UI" pitchFamily="34" charset="0"/>
              </a:rPr>
            </a:br>
            <a:r>
              <a:rPr lang="en-US" sz="1600" dirty="0" smtClean="0">
                <a:gradFill>
                  <a:gsLst>
                    <a:gs pos="0">
                      <a:srgbClr val="FFFFFF"/>
                    </a:gs>
                    <a:gs pos="100000">
                      <a:srgbClr val="FFFFFF"/>
                    </a:gs>
                  </a:gsLst>
                  <a:lin ang="5400000" scaled="0"/>
                </a:gradFill>
                <a:ea typeface="Segoe UI" pitchFamily="34" charset="0"/>
                <a:cs typeface="Segoe UI" pitchFamily="34" charset="0"/>
              </a:rPr>
              <a:t>to Windows Azure Storage</a:t>
            </a:r>
          </a:p>
        </p:txBody>
      </p:sp>
      <p:sp>
        <p:nvSpPr>
          <p:cNvPr id="6" name="Rectangle 5"/>
          <p:cNvSpPr/>
          <p:nvPr/>
        </p:nvSpPr>
        <p:spPr bwMode="auto">
          <a:xfrm>
            <a:off x="545718" y="4134684"/>
            <a:ext cx="5347528" cy="10071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03-MigratingDatabaseToSQLDatabae</a:t>
            </a:r>
          </a:p>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
            </a:r>
            <a:br>
              <a:rPr lang="en-US" sz="1800" dirty="0" smtClean="0">
                <a:gradFill>
                  <a:gsLst>
                    <a:gs pos="0">
                      <a:srgbClr val="FFFFFF"/>
                    </a:gs>
                    <a:gs pos="100000">
                      <a:srgbClr val="FFFFFF"/>
                    </a:gs>
                  </a:gsLst>
                  <a:lin ang="5400000" scaled="0"/>
                </a:gradFill>
                <a:ea typeface="Segoe UI" pitchFamily="34" charset="0"/>
                <a:cs typeface="Segoe UI" pitchFamily="34" charset="0"/>
              </a:rPr>
            </a:br>
            <a:r>
              <a:rPr lang="en-US" sz="1600" dirty="0" smtClean="0">
                <a:gradFill>
                  <a:gsLst>
                    <a:gs pos="0">
                      <a:srgbClr val="FFFFFF"/>
                    </a:gs>
                    <a:gs pos="100000">
                      <a:srgbClr val="FFFFFF"/>
                    </a:gs>
                  </a:gsLst>
                  <a:lin ang="5400000" scaled="0"/>
                </a:gradFill>
                <a:ea typeface="Segoe UI" pitchFamily="34" charset="0"/>
                <a:cs typeface="Segoe UI" pitchFamily="34" charset="0"/>
              </a:rPr>
              <a:t>Migrate an On-Premises SQL Server Database </a:t>
            </a:r>
            <a:br>
              <a:rPr lang="en-US" sz="1600" dirty="0" smtClean="0">
                <a:gradFill>
                  <a:gsLst>
                    <a:gs pos="0">
                      <a:srgbClr val="FFFFFF"/>
                    </a:gs>
                    <a:gs pos="100000">
                      <a:srgbClr val="FFFFFF"/>
                    </a:gs>
                  </a:gsLst>
                  <a:lin ang="5400000" scaled="0"/>
                </a:gradFill>
                <a:ea typeface="Segoe UI" pitchFamily="34" charset="0"/>
                <a:cs typeface="Segoe UI" pitchFamily="34" charset="0"/>
              </a:rPr>
            </a:br>
            <a:r>
              <a:rPr lang="en-US" sz="1600" dirty="0" smtClean="0">
                <a:gradFill>
                  <a:gsLst>
                    <a:gs pos="0">
                      <a:srgbClr val="FFFFFF"/>
                    </a:gs>
                    <a:gs pos="100000">
                      <a:srgbClr val="FFFFFF"/>
                    </a:gs>
                  </a:gsLst>
                  <a:lin ang="5400000" scaled="0"/>
                </a:gradFill>
                <a:ea typeface="Segoe UI" pitchFamily="34" charset="0"/>
                <a:cs typeface="Segoe UI" pitchFamily="34" charset="0"/>
              </a:rPr>
              <a:t>to a Windows Azure SQL Database</a:t>
            </a:r>
          </a:p>
        </p:txBody>
      </p:sp>
      <p:sp>
        <p:nvSpPr>
          <p:cNvPr id="9" name="Rectangle 8"/>
          <p:cNvSpPr/>
          <p:nvPr/>
        </p:nvSpPr>
        <p:spPr bwMode="auto">
          <a:xfrm>
            <a:off x="6295578" y="4134683"/>
            <a:ext cx="5347528" cy="10071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03-MigratingDBtoSQLVM</a:t>
            </a:r>
          </a:p>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
            </a:r>
            <a:br>
              <a:rPr lang="en-US" sz="1800" dirty="0" smtClean="0">
                <a:gradFill>
                  <a:gsLst>
                    <a:gs pos="0">
                      <a:srgbClr val="FFFFFF"/>
                    </a:gs>
                    <a:gs pos="100000">
                      <a:srgbClr val="FFFFFF"/>
                    </a:gs>
                  </a:gsLst>
                  <a:lin ang="5400000" scaled="0"/>
                </a:gradFill>
                <a:ea typeface="Segoe UI" pitchFamily="34" charset="0"/>
                <a:cs typeface="Segoe UI" pitchFamily="34" charset="0"/>
              </a:rPr>
            </a:br>
            <a:r>
              <a:rPr lang="en-US" sz="1600" dirty="0" smtClean="0">
                <a:gradFill>
                  <a:gsLst>
                    <a:gs pos="0">
                      <a:srgbClr val="FFFFFF"/>
                    </a:gs>
                    <a:gs pos="100000">
                      <a:srgbClr val="FFFFFF"/>
                    </a:gs>
                  </a:gsLst>
                  <a:lin ang="5400000" scaled="0"/>
                </a:gradFill>
                <a:ea typeface="Segoe UI" pitchFamily="34" charset="0"/>
                <a:cs typeface="Segoe UI" pitchFamily="34" charset="0"/>
              </a:rPr>
              <a:t>Migrate an On-Premises SQL Server Database to a Windows Azure VM with SQL Server</a:t>
            </a:r>
          </a:p>
        </p:txBody>
      </p:sp>
      <p:sp>
        <p:nvSpPr>
          <p:cNvPr id="11" name="Rectangle 10"/>
          <p:cNvSpPr/>
          <p:nvPr/>
        </p:nvSpPr>
        <p:spPr bwMode="auto">
          <a:xfrm>
            <a:off x="3420648" y="5539414"/>
            <a:ext cx="5347528" cy="10071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04-MigratingAWebSiteToWindowsAzureWebSite</a:t>
            </a:r>
          </a:p>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
            </a:r>
            <a:br>
              <a:rPr lang="en-US" sz="1800" dirty="0" smtClean="0">
                <a:gradFill>
                  <a:gsLst>
                    <a:gs pos="0">
                      <a:srgbClr val="FFFFFF"/>
                    </a:gs>
                    <a:gs pos="100000">
                      <a:srgbClr val="FFFFFF"/>
                    </a:gs>
                  </a:gsLst>
                  <a:lin ang="5400000" scaled="0"/>
                </a:gradFill>
                <a:ea typeface="Segoe UI" pitchFamily="34" charset="0"/>
                <a:cs typeface="Segoe UI" pitchFamily="34" charset="0"/>
              </a:rPr>
            </a:br>
            <a:r>
              <a:rPr lang="en-US" sz="1600" dirty="0" smtClean="0">
                <a:gradFill>
                  <a:gsLst>
                    <a:gs pos="0">
                      <a:srgbClr val="FFFFFF"/>
                    </a:gs>
                    <a:gs pos="100000">
                      <a:srgbClr val="FFFFFF"/>
                    </a:gs>
                  </a:gsLst>
                  <a:lin ang="5400000" scaled="0"/>
                </a:gradFill>
                <a:ea typeface="Segoe UI" pitchFamily="34" charset="0"/>
                <a:cs typeface="Segoe UI" pitchFamily="34" charset="0"/>
              </a:rPr>
              <a:t>Move an On-Premises Web Site </a:t>
            </a:r>
            <a:br>
              <a:rPr lang="en-US" sz="1600" dirty="0" smtClean="0">
                <a:gradFill>
                  <a:gsLst>
                    <a:gs pos="0">
                      <a:srgbClr val="FFFFFF"/>
                    </a:gs>
                    <a:gs pos="100000">
                      <a:srgbClr val="FFFFFF"/>
                    </a:gs>
                  </a:gsLst>
                  <a:lin ang="5400000" scaled="0"/>
                </a:gradFill>
                <a:ea typeface="Segoe UI" pitchFamily="34" charset="0"/>
                <a:cs typeface="Segoe UI" pitchFamily="34" charset="0"/>
              </a:rPr>
            </a:br>
            <a:r>
              <a:rPr lang="en-US" sz="1600" dirty="0" smtClean="0">
                <a:gradFill>
                  <a:gsLst>
                    <a:gs pos="0">
                      <a:srgbClr val="FFFFFF"/>
                    </a:gs>
                    <a:gs pos="100000">
                      <a:srgbClr val="FFFFFF"/>
                    </a:gs>
                  </a:gsLst>
                  <a:lin ang="5400000" scaled="0"/>
                </a:gradFill>
                <a:ea typeface="Segoe UI" pitchFamily="34" charset="0"/>
                <a:cs typeface="Segoe UI" pitchFamily="34" charset="0"/>
              </a:rPr>
              <a:t>to a Windows Azure Web Site</a:t>
            </a:r>
          </a:p>
        </p:txBody>
      </p:sp>
      <p:cxnSp>
        <p:nvCxnSpPr>
          <p:cNvPr id="14" name="Straight Arrow Connector 13"/>
          <p:cNvCxnSpPr>
            <a:stCxn id="2" idx="2"/>
            <a:endCxn id="5" idx="0"/>
          </p:cNvCxnSpPr>
          <p:nvPr/>
        </p:nvCxnSpPr>
        <p:spPr>
          <a:xfrm>
            <a:off x="6094412" y="2332381"/>
            <a:ext cx="0" cy="397571"/>
          </a:xfrm>
          <a:prstGeom prst="straightConnector1">
            <a:avLst/>
          </a:prstGeom>
          <a:ln w="38100">
            <a:solidFill>
              <a:schemeClr val="tx1"/>
            </a:solidFill>
            <a:headEnd type="none"/>
            <a:tailEnd type="triangle" w="lg" len="sm"/>
          </a:ln>
        </p:spPr>
        <p:style>
          <a:lnRef idx="1">
            <a:schemeClr val="accent1"/>
          </a:lnRef>
          <a:fillRef idx="0">
            <a:schemeClr val="accent1"/>
          </a:fillRef>
          <a:effectRef idx="0">
            <a:schemeClr val="accent1"/>
          </a:effectRef>
          <a:fontRef idx="minor">
            <a:schemeClr val="tx1"/>
          </a:fontRef>
        </p:style>
      </p:cxnSp>
      <p:cxnSp>
        <p:nvCxnSpPr>
          <p:cNvPr id="17" name="Elbow Connector 16"/>
          <p:cNvCxnSpPr>
            <a:stCxn id="5" idx="2"/>
            <a:endCxn id="6" idx="0"/>
          </p:cNvCxnSpPr>
          <p:nvPr/>
        </p:nvCxnSpPr>
        <p:spPr>
          <a:xfrm rot="5400000">
            <a:off x="4458161" y="2498433"/>
            <a:ext cx="397572" cy="2874930"/>
          </a:xfrm>
          <a:prstGeom prst="bentConnector3">
            <a:avLst/>
          </a:prstGeom>
          <a:ln w="38100">
            <a:solidFill>
              <a:schemeClr val="tx1"/>
            </a:solidFill>
            <a:headEnd type="none"/>
            <a:tailEnd type="triangle" w="lg" len="sm"/>
          </a:ln>
        </p:spPr>
        <p:style>
          <a:lnRef idx="1">
            <a:schemeClr val="accent1"/>
          </a:lnRef>
          <a:fillRef idx="0">
            <a:schemeClr val="accent1"/>
          </a:fillRef>
          <a:effectRef idx="0">
            <a:schemeClr val="accent1"/>
          </a:effectRef>
          <a:fontRef idx="minor">
            <a:schemeClr val="tx1"/>
          </a:fontRef>
        </p:style>
      </p:cxnSp>
      <p:cxnSp>
        <p:nvCxnSpPr>
          <p:cNvPr id="19" name="Elbow Connector 18"/>
          <p:cNvCxnSpPr>
            <a:stCxn id="5" idx="2"/>
            <a:endCxn id="9" idx="0"/>
          </p:cNvCxnSpPr>
          <p:nvPr/>
        </p:nvCxnSpPr>
        <p:spPr>
          <a:xfrm rot="16200000" flipH="1">
            <a:off x="7333092" y="2498432"/>
            <a:ext cx="397571" cy="2874930"/>
          </a:xfrm>
          <a:prstGeom prst="bentConnector3">
            <a:avLst/>
          </a:prstGeom>
          <a:ln w="38100">
            <a:solidFill>
              <a:schemeClr val="tx1"/>
            </a:solidFill>
            <a:headEnd type="none"/>
            <a:tailEnd type="triangle" w="lg" len="sm"/>
          </a:ln>
        </p:spPr>
        <p:style>
          <a:lnRef idx="1">
            <a:schemeClr val="accent1"/>
          </a:lnRef>
          <a:fillRef idx="0">
            <a:schemeClr val="accent1"/>
          </a:fillRef>
          <a:effectRef idx="0">
            <a:schemeClr val="accent1"/>
          </a:effectRef>
          <a:fontRef idx="minor">
            <a:schemeClr val="tx1"/>
          </a:fontRef>
        </p:style>
      </p:cxnSp>
      <p:cxnSp>
        <p:nvCxnSpPr>
          <p:cNvPr id="21" name="Elbow Connector 20"/>
          <p:cNvCxnSpPr>
            <a:stCxn id="6" idx="2"/>
            <a:endCxn id="11" idx="0"/>
          </p:cNvCxnSpPr>
          <p:nvPr/>
        </p:nvCxnSpPr>
        <p:spPr>
          <a:xfrm rot="16200000" flipH="1">
            <a:off x="4458162" y="3903164"/>
            <a:ext cx="397570" cy="2874930"/>
          </a:xfrm>
          <a:prstGeom prst="bentConnector3">
            <a:avLst/>
          </a:prstGeom>
          <a:ln w="38100">
            <a:solidFill>
              <a:schemeClr val="tx1"/>
            </a:solidFill>
            <a:headEnd type="none"/>
            <a:tailEnd type="triangle" w="lg" len="sm"/>
          </a:ln>
        </p:spPr>
        <p:style>
          <a:lnRef idx="1">
            <a:schemeClr val="accent1"/>
          </a:lnRef>
          <a:fillRef idx="0">
            <a:schemeClr val="accent1"/>
          </a:fillRef>
          <a:effectRef idx="0">
            <a:schemeClr val="accent1"/>
          </a:effectRef>
          <a:fontRef idx="minor">
            <a:schemeClr val="tx1"/>
          </a:fontRef>
        </p:style>
      </p:cxnSp>
      <p:cxnSp>
        <p:nvCxnSpPr>
          <p:cNvPr id="23" name="Elbow Connector 22"/>
          <p:cNvCxnSpPr>
            <a:stCxn id="9" idx="2"/>
            <a:endCxn id="11" idx="0"/>
          </p:cNvCxnSpPr>
          <p:nvPr/>
        </p:nvCxnSpPr>
        <p:spPr>
          <a:xfrm rot="5400000">
            <a:off x="7333092" y="3903163"/>
            <a:ext cx="397571" cy="2874930"/>
          </a:xfrm>
          <a:prstGeom prst="bentConnector3">
            <a:avLst/>
          </a:prstGeom>
          <a:ln w="38100">
            <a:solidFill>
              <a:schemeClr val="tx1"/>
            </a:solidFill>
            <a:headEnd type="none"/>
            <a:tailEnd type="triangle"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2599938"/>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Title 1"/>
          <p:cNvSpPr txBox="1">
            <a:spLocks/>
          </p:cNvSpPr>
          <p:nvPr/>
        </p:nvSpPr>
        <p:spPr>
          <a:xfrm>
            <a:off x="213362" y="111903"/>
            <a:ext cx="6135924" cy="4487382"/>
          </a:xfrm>
          <a:prstGeom prst="rect">
            <a:avLst/>
          </a:prstGeom>
        </p:spPr>
        <p:txBody>
          <a:bodyPr vert="horz" wrap="square" lIns="0" tIns="0" rIns="0" bIns="0" rtlCol="0" anchor="t" anchorCtr="0">
            <a:spAutoFit/>
          </a:bodyPr>
          <a:lstStyle>
            <a:lvl1pPr algn="l" defTabSz="914363" rtl="0" eaLnBrk="1" latinLnBrk="0" hangingPunct="1">
              <a:lnSpc>
                <a:spcPct val="90000"/>
              </a:lnSpc>
              <a:spcBef>
                <a:spcPct val="0"/>
              </a:spcBef>
              <a:buNone/>
              <a:defRPr lang="en-US" sz="7200" b="0" kern="1200" cap="none" spc="-150" baseline="0">
                <a:ln w="3175">
                  <a:noFill/>
                </a:ln>
                <a:gradFill>
                  <a:gsLst>
                    <a:gs pos="1250">
                      <a:schemeClr val="tx1"/>
                    </a:gs>
                    <a:gs pos="100000">
                      <a:schemeClr val="tx1"/>
                    </a:gs>
                  </a:gsLst>
                  <a:lin ang="5400000" scaled="0"/>
                </a:gradFill>
                <a:effectLst/>
                <a:latin typeface="+mj-lt"/>
                <a:ea typeface="+mn-ea"/>
                <a:cs typeface="Arial" charset="0"/>
              </a:defRPr>
            </a:lvl1pPr>
          </a:lstStyle>
          <a:p>
            <a:pPr marL="0" marR="0" lvl="0" indent="0" algn="l" defTabSz="914363"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50" normalizeH="0" baseline="0" noProof="0" dirty="0" smtClean="0">
                <a:ln w="3175">
                  <a:noFill/>
                </a:ln>
                <a:gradFill>
                  <a:gsLst>
                    <a:gs pos="1250">
                      <a:srgbClr val="FFFFFF"/>
                    </a:gs>
                    <a:gs pos="100000">
                      <a:srgbClr val="FFFFFF"/>
                    </a:gs>
                  </a:gsLst>
                  <a:lin ang="5400000" scaled="0"/>
                </a:gradFill>
                <a:effectLst/>
                <a:uLnTx/>
                <a:uFillTx/>
                <a:latin typeface="Segoe UI Light"/>
                <a:cs typeface="Arial" charset="0"/>
              </a:rPr>
              <a:t>Leverage Frameworks</a:t>
            </a:r>
          </a:p>
          <a:p>
            <a:pPr marL="0" marR="0" lvl="0" indent="0" algn="l" defTabSz="914363" rtl="0" eaLnBrk="1" fontAlgn="auto" latinLnBrk="0" hangingPunct="1">
              <a:lnSpc>
                <a:spcPct val="90000"/>
              </a:lnSpc>
              <a:spcBef>
                <a:spcPct val="0"/>
              </a:spcBef>
              <a:spcAft>
                <a:spcPts val="0"/>
              </a:spcAft>
              <a:buClrTx/>
              <a:buSzTx/>
              <a:buFontTx/>
              <a:buNone/>
              <a:tabLst/>
              <a:defRPr/>
            </a:pPr>
            <a:endParaRPr kumimoji="0" lang="en-US" sz="5400" b="0" i="0" u="none" strike="noStrike" kern="1200" cap="none" spc="-150" normalizeH="0" baseline="0" noProof="0" dirty="0" smtClean="0">
              <a:ln w="3175">
                <a:noFill/>
              </a:ln>
              <a:gradFill>
                <a:gsLst>
                  <a:gs pos="1250">
                    <a:srgbClr val="FFFFFF"/>
                  </a:gs>
                  <a:gs pos="100000">
                    <a:srgbClr val="FFFFFF"/>
                  </a:gs>
                </a:gsLst>
                <a:lin ang="5400000" scaled="0"/>
              </a:gradFill>
              <a:effectLst/>
              <a:uLnTx/>
              <a:uFillTx/>
              <a:latin typeface="Segoe UI Light"/>
              <a:cs typeface="Arial" charset="0"/>
            </a:endParaRPr>
          </a:p>
          <a:p>
            <a:pPr marL="0" marR="0" lvl="0" indent="0" algn="l" defTabSz="914363"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50" normalizeH="0" baseline="0" noProof="0" dirty="0" smtClean="0">
                <a:ln w="3175">
                  <a:noFill/>
                </a:ln>
                <a:gradFill>
                  <a:gsLst>
                    <a:gs pos="1250">
                      <a:srgbClr val="FFFFFF"/>
                    </a:gs>
                    <a:gs pos="100000">
                      <a:srgbClr val="FFFFFF"/>
                    </a:gs>
                  </a:gsLst>
                  <a:lin ang="5400000" scaled="0"/>
                </a:gradFill>
                <a:effectLst/>
                <a:uLnTx/>
                <a:uFillTx/>
                <a:latin typeface="Segoe UI Light"/>
                <a:cs typeface="Arial" charset="0"/>
              </a:rPr>
              <a:t>Only write the </a:t>
            </a:r>
            <a:br>
              <a:rPr kumimoji="0" lang="en-US" sz="5400" b="0" i="0" u="none" strike="noStrike" kern="1200" cap="none" spc="-150" normalizeH="0" baseline="0" noProof="0" dirty="0" smtClean="0">
                <a:ln w="3175">
                  <a:noFill/>
                </a:ln>
                <a:gradFill>
                  <a:gsLst>
                    <a:gs pos="1250">
                      <a:srgbClr val="FFFFFF"/>
                    </a:gs>
                    <a:gs pos="100000">
                      <a:srgbClr val="FFFFFF"/>
                    </a:gs>
                  </a:gsLst>
                  <a:lin ang="5400000" scaled="0"/>
                </a:gradFill>
                <a:effectLst/>
                <a:uLnTx/>
                <a:uFillTx/>
                <a:latin typeface="Segoe UI Light"/>
                <a:cs typeface="Arial" charset="0"/>
              </a:rPr>
            </a:br>
            <a:r>
              <a:rPr kumimoji="0" lang="en-US" sz="5400" b="0" i="0" u="none" strike="noStrike" kern="1200" cap="none" spc="-150" normalizeH="0" baseline="0" noProof="0" dirty="0" smtClean="0">
                <a:ln w="3175">
                  <a:noFill/>
                </a:ln>
                <a:gradFill>
                  <a:gsLst>
                    <a:gs pos="1250">
                      <a:srgbClr val="FFFFFF"/>
                    </a:gs>
                    <a:gs pos="100000">
                      <a:srgbClr val="FFFFFF"/>
                    </a:gs>
                  </a:gsLst>
                  <a:lin ang="5400000" scaled="0"/>
                </a:gradFill>
                <a:effectLst/>
                <a:uLnTx/>
                <a:uFillTx/>
                <a:latin typeface="Segoe UI Light"/>
                <a:cs typeface="Arial" charset="0"/>
              </a:rPr>
              <a:t>code that </a:t>
            </a:r>
          </a:p>
          <a:p>
            <a:pPr marL="0" marR="0" lvl="0" indent="0" algn="l" defTabSz="914363" rtl="0" eaLnBrk="1" fontAlgn="auto" latinLnBrk="0" hangingPunct="1">
              <a:lnSpc>
                <a:spcPct val="90000"/>
              </a:lnSpc>
              <a:spcBef>
                <a:spcPct val="0"/>
              </a:spcBef>
              <a:spcAft>
                <a:spcPts val="0"/>
              </a:spcAft>
              <a:buClrTx/>
              <a:buSzTx/>
              <a:buFontTx/>
              <a:buNone/>
              <a:tabLst/>
              <a:defRPr/>
            </a:pPr>
            <a:r>
              <a:rPr kumimoji="0" lang="en-US" sz="5400" b="1" i="1" u="none" strike="noStrike" kern="1200" cap="none" spc="-150" normalizeH="0" baseline="0" noProof="0" dirty="0" smtClean="0">
                <a:ln w="3175">
                  <a:noFill/>
                </a:ln>
                <a:gradFill>
                  <a:gsLst>
                    <a:gs pos="1250">
                      <a:srgbClr val="FFFFFF"/>
                    </a:gs>
                    <a:gs pos="100000">
                      <a:srgbClr val="FFFFFF"/>
                    </a:gs>
                  </a:gsLst>
                  <a:lin ang="5400000" scaled="0"/>
                </a:gradFill>
                <a:effectLst/>
                <a:uLnTx/>
                <a:uFillTx/>
                <a:latin typeface="Segoe UI Light"/>
                <a:cs typeface="Arial" charset="0"/>
              </a:rPr>
              <a:t>only you</a:t>
            </a:r>
            <a:r>
              <a:rPr kumimoji="0" lang="en-US" sz="5400" b="1" i="0" u="none" strike="noStrike" kern="1200" cap="none" spc="-150" normalizeH="0" baseline="0" noProof="0" dirty="0" smtClean="0">
                <a:ln w="3175">
                  <a:noFill/>
                </a:ln>
                <a:gradFill>
                  <a:gsLst>
                    <a:gs pos="1250">
                      <a:srgbClr val="FFFFFF"/>
                    </a:gs>
                    <a:gs pos="100000">
                      <a:srgbClr val="FFFFFF"/>
                    </a:gs>
                  </a:gsLst>
                  <a:lin ang="5400000" scaled="0"/>
                </a:gradFill>
                <a:effectLst/>
                <a:uLnTx/>
                <a:uFillTx/>
                <a:latin typeface="Segoe UI Light"/>
                <a:cs typeface="Arial" charset="0"/>
              </a:rPr>
              <a:t> </a:t>
            </a:r>
          </a:p>
          <a:p>
            <a:pPr marL="0" marR="0" lvl="0" indent="0" algn="l" defTabSz="914363"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50" normalizeH="0" baseline="0" noProof="0" dirty="0" smtClean="0">
                <a:ln w="3175">
                  <a:noFill/>
                </a:ln>
                <a:gradFill>
                  <a:gsLst>
                    <a:gs pos="1250">
                      <a:srgbClr val="FFFFFF"/>
                    </a:gs>
                    <a:gs pos="100000">
                      <a:srgbClr val="FFFFFF"/>
                    </a:gs>
                  </a:gsLst>
                  <a:lin ang="5400000" scaled="0"/>
                </a:gradFill>
                <a:effectLst/>
                <a:uLnTx/>
                <a:uFillTx/>
                <a:latin typeface="Segoe UI Light"/>
                <a:cs typeface="Arial" charset="0"/>
              </a:rPr>
              <a:t>can write.</a:t>
            </a:r>
            <a:endParaRPr kumimoji="0" lang="en-US" sz="5400" b="0" i="0" u="none" strike="noStrike" kern="1200" cap="none" spc="-150" normalizeH="0" baseline="0" noProof="0" dirty="0">
              <a:ln w="3175">
                <a:noFill/>
              </a:ln>
              <a:gradFill>
                <a:gsLst>
                  <a:gs pos="1250">
                    <a:srgbClr val="FFFFFF"/>
                  </a:gs>
                  <a:gs pos="100000">
                    <a:srgbClr val="FFFFFF"/>
                  </a:gs>
                </a:gsLst>
                <a:lin ang="5400000" scaled="0"/>
              </a:gradFill>
              <a:effectLst/>
              <a:uLnTx/>
              <a:uFillTx/>
              <a:latin typeface="Segoe UI Light"/>
              <a:cs typeface="Arial" charset="0"/>
            </a:endParaRPr>
          </a:p>
        </p:txBody>
      </p:sp>
    </p:spTree>
    <p:extLst>
      <p:ext uri="{BB962C8B-B14F-4D97-AF65-F5344CB8AC3E}">
        <p14:creationId xmlns:p14="http://schemas.microsoft.com/office/powerpoint/2010/main" val="1065737601"/>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rot="3444716">
            <a:off x="166138" y="2104808"/>
            <a:ext cx="5101320" cy="899665"/>
          </a:xfrm>
        </p:spPr>
        <p:txBody>
          <a:bodyPr/>
          <a:lstStyle/>
          <a:p>
            <a:pPr lvl="0"/>
            <a:r>
              <a:rPr lang="en-US" dirty="0" smtClean="0"/>
              <a:t>Services Based</a:t>
            </a:r>
            <a:endParaRPr lang="en-US" dirty="0"/>
          </a:p>
        </p:txBody>
      </p:sp>
    </p:spTree>
    <p:extLst>
      <p:ext uri="{BB962C8B-B14F-4D97-AF65-F5344CB8AC3E}">
        <p14:creationId xmlns:p14="http://schemas.microsoft.com/office/powerpoint/2010/main" val="2788469790"/>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5949696" y="3410664"/>
            <a:ext cx="5374871" cy="899665"/>
          </a:xfrm>
        </p:spPr>
        <p:txBody>
          <a:bodyPr/>
          <a:lstStyle/>
          <a:p>
            <a:pPr lvl="0"/>
            <a:r>
              <a:rPr lang="en-US" sz="8000" dirty="0" smtClean="0">
                <a:solidFill>
                  <a:schemeClr val="bg1">
                    <a:lumMod val="95000"/>
                  </a:schemeClr>
                </a:solidFill>
              </a:rPr>
              <a:t>Test it!</a:t>
            </a:r>
            <a:endParaRPr lang="en-US" sz="8000" dirty="0">
              <a:solidFill>
                <a:schemeClr val="bg1">
                  <a:lumMod val="95000"/>
                </a:schemeClr>
              </a:solidFill>
            </a:endParaRPr>
          </a:p>
        </p:txBody>
      </p:sp>
    </p:spTree>
    <p:extLst>
      <p:ext uri="{BB962C8B-B14F-4D97-AF65-F5344CB8AC3E}">
        <p14:creationId xmlns:p14="http://schemas.microsoft.com/office/powerpoint/2010/main" val="2571104843"/>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lvl="0"/>
            <a:r>
              <a:rPr lang="en-US" dirty="0" smtClean="0">
                <a:solidFill>
                  <a:schemeClr val="bg1"/>
                </a:solidFill>
              </a:rPr>
              <a:t>Dynamic &amp; </a:t>
            </a:r>
            <a:br>
              <a:rPr lang="en-US" dirty="0" smtClean="0">
                <a:solidFill>
                  <a:schemeClr val="bg1"/>
                </a:solidFill>
              </a:rPr>
            </a:br>
            <a:r>
              <a:rPr lang="en-US" dirty="0" smtClean="0">
                <a:solidFill>
                  <a:schemeClr val="bg1"/>
                </a:solidFill>
              </a:rPr>
              <a:t>Virtual Infrastructure</a:t>
            </a:r>
            <a:endParaRPr lang="en-US" dirty="0">
              <a:solidFill>
                <a:schemeClr val="bg1"/>
              </a:solidFill>
            </a:endParaRPr>
          </a:p>
        </p:txBody>
      </p:sp>
    </p:spTree>
    <p:extLst>
      <p:ext uri="{BB962C8B-B14F-4D97-AF65-F5344CB8AC3E}">
        <p14:creationId xmlns:p14="http://schemas.microsoft.com/office/powerpoint/2010/main" val="2046835042"/>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lvl="0"/>
            <a:r>
              <a:rPr lang="en-US" dirty="0" smtClean="0">
                <a:solidFill>
                  <a:schemeClr val="accent6"/>
                </a:solidFill>
              </a:rPr>
              <a:t>Multi-tenant Architecture</a:t>
            </a:r>
            <a:endParaRPr lang="en-US" dirty="0">
              <a:solidFill>
                <a:schemeClr val="accent6"/>
              </a:solidFill>
            </a:endParaRPr>
          </a:p>
        </p:txBody>
      </p:sp>
    </p:spTree>
    <p:extLst>
      <p:ext uri="{BB962C8B-B14F-4D97-AF65-F5344CB8AC3E}">
        <p14:creationId xmlns:p14="http://schemas.microsoft.com/office/powerpoint/2010/main" val="2301829260"/>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dirty="0" smtClean="0"/>
          </a:p>
        </p:txBody>
      </p:sp>
      <p:sp>
        <p:nvSpPr>
          <p:cNvPr id="3" name="Title 2"/>
          <p:cNvSpPr>
            <a:spLocks noGrp="1"/>
          </p:cNvSpPr>
          <p:nvPr>
            <p:ph type="title"/>
          </p:nvPr>
        </p:nvSpPr>
        <p:spPr/>
        <p:txBody>
          <a:bodyPr/>
          <a:lstStyle/>
          <a:p>
            <a:pPr lvl="0"/>
            <a:r>
              <a:rPr lang="en-US" dirty="0" smtClean="0"/>
              <a:t>BYOD</a:t>
            </a:r>
            <a:endParaRPr lang="en-US" dirty="0"/>
          </a:p>
        </p:txBody>
      </p:sp>
    </p:spTree>
    <p:extLst>
      <p:ext uri="{BB962C8B-B14F-4D97-AF65-F5344CB8AC3E}">
        <p14:creationId xmlns:p14="http://schemas.microsoft.com/office/powerpoint/2010/main" val="4054829950"/>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Qv9TKvXNBEKOE_LIfzswL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D_IEFF_4T0WppEVyI2v_a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v9TKvXNBEKOE_LIfzswL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v9TKvXNBEKOE_LIfzswL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v9TKvXNBEKOE_LIfzswL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v9TKvXNBEKOE_LIfzswL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v9TKvXNBEKOE_LIfzswLQ"/>
</p:tagLst>
</file>

<file path=ppt/tags/tag7.xml><?xml version="1.0" encoding="utf-8"?>
<p:tagLst xmlns:a="http://schemas.openxmlformats.org/drawingml/2006/main" xmlns:r="http://schemas.openxmlformats.org/officeDocument/2006/relationships" xmlns:p="http://schemas.openxmlformats.org/presentationml/2006/main">
  <p:tag name="TIMING" val="|.8|20.6|11.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xGrdItlk28IM1BKgbeT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00CD96B0132B3459D7D348376ABA8DD" ma:contentTypeVersion="0" ma:contentTypeDescription="Create a new document." ma:contentTypeScope="" ma:versionID="8a5dbd9fd66acca66277113a5d7377c8">
  <xsd:schema xmlns:xsd="http://www.w3.org/2001/XMLSchema" xmlns:xs="http://www.w3.org/2001/XMLSchema" xmlns:p="http://schemas.microsoft.com/office/2006/metadata/properties" targetNamespace="http://schemas.microsoft.com/office/2006/metadata/properties" ma:root="true" ma:fieldsID="bc6a2b259f4c2e073cce92cc8c4bfd9e">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406B869-0A3B-4A48-80EE-77CB3C7BFE0A}">
  <ds:schemaRefs>
    <ds:schemaRef ds:uri="http://schemas.microsoft.com/sharepoint/v3/contenttype/forms"/>
  </ds:schemaRefs>
</ds:datastoreItem>
</file>

<file path=customXml/itemProps2.xml><?xml version="1.0" encoding="utf-8"?>
<ds:datastoreItem xmlns:ds="http://schemas.openxmlformats.org/officeDocument/2006/customXml" ds:itemID="{608C7590-4838-4FDD-B304-651D11FD2E08}">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BA537DE6-0C9B-4EA4-AAA9-6D852B2A584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MS1444_Windows Azure Template 16x9_r08b</Template>
  <TotalTime>15711</TotalTime>
  <Words>2246</Words>
  <Application>Microsoft Office PowerPoint</Application>
  <PresentationFormat>Custom</PresentationFormat>
  <Paragraphs>482</Paragraphs>
  <Slides>36</Slides>
  <Notes>21</Notes>
  <HiddenSlides>1</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36</vt:i4>
      </vt:variant>
    </vt:vector>
  </HeadingPairs>
  <TitlesOfParts>
    <vt:vector size="45" baseType="lpstr">
      <vt:lpstr>Arial</vt:lpstr>
      <vt:lpstr>Consolas</vt:lpstr>
      <vt:lpstr>Segoe</vt:lpstr>
      <vt:lpstr>Segoe Light</vt:lpstr>
      <vt:lpstr>Segoe Semibold</vt:lpstr>
      <vt:lpstr>Segoe UI</vt:lpstr>
      <vt:lpstr>Segoe UI Light</vt:lpstr>
      <vt:lpstr>Wingdings</vt:lpstr>
      <vt:lpstr>Azure_PPT_template 1</vt:lpstr>
      <vt:lpstr>A look at the Modern Principles</vt:lpstr>
      <vt:lpstr>PowerPoint Presentation</vt:lpstr>
      <vt:lpstr>Open Standards</vt:lpstr>
      <vt:lpstr>PowerPoint Presentation</vt:lpstr>
      <vt:lpstr>Services Based</vt:lpstr>
      <vt:lpstr>Test it!</vt:lpstr>
      <vt:lpstr>Dynamic &amp;  Virtual Infrastructure</vt:lpstr>
      <vt:lpstr>Multi-tenant Architecture</vt:lpstr>
      <vt:lpstr>BYOD</vt:lpstr>
      <vt:lpstr>Multi-Client Architecture</vt:lpstr>
      <vt:lpstr>Multi-Client Architecture</vt:lpstr>
      <vt:lpstr>It’s not just about code… </vt:lpstr>
      <vt:lpstr>Adopting  the Cloud</vt:lpstr>
      <vt:lpstr>Hybrid Architecture</vt:lpstr>
      <vt:lpstr>Hybrid Architecture</vt:lpstr>
      <vt:lpstr>Lift &amp; Shift</vt:lpstr>
      <vt:lpstr>Migrating a Multi-VM Application</vt:lpstr>
      <vt:lpstr>Virtual Machine Migration</vt:lpstr>
      <vt:lpstr>Migrating a Simple Virtual Machine</vt:lpstr>
      <vt:lpstr>Stay to the Right</vt:lpstr>
      <vt:lpstr>PowerPoint Presentation</vt:lpstr>
      <vt:lpstr>The Benefits of PaaS </vt:lpstr>
      <vt:lpstr>Connecting  the Cloud  to the  Real world</vt:lpstr>
      <vt:lpstr>Common Connectivity Scenarios</vt:lpstr>
      <vt:lpstr>Windows Azure Virtual Network</vt:lpstr>
      <vt:lpstr>Connecting Applications and VMs</vt:lpstr>
      <vt:lpstr>Connecting Cloud Services with VNET</vt:lpstr>
      <vt:lpstr>DEMO</vt:lpstr>
      <vt:lpstr>A simple  scenario</vt:lpstr>
      <vt:lpstr>PowerPoint Presentation</vt:lpstr>
      <vt:lpstr>Scenario #1: Lift and Shift</vt:lpstr>
      <vt:lpstr>Scenario #2: Lift and SQL Database</vt:lpstr>
      <vt:lpstr>Scenario #3: Cloud Services</vt:lpstr>
      <vt:lpstr>Scenario #4: Mobile Services</vt:lpstr>
      <vt:lpstr>Which way would you go?</vt:lpstr>
      <vt:lpstr>HANDS-ON LAB </vt:lpstr>
    </vt:vector>
  </TitlesOfParts>
  <Manager>&lt;Content Manager Name Here&gt;</Manager>
  <Company>Microsoft Corporation</Company>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grating Applications to Windows Azure</dc:title>
  <dc:subject>&lt;Event Name Here&gt;</dc:subject>
  <dc:creator>adgroc@microsoft.com</dc:creator>
  <cp:keywords/>
  <dc:description>
	Migration application patterns and walks through for moving applications from on-premises to the cloud with IaaS.
by 
</dc:description>
  <cp:lastModifiedBy>Bret Stateham</cp:lastModifiedBy>
  <cp:revision>626</cp:revision>
  <dcterms:created xsi:type="dcterms:W3CDTF">2012-02-06T18:28:07Z</dcterms:created>
  <dcterms:modified xsi:type="dcterms:W3CDTF">2013-11-21T14:14:49Z</dcterms:modified>
  <cp:category/>
  <cp:version>2.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00CD96B0132B3459D7D348376ABA8DD</vt:lpwstr>
  </property>
  <property fmtid="{D5CDD505-2E9C-101B-9397-08002B2CF9AE}" pid="3" name="IsMyDocuments">
    <vt:bool>true</vt:bool>
  </property>
  <property fmtid="{D5CDD505-2E9C-101B-9397-08002B2CF9AE}" pid="4" name="TaxKeyword">
    <vt:lpwstr/>
  </property>
  <property fmtid="{D5CDD505-2E9C-101B-9397-08002B2CF9AE}" pid="5" name="TaxCatchAll">
    <vt:lpwstr/>
  </property>
  <property fmtid="{D5CDD505-2E9C-101B-9397-08002B2CF9AE}" pid="6" name="TaxKeywordTaxHTField">
    <vt:lpwstr/>
  </property>
</Properties>
</file>